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5"/>
    <p:sldMasterId id="2147483684" r:id="rId6"/>
  </p:sldMasterIdLst>
  <p:notesMasterIdLst>
    <p:notesMasterId r:id="rId26"/>
  </p:notesMasterIdLst>
  <p:handoutMasterIdLst>
    <p:handoutMasterId r:id="rId27"/>
  </p:handoutMasterIdLst>
  <p:sldIdLst>
    <p:sldId id="256" r:id="rId7"/>
    <p:sldId id="348" r:id="rId8"/>
    <p:sldId id="356" r:id="rId9"/>
    <p:sldId id="365" r:id="rId10"/>
    <p:sldId id="352" r:id="rId11"/>
    <p:sldId id="357" r:id="rId12"/>
    <p:sldId id="358" r:id="rId13"/>
    <p:sldId id="354" r:id="rId14"/>
    <p:sldId id="349" r:id="rId15"/>
    <p:sldId id="298" r:id="rId16"/>
    <p:sldId id="364" r:id="rId17"/>
    <p:sldId id="341" r:id="rId18"/>
    <p:sldId id="362" r:id="rId19"/>
    <p:sldId id="363" r:id="rId20"/>
    <p:sldId id="331" r:id="rId21"/>
    <p:sldId id="302" r:id="rId22"/>
    <p:sldId id="347" r:id="rId23"/>
    <p:sldId id="366" r:id="rId24"/>
    <p:sldId id="258" r:id="rId25"/>
  </p:sldIdLst>
  <p:sldSz cx="9144000" cy="6858000" type="screen4x3"/>
  <p:notesSz cx="6797675" cy="9926638"/>
  <p:defaultTextStyle>
    <a:defPPr>
      <a:defRPr lang="en-GB"/>
    </a:defPPr>
    <a:lvl1pPr algn="l" rtl="0" fontAlgn="base">
      <a:spcBef>
        <a:spcPct val="0"/>
      </a:spcBef>
      <a:spcAft>
        <a:spcPct val="0"/>
      </a:spcAft>
      <a:defRPr sz="1200" kern="1200">
        <a:solidFill>
          <a:srgbClr val="0F5494"/>
        </a:solidFill>
        <a:latin typeface="Verdana" pitchFamily="34" charset="0"/>
        <a:ea typeface="+mn-ea"/>
        <a:cs typeface="Arial" pitchFamily="34" charset="0"/>
      </a:defRPr>
    </a:lvl1pPr>
    <a:lvl2pPr marL="457200" algn="l" rtl="0" fontAlgn="base">
      <a:spcBef>
        <a:spcPct val="0"/>
      </a:spcBef>
      <a:spcAft>
        <a:spcPct val="0"/>
      </a:spcAft>
      <a:defRPr sz="1200" kern="1200">
        <a:solidFill>
          <a:srgbClr val="0F5494"/>
        </a:solidFill>
        <a:latin typeface="Verdana" pitchFamily="34" charset="0"/>
        <a:ea typeface="+mn-ea"/>
        <a:cs typeface="Arial" pitchFamily="34" charset="0"/>
      </a:defRPr>
    </a:lvl2pPr>
    <a:lvl3pPr marL="914400" algn="l" rtl="0" fontAlgn="base">
      <a:spcBef>
        <a:spcPct val="0"/>
      </a:spcBef>
      <a:spcAft>
        <a:spcPct val="0"/>
      </a:spcAft>
      <a:defRPr sz="1200" kern="1200">
        <a:solidFill>
          <a:srgbClr val="0F5494"/>
        </a:solidFill>
        <a:latin typeface="Verdana" pitchFamily="34" charset="0"/>
        <a:ea typeface="+mn-ea"/>
        <a:cs typeface="Arial" pitchFamily="34" charset="0"/>
      </a:defRPr>
    </a:lvl3pPr>
    <a:lvl4pPr marL="1371600" algn="l" rtl="0" fontAlgn="base">
      <a:spcBef>
        <a:spcPct val="0"/>
      </a:spcBef>
      <a:spcAft>
        <a:spcPct val="0"/>
      </a:spcAft>
      <a:defRPr sz="1200" kern="1200">
        <a:solidFill>
          <a:srgbClr val="0F5494"/>
        </a:solidFill>
        <a:latin typeface="Verdana" pitchFamily="34" charset="0"/>
        <a:ea typeface="+mn-ea"/>
        <a:cs typeface="Arial" pitchFamily="34" charset="0"/>
      </a:defRPr>
    </a:lvl4pPr>
    <a:lvl5pPr marL="1828800" algn="l" rtl="0" fontAlgn="base">
      <a:spcBef>
        <a:spcPct val="0"/>
      </a:spcBef>
      <a:spcAft>
        <a:spcPct val="0"/>
      </a:spcAft>
      <a:defRPr sz="1200" kern="1200">
        <a:solidFill>
          <a:srgbClr val="0F5494"/>
        </a:solidFill>
        <a:latin typeface="Verdana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rgbClr val="0F5494"/>
        </a:solidFill>
        <a:latin typeface="Verdana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sz="1200" kern="1200">
        <a:solidFill>
          <a:srgbClr val="0F5494"/>
        </a:solidFill>
        <a:latin typeface="Verdana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sz="1200" kern="1200">
        <a:solidFill>
          <a:srgbClr val="0F5494"/>
        </a:solidFill>
        <a:latin typeface="Verdana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sz="1200" kern="1200">
        <a:solidFill>
          <a:srgbClr val="0F5494"/>
        </a:solidFill>
        <a:latin typeface="Verdana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F5799"/>
    <a:srgbClr val="0F5494"/>
    <a:srgbClr val="3E6FD2"/>
    <a:srgbClr val="3166CF"/>
    <a:srgbClr val="005DA2"/>
    <a:srgbClr val="2D5EC1"/>
    <a:srgbClr val="FFD624"/>
    <a:srgbClr val="BDDE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>
    <p:restoredLeft sz="12088" autoAdjust="0"/>
    <p:restoredTop sz="94660"/>
  </p:normalViewPr>
  <p:slideViewPr>
    <p:cSldViewPr>
      <p:cViewPr varScale="1">
        <p:scale>
          <a:sx n="107" d="100"/>
          <a:sy n="107" d="100"/>
        </p:scale>
        <p:origin x="-1650" y="-84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presProps" Target="presProp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tableStyles" Target="tableStyles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handoutMaster" Target="handoutMasters/handoutMaster1.xml"/><Relationship Id="rId30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789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9688" y="0"/>
            <a:ext cx="2946400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>
                <a:solidFill>
                  <a:schemeClr val="tx1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789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28163"/>
            <a:ext cx="2946400" cy="496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789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49688" y="9428163"/>
            <a:ext cx="2946400" cy="496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>
                <a:solidFill>
                  <a:schemeClr val="tx1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C929A5A6-5D83-4D3B-A866-81DD0BF1D1D0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312942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686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9688" y="0"/>
            <a:ext cx="2946400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>
                <a:solidFill>
                  <a:schemeClr val="tx1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2355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7575" y="744538"/>
            <a:ext cx="4964113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3686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450" y="4714875"/>
            <a:ext cx="5438775" cy="4467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smtClean="0"/>
              <a:t>Click to edit Master text styles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</a:p>
        </p:txBody>
      </p:sp>
      <p:sp>
        <p:nvSpPr>
          <p:cNvPr id="3687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28163"/>
            <a:ext cx="2946400" cy="496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687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688" y="9428163"/>
            <a:ext cx="2946400" cy="496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>
                <a:solidFill>
                  <a:schemeClr val="tx1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72C39CEA-5CD5-435F-BAD2-39B8A793A43A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8260558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Rectangle 9"/>
          <p:cNvSpPr>
            <a:spLocks noGrp="1" noChangeArrowheads="1"/>
          </p:cNvSpPr>
          <p:nvPr>
            <p:ph type="sldNum" sz="quarter"/>
          </p:nvPr>
        </p:nvSpPr>
        <p:spPr>
          <a:noFill/>
        </p:spPr>
        <p:txBody>
          <a:bodyPr/>
          <a:lstStyle>
            <a:lvl1pPr eaLnBrk="0" hangingPunct="0">
              <a:tabLst>
                <a:tab pos="723972" algn="l"/>
                <a:tab pos="1447945" algn="l"/>
                <a:tab pos="2171917" algn="l"/>
                <a:tab pos="2895890" algn="l"/>
              </a:tabLst>
              <a:defRPr sz="1200">
                <a:solidFill>
                  <a:schemeClr val="bg1"/>
                </a:solidFill>
                <a:latin typeface="Verdana" pitchFamily="34" charset="0"/>
                <a:ea typeface="MS PGothic" pitchFamily="34" charset="-128"/>
              </a:defRPr>
            </a:lvl1pPr>
            <a:lvl2pPr eaLnBrk="0" hangingPunct="0">
              <a:tabLst>
                <a:tab pos="723972" algn="l"/>
                <a:tab pos="1447945" algn="l"/>
                <a:tab pos="2171917" algn="l"/>
                <a:tab pos="2895890" algn="l"/>
              </a:tabLst>
              <a:defRPr sz="1200">
                <a:solidFill>
                  <a:schemeClr val="bg1"/>
                </a:solidFill>
                <a:latin typeface="Verdana" pitchFamily="34" charset="0"/>
                <a:ea typeface="MS PGothic" pitchFamily="34" charset="-128"/>
              </a:defRPr>
            </a:lvl2pPr>
            <a:lvl3pPr eaLnBrk="0" hangingPunct="0">
              <a:tabLst>
                <a:tab pos="723972" algn="l"/>
                <a:tab pos="1447945" algn="l"/>
                <a:tab pos="2171917" algn="l"/>
                <a:tab pos="2895890" algn="l"/>
              </a:tabLst>
              <a:defRPr sz="1200">
                <a:solidFill>
                  <a:schemeClr val="bg1"/>
                </a:solidFill>
                <a:latin typeface="Verdana" pitchFamily="34" charset="0"/>
                <a:ea typeface="MS PGothic" pitchFamily="34" charset="-128"/>
              </a:defRPr>
            </a:lvl3pPr>
            <a:lvl4pPr eaLnBrk="0" hangingPunct="0">
              <a:tabLst>
                <a:tab pos="723972" algn="l"/>
                <a:tab pos="1447945" algn="l"/>
                <a:tab pos="2171917" algn="l"/>
                <a:tab pos="2895890" algn="l"/>
              </a:tabLst>
              <a:defRPr sz="1200">
                <a:solidFill>
                  <a:schemeClr val="bg1"/>
                </a:solidFill>
                <a:latin typeface="Verdana" pitchFamily="34" charset="0"/>
                <a:ea typeface="MS PGothic" pitchFamily="34" charset="-128"/>
              </a:defRPr>
            </a:lvl4pPr>
            <a:lvl5pPr eaLnBrk="0" hangingPunct="0">
              <a:tabLst>
                <a:tab pos="723972" algn="l"/>
                <a:tab pos="1447945" algn="l"/>
                <a:tab pos="2171917" algn="l"/>
                <a:tab pos="2895890" algn="l"/>
              </a:tabLst>
              <a:defRPr sz="1200">
                <a:solidFill>
                  <a:schemeClr val="bg1"/>
                </a:solidFill>
                <a:latin typeface="Verdana" pitchFamily="34" charset="0"/>
                <a:ea typeface="MS PGothic" pitchFamily="34" charset="-128"/>
              </a:defRPr>
            </a:lvl5pPr>
            <a:lvl6pPr marL="2514851" indent="-228623" defTabSz="449308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72" algn="l"/>
                <a:tab pos="1447945" algn="l"/>
                <a:tab pos="2171917" algn="l"/>
                <a:tab pos="2895890" algn="l"/>
              </a:tabLst>
              <a:defRPr sz="1200">
                <a:solidFill>
                  <a:schemeClr val="bg1"/>
                </a:solidFill>
                <a:latin typeface="Verdana" pitchFamily="34" charset="0"/>
                <a:ea typeface="MS PGothic" pitchFamily="34" charset="-128"/>
              </a:defRPr>
            </a:lvl6pPr>
            <a:lvl7pPr marL="2972097" indent="-228623" defTabSz="449308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72" algn="l"/>
                <a:tab pos="1447945" algn="l"/>
                <a:tab pos="2171917" algn="l"/>
                <a:tab pos="2895890" algn="l"/>
              </a:tabLst>
              <a:defRPr sz="1200">
                <a:solidFill>
                  <a:schemeClr val="bg1"/>
                </a:solidFill>
                <a:latin typeface="Verdana" pitchFamily="34" charset="0"/>
                <a:ea typeface="MS PGothic" pitchFamily="34" charset="-128"/>
              </a:defRPr>
            </a:lvl7pPr>
            <a:lvl8pPr marL="3429343" indent="-228623" defTabSz="449308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72" algn="l"/>
                <a:tab pos="1447945" algn="l"/>
                <a:tab pos="2171917" algn="l"/>
                <a:tab pos="2895890" algn="l"/>
              </a:tabLst>
              <a:defRPr sz="1200">
                <a:solidFill>
                  <a:schemeClr val="bg1"/>
                </a:solidFill>
                <a:latin typeface="Verdana" pitchFamily="34" charset="0"/>
                <a:ea typeface="MS PGothic" pitchFamily="34" charset="-128"/>
              </a:defRPr>
            </a:lvl8pPr>
            <a:lvl9pPr marL="3886589" indent="-228623" defTabSz="449308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72" algn="l"/>
                <a:tab pos="1447945" algn="l"/>
                <a:tab pos="2171917" algn="l"/>
                <a:tab pos="2895890" algn="l"/>
              </a:tabLst>
              <a:defRPr sz="1200">
                <a:solidFill>
                  <a:schemeClr val="bg1"/>
                </a:solidFill>
                <a:latin typeface="Verdana" pitchFamily="34" charset="0"/>
                <a:ea typeface="MS PGothic" pitchFamily="34" charset="-128"/>
              </a:defRPr>
            </a:lvl9pPr>
          </a:lstStyle>
          <a:p>
            <a:pPr eaLnBrk="1" hangingPunct="1"/>
            <a:fld id="{00F01F4C-1411-46A1-A798-998EBF80EE07}" type="slidenum">
              <a:rPr lang="en-GB" sz="2400">
                <a:solidFill>
                  <a:srgbClr val="000000"/>
                </a:solidFill>
                <a:latin typeface="Arial" charset="0"/>
              </a:rPr>
              <a:pPr eaLnBrk="1" hangingPunct="1"/>
              <a:t>2</a:t>
            </a:fld>
            <a:endParaRPr lang="en-GB" sz="24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56323" name="Text Box 1"/>
          <p:cNvSpPr txBox="1">
            <a:spLocks noChangeArrowheads="1"/>
          </p:cNvSpPr>
          <p:nvPr/>
        </p:nvSpPr>
        <p:spPr bwMode="auto">
          <a:xfrm>
            <a:off x="3850587" y="9429672"/>
            <a:ext cx="2947088" cy="4969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0009" tIns="46805" rIns="90009" bIns="46805" anchor="b"/>
          <a:lstStyle>
            <a:lvl1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chemeClr val="bg1"/>
                </a:solidFill>
                <a:latin typeface="Verdana" pitchFamily="34" charset="0"/>
                <a:ea typeface="MS PGothic" pitchFamily="34" charset="-128"/>
              </a:defRPr>
            </a:lvl1pPr>
            <a:lvl2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chemeClr val="bg1"/>
                </a:solidFill>
                <a:latin typeface="Verdana" pitchFamily="34" charset="0"/>
                <a:ea typeface="MS PGothic" pitchFamily="34" charset="-128"/>
              </a:defRPr>
            </a:lvl2pPr>
            <a:lvl3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chemeClr val="bg1"/>
                </a:solidFill>
                <a:latin typeface="Verdana" pitchFamily="34" charset="0"/>
                <a:ea typeface="MS PGothic" pitchFamily="34" charset="-128"/>
              </a:defRPr>
            </a:lvl3pPr>
            <a:lvl4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chemeClr val="bg1"/>
                </a:solidFill>
                <a:latin typeface="Verdana" pitchFamily="34" charset="0"/>
                <a:ea typeface="MS PGothic" pitchFamily="34" charset="-128"/>
              </a:defRPr>
            </a:lvl4pPr>
            <a:lvl5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chemeClr val="bg1"/>
                </a:solidFill>
                <a:latin typeface="Verdana" pitchFamily="34" charset="0"/>
                <a:ea typeface="MS PGothic" pitchFamily="34" charset="-128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chemeClr val="bg1"/>
                </a:solidFill>
                <a:latin typeface="Verdana" pitchFamily="34" charset="0"/>
                <a:ea typeface="MS PGothic" pitchFamily="34" charset="-128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chemeClr val="bg1"/>
                </a:solidFill>
                <a:latin typeface="Verdana" pitchFamily="34" charset="0"/>
                <a:ea typeface="MS PGothic" pitchFamily="34" charset="-128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chemeClr val="bg1"/>
                </a:solidFill>
                <a:latin typeface="Verdana" pitchFamily="34" charset="0"/>
                <a:ea typeface="MS PGothic" pitchFamily="34" charset="-128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chemeClr val="bg1"/>
                </a:solidFill>
                <a:latin typeface="Verdana" pitchFamily="34" charset="0"/>
                <a:ea typeface="MS PGothic" pitchFamily="34" charset="-128"/>
              </a:defRPr>
            </a:lvl9pPr>
          </a:lstStyle>
          <a:p>
            <a:pPr algn="r" defTabSz="449308" eaLnBrk="1" hangingPunct="1">
              <a:buSzPct val="100000"/>
            </a:pPr>
            <a:fld id="{5C3CCCF8-B1C1-47CB-A718-5691B480A5EC}" type="slidenum">
              <a:rPr lang="fr-FR" smtClean="0">
                <a:solidFill>
                  <a:srgbClr val="000000"/>
                </a:solidFill>
                <a:latin typeface="Arial" charset="0"/>
              </a:rPr>
              <a:pPr algn="r" defTabSz="449308" eaLnBrk="1" hangingPunct="1">
                <a:buSzPct val="100000"/>
              </a:pPr>
              <a:t>2</a:t>
            </a:fld>
            <a:endParaRPr lang="fr-FR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5632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9163" y="744538"/>
            <a:ext cx="4962525" cy="3722687"/>
          </a:xfrm>
          <a:solidFill>
            <a:srgbClr val="FFFFFF"/>
          </a:solidFill>
          <a:ln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5632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79609" y="4715630"/>
            <a:ext cx="5440045" cy="4467940"/>
          </a:xfrm>
          <a:noFill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10795223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1200">
                <a:solidFill>
                  <a:srgbClr val="0F5494"/>
                </a:solidFill>
                <a:latin typeface="Verdana" panose="020B0604030504040204" pitchFamily="34" charset="0"/>
              </a:defRPr>
            </a:lvl1pPr>
            <a:lvl2pPr marL="742950" indent="-285750" eaLnBrk="0" hangingPunct="0">
              <a:defRPr sz="1200">
                <a:solidFill>
                  <a:srgbClr val="0F5494"/>
                </a:solidFill>
                <a:latin typeface="Verdana" panose="020B0604030504040204" pitchFamily="34" charset="0"/>
              </a:defRPr>
            </a:lvl2pPr>
            <a:lvl3pPr marL="1143000" indent="-228600" eaLnBrk="0" hangingPunct="0">
              <a:defRPr sz="1200">
                <a:solidFill>
                  <a:srgbClr val="0F5494"/>
                </a:solidFill>
                <a:latin typeface="Verdana" panose="020B0604030504040204" pitchFamily="34" charset="0"/>
              </a:defRPr>
            </a:lvl3pPr>
            <a:lvl4pPr marL="1600200" indent="-228600" eaLnBrk="0" hangingPunct="0">
              <a:defRPr sz="1200">
                <a:solidFill>
                  <a:srgbClr val="0F5494"/>
                </a:solidFill>
                <a:latin typeface="Verdana" panose="020B0604030504040204" pitchFamily="34" charset="0"/>
              </a:defRPr>
            </a:lvl4pPr>
            <a:lvl5pPr marL="2057400" indent="-228600" eaLnBrk="0" hangingPunct="0">
              <a:defRPr sz="1200">
                <a:solidFill>
                  <a:srgbClr val="0F5494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fld id="{ECC6E417-0A41-4982-82D0-3FE1179E2BE1}" type="slidenum">
              <a:rPr lang="en-GB">
                <a:solidFill>
                  <a:schemeClr val="tx1"/>
                </a:solidFill>
                <a:latin typeface="Arial" panose="020B0604020202020204" pitchFamily="34" charset="0"/>
              </a:rPr>
              <a:pPr eaLnBrk="1" hangingPunct="1"/>
              <a:t>6</a:t>
            </a:fld>
            <a:endParaRPr lang="en-GB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2253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95350" y="739775"/>
            <a:ext cx="4927600" cy="3695700"/>
          </a:xfrm>
          <a:ln/>
        </p:spPr>
      </p:sp>
      <p:sp>
        <p:nvSpPr>
          <p:cNvPr id="22532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b="1" smtClean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8667566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3011" name="Rectangle 3"/>
          <p:cNvSpPr>
            <a:spLocks noGrp="1" noChangeArrowheads="1"/>
          </p:cNvSpPr>
          <p:nvPr>
            <p:ph type="body" idx="1"/>
          </p:nvPr>
        </p:nvSpPr>
        <p:spPr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defRPr/>
            </a:pPr>
            <a:endParaRPr lang="fr-FR">
              <a:latin typeface="Arial" charset="0"/>
              <a:ea typeface="MS PGothic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5052221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3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8434" name="Notes Placeholder 2"/>
          <p:cNvSpPr>
            <a:spLocks noGrp="1"/>
          </p:cNvSpPr>
          <p:nvPr>
            <p:ph type="body" idx="1"/>
          </p:nvPr>
        </p:nvSpPr>
        <p:spPr>
          <a:ln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buFont typeface="Times New Roman" charset="0"/>
              <a:buNone/>
              <a:defRPr/>
            </a:pPr>
            <a:endParaRPr lang="en-US"/>
          </a:p>
        </p:txBody>
      </p:sp>
      <p:sp>
        <p:nvSpPr>
          <p:cNvPr id="18435" name="Slide Number Placeholder 3"/>
          <p:cNvSpPr>
            <a:spLocks noGrp="1"/>
          </p:cNvSpPr>
          <p:nvPr>
            <p:ph type="sldNum" sz="quarter"/>
          </p:nvPr>
        </p:nvSpPr>
        <p:spPr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chemeClr val="bg1"/>
                </a:solidFill>
                <a:latin typeface="Verdana" pitchFamily="34" charset="0"/>
                <a:ea typeface="ＭＳ Ｐゴシック" pitchFamily="34" charset="-128"/>
              </a:defRPr>
            </a:lvl1pPr>
            <a:lvl2pPr eaLnBrk="0" hangingPunct="0"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chemeClr val="bg1"/>
                </a:solidFill>
                <a:latin typeface="Verdana" pitchFamily="34" charset="0"/>
                <a:ea typeface="ＭＳ Ｐゴシック" pitchFamily="34" charset="-128"/>
              </a:defRPr>
            </a:lvl2pPr>
            <a:lvl3pPr eaLnBrk="0" hangingPunct="0"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chemeClr val="bg1"/>
                </a:solidFill>
                <a:latin typeface="Verdana" pitchFamily="34" charset="0"/>
                <a:ea typeface="ＭＳ Ｐゴシック" pitchFamily="34" charset="-128"/>
              </a:defRPr>
            </a:lvl3pPr>
            <a:lvl4pPr eaLnBrk="0" hangingPunct="0"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chemeClr val="bg1"/>
                </a:solidFill>
                <a:latin typeface="Verdana" pitchFamily="34" charset="0"/>
                <a:ea typeface="ＭＳ Ｐゴシック" pitchFamily="34" charset="-128"/>
              </a:defRPr>
            </a:lvl4pPr>
            <a:lvl5pPr eaLnBrk="0" hangingPunct="0"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chemeClr val="bg1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chemeClr val="bg1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chemeClr val="bg1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chemeClr val="bg1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chemeClr val="bg1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defRPr/>
            </a:pPr>
            <a:fld id="{C5F5C3FE-32BE-489D-89FE-2C8272645BFA}" type="slidenum">
              <a:rPr lang="en-GB" smtClean="0">
                <a:solidFill>
                  <a:srgbClr val="000000"/>
                </a:solidFill>
                <a:latin typeface="Arial" charset="0"/>
              </a:rPr>
              <a:pPr eaLnBrk="1" hangingPunct="1">
                <a:defRPr/>
              </a:pPr>
              <a:t>17</a:t>
            </a:fld>
            <a:endParaRPr lang="en-GB" smtClean="0">
              <a:solidFill>
                <a:srgbClr val="000000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507048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0"/>
          <p:cNvSpPr>
            <a:spLocks noChangeArrowheads="1"/>
          </p:cNvSpPr>
          <p:nvPr/>
        </p:nvSpPr>
        <p:spPr bwMode="auto">
          <a:xfrm>
            <a:off x="0" y="981075"/>
            <a:ext cx="9180513" cy="5876925"/>
          </a:xfrm>
          <a:prstGeom prst="rect">
            <a:avLst/>
          </a:prstGeom>
          <a:solidFill>
            <a:srgbClr val="0F5494"/>
          </a:solidFill>
          <a:ln w="25400" algn="ctr">
            <a:solidFill>
              <a:srgbClr val="0F5494"/>
            </a:solidFill>
            <a:miter lim="800000"/>
            <a:headEnd/>
            <a:tailEnd/>
          </a:ln>
          <a:effectLst>
            <a:outerShdw dist="23000" dir="5400000" rotWithShape="0">
              <a:srgbClr val="000000">
                <a:alpha val="34998"/>
              </a:srgbClr>
            </a:outerShdw>
          </a:effectLst>
        </p:spPr>
        <p:txBody>
          <a:bodyPr anchor="ctr"/>
          <a:lstStyle/>
          <a:p>
            <a:pPr algn="ctr" defTabSz="457200"/>
            <a:endParaRPr lang="en-US" sz="1800">
              <a:solidFill>
                <a:srgbClr val="FFFFFF"/>
              </a:solidFill>
            </a:endParaRPr>
          </a:p>
        </p:txBody>
      </p:sp>
      <p:pic>
        <p:nvPicPr>
          <p:cNvPr id="5" name="Picture 6" descr="LOGO CE-EN-quadri.eps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7638" y="258763"/>
            <a:ext cx="1436687" cy="998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84"/>
          <p:cNvSpPr>
            <a:spLocks noChangeArrowheads="1"/>
          </p:cNvSpPr>
          <p:nvPr userDrawn="1"/>
        </p:nvSpPr>
        <p:spPr bwMode="auto">
          <a:xfrm>
            <a:off x="4251325" y="1223963"/>
            <a:ext cx="623888" cy="31750"/>
          </a:xfrm>
          <a:prstGeom prst="rect">
            <a:avLst/>
          </a:prstGeom>
          <a:solidFill>
            <a:srgbClr val="EE803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7" name="Rectangle 13"/>
          <p:cNvSpPr>
            <a:spLocks noChangeArrowheads="1"/>
          </p:cNvSpPr>
          <p:nvPr userDrawn="1"/>
        </p:nvSpPr>
        <p:spPr bwMode="auto">
          <a:xfrm>
            <a:off x="4267200" y="6575425"/>
            <a:ext cx="622300" cy="290513"/>
          </a:xfrm>
          <a:prstGeom prst="rect">
            <a:avLst/>
          </a:prstGeom>
          <a:solidFill>
            <a:srgbClr val="EE8032"/>
          </a:solidFill>
          <a:ln w="9525" algn="ctr">
            <a:solidFill>
              <a:srgbClr val="EE8032"/>
            </a:solidFill>
            <a:miter lim="800000"/>
            <a:headEnd/>
            <a:tailEnd/>
          </a:ln>
          <a:effectLst>
            <a:outerShdw dist="23000" dir="5400000" rotWithShape="0">
              <a:srgbClr val="000000">
                <a:alpha val="34998"/>
              </a:srgbClr>
            </a:outerShdw>
          </a:effectLst>
        </p:spPr>
        <p:txBody>
          <a:bodyPr lIns="54000" anchor="ctr"/>
          <a:lstStyle/>
          <a:p>
            <a:pPr defTabSz="457200"/>
            <a:r>
              <a:rPr lang="fr-BE" sz="900">
                <a:solidFill>
                  <a:srgbClr val="FFFFFF"/>
                </a:solidFill>
                <a:latin typeface="Calibri" pitchFamily="34" charset="0"/>
              </a:rPr>
              <a:t>Regional Policy</a:t>
            </a:r>
            <a:endParaRPr lang="en-GB" sz="900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ctrTitle"/>
          </p:nvPr>
        </p:nvSpPr>
        <p:spPr>
          <a:xfrm>
            <a:off x="3995738" y="2565400"/>
            <a:ext cx="5040312" cy="790575"/>
          </a:xfrm>
        </p:spPr>
        <p:txBody>
          <a:bodyPr/>
          <a:lstStyle>
            <a:lvl1pPr marL="3175">
              <a:defRPr sz="7600">
                <a:solidFill>
                  <a:srgbClr val="FFD624"/>
                </a:solidFill>
              </a:defRPr>
            </a:lvl1pPr>
          </a:lstStyle>
          <a:p>
            <a:pPr lvl="0"/>
            <a:r>
              <a:rPr lang="fr-BE" noProof="0" smtClean="0"/>
              <a:t>Title</a:t>
            </a:r>
            <a:endParaRPr lang="en-GB" noProof="0" smtClean="0"/>
          </a:p>
        </p:txBody>
      </p:sp>
      <p:sp>
        <p:nvSpPr>
          <p:cNvPr id="3077" name="Rectangle 5"/>
          <p:cNvSpPr>
            <a:spLocks noGrp="1" noChangeArrowheads="1"/>
          </p:cNvSpPr>
          <p:nvPr>
            <p:ph type="subTitle" idx="1"/>
          </p:nvPr>
        </p:nvSpPr>
        <p:spPr>
          <a:xfrm>
            <a:off x="611188" y="3716338"/>
            <a:ext cx="8532812" cy="1728787"/>
          </a:xfrm>
        </p:spPr>
        <p:txBody>
          <a:bodyPr/>
          <a:lstStyle>
            <a:lvl1pPr marL="0" indent="0">
              <a:buFontTx/>
              <a:buNone/>
              <a:defRPr sz="30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fr-BE" noProof="0" smtClean="0"/>
              <a:t>Subtitle</a:t>
            </a:r>
            <a:endParaRPr lang="en-GB" noProof="0" smtClean="0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z="1200" b="1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9" name="Rectangle 7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0" name="Rectangle 8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C44BB5FA-1E4E-4FDC-A734-209B40D53E5E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7244145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462F06B-0488-45A7-BE27-C5754CD1796E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20739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15113" y="1339850"/>
            <a:ext cx="2071687" cy="46815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95288" y="1339850"/>
            <a:ext cx="6067425" cy="46815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3635F79-8F47-44B8-92F6-32C43A803390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3931990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  <p:sp>
        <p:nvSpPr>
          <p:cNvPr id="4" name="Rectangle 910"/>
          <p:cNvSpPr>
            <a:spLocks noGrp="1" noChangeArrowheads="1"/>
          </p:cNvSpPr>
          <p:nvPr>
            <p:ph type="ft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European Union</a:t>
            </a:r>
            <a:br>
              <a:rPr lang="en-GB"/>
            </a:br>
            <a:r>
              <a:rPr lang="en-GB" b="0"/>
              <a:t>Cohesion Policy</a:t>
            </a:r>
          </a:p>
        </p:txBody>
      </p:sp>
      <p:sp>
        <p:nvSpPr>
          <p:cNvPr id="5" name="Rectangle 911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│ </a:t>
            </a:r>
            <a:fld id="{A7274211-99A7-4CE4-BFDC-19869CC5022A}" type="slidenum">
              <a:rPr lang="fr-FR" baseline="30000"/>
              <a:pPr>
                <a:defRPr/>
              </a:pPr>
              <a:t>‹#›</a:t>
            </a:fld>
            <a:endParaRPr lang="fr-FR" baseline="30000"/>
          </a:p>
        </p:txBody>
      </p:sp>
    </p:spTree>
    <p:extLst>
      <p:ext uri="{BB962C8B-B14F-4D97-AF65-F5344CB8AC3E}">
        <p14:creationId xmlns:p14="http://schemas.microsoft.com/office/powerpoint/2010/main" val="351883698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910"/>
          <p:cNvSpPr>
            <a:spLocks noGrp="1" noChangeArrowheads="1"/>
          </p:cNvSpPr>
          <p:nvPr>
            <p:ph type="ft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European Union</a:t>
            </a:r>
            <a:br>
              <a:rPr lang="en-GB"/>
            </a:br>
            <a:r>
              <a:rPr lang="en-GB" b="0"/>
              <a:t>Cohesion Policy</a:t>
            </a:r>
          </a:p>
        </p:txBody>
      </p:sp>
      <p:sp>
        <p:nvSpPr>
          <p:cNvPr id="5" name="Rectangle 911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│ </a:t>
            </a:r>
            <a:fld id="{A0C44262-2AA1-4D7A-B6E8-51E9D67EE43E}" type="slidenum">
              <a:rPr lang="fr-FR" baseline="30000"/>
              <a:pPr>
                <a:defRPr/>
              </a:pPr>
              <a:t>‹#›</a:t>
            </a:fld>
            <a:endParaRPr lang="fr-FR" baseline="30000"/>
          </a:p>
        </p:txBody>
      </p:sp>
    </p:spTree>
    <p:extLst>
      <p:ext uri="{BB962C8B-B14F-4D97-AF65-F5344CB8AC3E}">
        <p14:creationId xmlns:p14="http://schemas.microsoft.com/office/powerpoint/2010/main" val="285513940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910"/>
          <p:cNvSpPr>
            <a:spLocks noGrp="1" noChangeArrowheads="1"/>
          </p:cNvSpPr>
          <p:nvPr>
            <p:ph type="ft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European Union</a:t>
            </a:r>
            <a:br>
              <a:rPr lang="en-GB"/>
            </a:br>
            <a:r>
              <a:rPr lang="en-GB" b="0"/>
              <a:t>Cohesion Policy</a:t>
            </a:r>
          </a:p>
        </p:txBody>
      </p:sp>
      <p:sp>
        <p:nvSpPr>
          <p:cNvPr id="5" name="Rectangle 911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│ </a:t>
            </a:r>
            <a:fld id="{B1B9A532-0C37-48F4-B1CA-5530DF0B3572}" type="slidenum">
              <a:rPr lang="fr-FR" baseline="30000"/>
              <a:pPr>
                <a:defRPr/>
              </a:pPr>
              <a:t>‹#›</a:t>
            </a:fld>
            <a:endParaRPr lang="fr-FR" baseline="30000"/>
          </a:p>
        </p:txBody>
      </p:sp>
    </p:spTree>
    <p:extLst>
      <p:ext uri="{BB962C8B-B14F-4D97-AF65-F5344CB8AC3E}">
        <p14:creationId xmlns:p14="http://schemas.microsoft.com/office/powerpoint/2010/main" val="322410395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711325"/>
            <a:ext cx="4035425" cy="42338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5025" y="1711325"/>
            <a:ext cx="4037013" cy="42338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910"/>
          <p:cNvSpPr>
            <a:spLocks noGrp="1" noChangeArrowheads="1"/>
          </p:cNvSpPr>
          <p:nvPr>
            <p:ph type="ft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European Union</a:t>
            </a:r>
            <a:br>
              <a:rPr lang="en-GB"/>
            </a:br>
            <a:r>
              <a:rPr lang="en-GB" b="0"/>
              <a:t>Cohesion Policy</a:t>
            </a:r>
          </a:p>
        </p:txBody>
      </p:sp>
      <p:sp>
        <p:nvSpPr>
          <p:cNvPr id="6" name="Rectangle 911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│ </a:t>
            </a:r>
            <a:fld id="{98B29CBF-B3A1-4F07-BBCC-D98BF628ED67}" type="slidenum">
              <a:rPr lang="fr-FR" baseline="30000"/>
              <a:pPr>
                <a:defRPr/>
              </a:pPr>
              <a:t>‹#›</a:t>
            </a:fld>
            <a:endParaRPr lang="fr-FR" baseline="30000"/>
          </a:p>
        </p:txBody>
      </p:sp>
    </p:spTree>
    <p:extLst>
      <p:ext uri="{BB962C8B-B14F-4D97-AF65-F5344CB8AC3E}">
        <p14:creationId xmlns:p14="http://schemas.microsoft.com/office/powerpoint/2010/main" val="178448689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Rectangle 910"/>
          <p:cNvSpPr>
            <a:spLocks noGrp="1" noChangeArrowheads="1"/>
          </p:cNvSpPr>
          <p:nvPr>
            <p:ph type="ft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European Union</a:t>
            </a:r>
            <a:br>
              <a:rPr lang="en-GB"/>
            </a:br>
            <a:r>
              <a:rPr lang="en-GB" b="0"/>
              <a:t>Cohesion Policy</a:t>
            </a:r>
          </a:p>
        </p:txBody>
      </p:sp>
      <p:sp>
        <p:nvSpPr>
          <p:cNvPr id="8" name="Rectangle 911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│ </a:t>
            </a:r>
            <a:fld id="{DC3078D3-6B35-42E1-84FB-8D9BC7A95CAA}" type="slidenum">
              <a:rPr lang="fr-FR" baseline="30000"/>
              <a:pPr>
                <a:defRPr/>
              </a:pPr>
              <a:t>‹#›</a:t>
            </a:fld>
            <a:endParaRPr lang="fr-FR" baseline="30000"/>
          </a:p>
        </p:txBody>
      </p:sp>
    </p:spTree>
    <p:extLst>
      <p:ext uri="{BB962C8B-B14F-4D97-AF65-F5344CB8AC3E}">
        <p14:creationId xmlns:p14="http://schemas.microsoft.com/office/powerpoint/2010/main" val="151648010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Rectangle 910"/>
          <p:cNvSpPr>
            <a:spLocks noGrp="1" noChangeArrowheads="1"/>
          </p:cNvSpPr>
          <p:nvPr>
            <p:ph type="ft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European Union</a:t>
            </a:r>
            <a:br>
              <a:rPr lang="en-GB"/>
            </a:br>
            <a:r>
              <a:rPr lang="en-GB" b="0"/>
              <a:t>Cohesion Policy</a:t>
            </a:r>
          </a:p>
        </p:txBody>
      </p:sp>
      <p:sp>
        <p:nvSpPr>
          <p:cNvPr id="4" name="Rectangle 911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│ </a:t>
            </a:r>
            <a:fld id="{47BAEC85-BDE5-42CC-AAD8-F657942AE4D4}" type="slidenum">
              <a:rPr lang="fr-FR" baseline="30000"/>
              <a:pPr>
                <a:defRPr/>
              </a:pPr>
              <a:t>‹#›</a:t>
            </a:fld>
            <a:endParaRPr lang="fr-FR" baseline="30000"/>
          </a:p>
        </p:txBody>
      </p:sp>
    </p:spTree>
    <p:extLst>
      <p:ext uri="{BB962C8B-B14F-4D97-AF65-F5344CB8AC3E}">
        <p14:creationId xmlns:p14="http://schemas.microsoft.com/office/powerpoint/2010/main" val="366984422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910"/>
          <p:cNvSpPr>
            <a:spLocks noGrp="1" noChangeArrowheads="1"/>
          </p:cNvSpPr>
          <p:nvPr>
            <p:ph type="ft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European Union</a:t>
            </a:r>
            <a:br>
              <a:rPr lang="en-GB"/>
            </a:br>
            <a:r>
              <a:rPr lang="en-GB" b="0"/>
              <a:t>Cohesion Policy</a:t>
            </a:r>
          </a:p>
        </p:txBody>
      </p:sp>
      <p:sp>
        <p:nvSpPr>
          <p:cNvPr id="3" name="Rectangle 911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│ </a:t>
            </a:r>
            <a:fld id="{C93D1397-F3A9-4D0C-AA50-A5739EF9CEDE}" type="slidenum">
              <a:rPr lang="fr-FR" baseline="30000"/>
              <a:pPr>
                <a:defRPr/>
              </a:pPr>
              <a:t>‹#›</a:t>
            </a:fld>
            <a:endParaRPr lang="fr-FR" baseline="30000"/>
          </a:p>
        </p:txBody>
      </p:sp>
    </p:spTree>
    <p:extLst>
      <p:ext uri="{BB962C8B-B14F-4D97-AF65-F5344CB8AC3E}">
        <p14:creationId xmlns:p14="http://schemas.microsoft.com/office/powerpoint/2010/main" val="308197866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910"/>
          <p:cNvSpPr>
            <a:spLocks noGrp="1" noChangeArrowheads="1"/>
          </p:cNvSpPr>
          <p:nvPr>
            <p:ph type="ft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European Union</a:t>
            </a:r>
            <a:br>
              <a:rPr lang="en-GB"/>
            </a:br>
            <a:r>
              <a:rPr lang="en-GB" b="0"/>
              <a:t>Cohesion Policy</a:t>
            </a:r>
          </a:p>
        </p:txBody>
      </p:sp>
      <p:sp>
        <p:nvSpPr>
          <p:cNvPr id="6" name="Rectangle 911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│ </a:t>
            </a:r>
            <a:fld id="{26356BDD-62CB-4504-BC12-9C0CB6AE15F2}" type="slidenum">
              <a:rPr lang="fr-FR" baseline="30000"/>
              <a:pPr>
                <a:defRPr/>
              </a:pPr>
              <a:t>‹#›</a:t>
            </a:fld>
            <a:endParaRPr lang="fr-FR" baseline="30000"/>
          </a:p>
        </p:txBody>
      </p:sp>
    </p:spTree>
    <p:extLst>
      <p:ext uri="{BB962C8B-B14F-4D97-AF65-F5344CB8AC3E}">
        <p14:creationId xmlns:p14="http://schemas.microsoft.com/office/powerpoint/2010/main" val="98800173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9D174D7-27D2-450D-A60E-71D9D17C6C7E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5836264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910"/>
          <p:cNvSpPr>
            <a:spLocks noGrp="1" noChangeArrowheads="1"/>
          </p:cNvSpPr>
          <p:nvPr>
            <p:ph type="ft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European Union</a:t>
            </a:r>
            <a:br>
              <a:rPr lang="en-GB"/>
            </a:br>
            <a:r>
              <a:rPr lang="en-GB" b="0"/>
              <a:t>Cohesion Policy</a:t>
            </a:r>
          </a:p>
        </p:txBody>
      </p:sp>
      <p:sp>
        <p:nvSpPr>
          <p:cNvPr id="6" name="Rectangle 911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│ </a:t>
            </a:r>
            <a:fld id="{6B2F1F6E-7E2B-487D-9600-C06AABB3A711}" type="slidenum">
              <a:rPr lang="fr-FR" baseline="30000"/>
              <a:pPr>
                <a:defRPr/>
              </a:pPr>
              <a:t>‹#›</a:t>
            </a:fld>
            <a:endParaRPr lang="fr-FR" baseline="30000"/>
          </a:p>
        </p:txBody>
      </p:sp>
    </p:spTree>
    <p:extLst>
      <p:ext uri="{BB962C8B-B14F-4D97-AF65-F5344CB8AC3E}">
        <p14:creationId xmlns:p14="http://schemas.microsoft.com/office/powerpoint/2010/main" val="305052837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910"/>
          <p:cNvSpPr>
            <a:spLocks noGrp="1" noChangeArrowheads="1"/>
          </p:cNvSpPr>
          <p:nvPr>
            <p:ph type="ft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European Union</a:t>
            </a:r>
            <a:br>
              <a:rPr lang="en-GB"/>
            </a:br>
            <a:r>
              <a:rPr lang="en-GB" b="0"/>
              <a:t>Cohesion Policy</a:t>
            </a:r>
          </a:p>
        </p:txBody>
      </p:sp>
      <p:sp>
        <p:nvSpPr>
          <p:cNvPr id="5" name="Rectangle 911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│ </a:t>
            </a:r>
            <a:fld id="{856B916F-3E41-4A51-A4CE-8E522CA6138A}" type="slidenum">
              <a:rPr lang="fr-FR" baseline="30000"/>
              <a:pPr>
                <a:defRPr/>
              </a:pPr>
              <a:t>‹#›</a:t>
            </a:fld>
            <a:endParaRPr lang="fr-FR" baseline="30000"/>
          </a:p>
        </p:txBody>
      </p:sp>
    </p:spTree>
    <p:extLst>
      <p:ext uri="{BB962C8B-B14F-4D97-AF65-F5344CB8AC3E}">
        <p14:creationId xmlns:p14="http://schemas.microsoft.com/office/powerpoint/2010/main" val="58426169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6225" y="0"/>
            <a:ext cx="2055813" cy="594518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0"/>
            <a:ext cx="6016625" cy="594518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910"/>
          <p:cNvSpPr>
            <a:spLocks noGrp="1" noChangeArrowheads="1"/>
          </p:cNvSpPr>
          <p:nvPr>
            <p:ph type="ft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European Union</a:t>
            </a:r>
            <a:br>
              <a:rPr lang="en-GB"/>
            </a:br>
            <a:r>
              <a:rPr lang="en-GB" b="0"/>
              <a:t>Cohesion Policy</a:t>
            </a:r>
          </a:p>
        </p:txBody>
      </p:sp>
      <p:sp>
        <p:nvSpPr>
          <p:cNvPr id="5" name="Rectangle 911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│ </a:t>
            </a:r>
            <a:fld id="{7188D4F2-8726-4DE5-853C-A3EA1ECA21D0}" type="slidenum">
              <a:rPr lang="fr-FR" baseline="30000"/>
              <a:pPr>
                <a:defRPr/>
              </a:pPr>
              <a:t>‹#›</a:t>
            </a:fld>
            <a:endParaRPr lang="fr-FR" baseline="30000"/>
          </a:p>
        </p:txBody>
      </p:sp>
    </p:spTree>
    <p:extLst>
      <p:ext uri="{BB962C8B-B14F-4D97-AF65-F5344CB8AC3E}">
        <p14:creationId xmlns:p14="http://schemas.microsoft.com/office/powerpoint/2010/main" val="338588309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85C04DC-549A-4CCB-8707-5FD6468B1985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4409592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2492375"/>
            <a:ext cx="4038600" cy="35290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2492375"/>
            <a:ext cx="4038600" cy="35290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780C42B-31B8-43C6-9050-148C820D8F5A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7758310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B7E6E30-9163-43EC-B637-029FACB92932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1889784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120D5D2-667F-4CF0-9774-A2431B39A159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8264775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27493FB-CD89-47D2-9F4B-742E32CA106D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3206141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000BBB7-8277-453E-8AAB-E02E23367DCB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3992282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70DCB12-F32F-44EF-85A2-47EEEF260874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136121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95288" y="1339850"/>
            <a:ext cx="8229600" cy="936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Tit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2492375"/>
            <a:ext cx="8229600" cy="35290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BE" smtClean="0"/>
              <a:t>Second level</a:t>
            </a:r>
            <a:endParaRPr lang="en-GB" smtClean="0"/>
          </a:p>
          <a:p>
            <a:pPr lvl="1"/>
            <a:r>
              <a:rPr lang="en-GB" smtClean="0"/>
              <a:t>Third level</a:t>
            </a:r>
          </a:p>
          <a:p>
            <a:pPr lvl="2"/>
            <a:r>
              <a:rPr lang="en-GB" smtClean="0"/>
              <a:t>- Fourth level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solidFill>
                  <a:schemeClr val="tx1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chemeClr val="tx1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E313B73E-35DF-46A8-88EB-362982591029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sp>
        <p:nvSpPr>
          <p:cNvPr id="15" name="Rectangle 14"/>
          <p:cNvSpPr/>
          <p:nvPr/>
        </p:nvSpPr>
        <p:spPr>
          <a:xfrm>
            <a:off x="0" y="0"/>
            <a:ext cx="9144000" cy="957263"/>
          </a:xfrm>
          <a:prstGeom prst="rect">
            <a:avLst/>
          </a:prstGeom>
          <a:solidFill>
            <a:srgbClr val="0F5494"/>
          </a:solidFill>
          <a:ln>
            <a:solidFill>
              <a:srgbClr val="0F549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/>
          </a:p>
        </p:txBody>
      </p:sp>
      <p:pic>
        <p:nvPicPr>
          <p:cNvPr id="1032" name="Picture 17" descr="LOGO CE_Vertical_EN_NEG_quadri_HR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7638" y="258763"/>
            <a:ext cx="1436687" cy="1004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3" name="Rectangle 19"/>
          <p:cNvSpPr>
            <a:spLocks noChangeArrowheads="1"/>
          </p:cNvSpPr>
          <p:nvPr userDrawn="1"/>
        </p:nvSpPr>
        <p:spPr bwMode="auto">
          <a:xfrm>
            <a:off x="4251325" y="1222375"/>
            <a:ext cx="623888" cy="39688"/>
          </a:xfrm>
          <a:prstGeom prst="rect">
            <a:avLst/>
          </a:prstGeom>
          <a:solidFill>
            <a:srgbClr val="EE803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1034" name="Rectangle 6"/>
          <p:cNvSpPr>
            <a:spLocks noChangeArrowheads="1"/>
          </p:cNvSpPr>
          <p:nvPr userDrawn="1"/>
        </p:nvSpPr>
        <p:spPr bwMode="auto">
          <a:xfrm>
            <a:off x="4267200" y="6575425"/>
            <a:ext cx="622300" cy="290513"/>
          </a:xfrm>
          <a:prstGeom prst="rect">
            <a:avLst/>
          </a:prstGeom>
          <a:solidFill>
            <a:srgbClr val="EE8032"/>
          </a:solidFill>
          <a:ln w="9525" algn="ctr">
            <a:solidFill>
              <a:srgbClr val="EE8032"/>
            </a:solidFill>
            <a:miter lim="800000"/>
            <a:headEnd/>
            <a:tailEnd/>
          </a:ln>
          <a:effectLst>
            <a:outerShdw dist="23000" dir="5400000" rotWithShape="0">
              <a:srgbClr val="000000">
                <a:alpha val="34998"/>
              </a:srgbClr>
            </a:outerShdw>
          </a:effectLst>
        </p:spPr>
        <p:txBody>
          <a:bodyPr lIns="54000" anchor="ctr"/>
          <a:lstStyle/>
          <a:p>
            <a:pPr defTabSz="457200"/>
            <a:r>
              <a:rPr lang="fr-BE" sz="900">
                <a:solidFill>
                  <a:srgbClr val="FFFFFF"/>
                </a:solidFill>
                <a:latin typeface="Calibri" pitchFamily="34" charset="0"/>
              </a:rPr>
              <a:t>Regional Policy</a:t>
            </a:r>
            <a:endParaRPr lang="en-GB" sz="900">
              <a:solidFill>
                <a:srgbClr val="FFFFFF"/>
              </a:solidFill>
              <a:latin typeface="Calibri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73" r:id="rId2"/>
    <p:sldLayoutId id="2147483674" r:id="rId3"/>
    <p:sldLayoutId id="2147483675" r:id="rId4"/>
    <p:sldLayoutId id="2147483676" r:id="rId5"/>
    <p:sldLayoutId id="2147483677" r:id="rId6"/>
    <p:sldLayoutId id="2147483678" r:id="rId7"/>
    <p:sldLayoutId id="2147483679" r:id="rId8"/>
    <p:sldLayoutId id="2147483680" r:id="rId9"/>
    <p:sldLayoutId id="2147483681" r:id="rId10"/>
    <p:sldLayoutId id="2147483682" r:id="rId11"/>
  </p:sldLayoutIdLst>
  <p:txStyles>
    <p:titleStyle>
      <a:lvl1pPr marL="358775" indent="-358775"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+mj-lt"/>
          <a:ea typeface="+mj-ea"/>
          <a:cs typeface="+mj-cs"/>
        </a:defRPr>
      </a:lvl1pPr>
      <a:lvl2pPr marL="358775" indent="-358775"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2pPr>
      <a:lvl3pPr marL="358775" indent="-358775"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3pPr>
      <a:lvl4pPr marL="358775" indent="-358775"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4pPr>
      <a:lvl5pPr marL="358775" indent="-358775"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5pPr>
      <a:lvl6pPr marL="815975" algn="l" rtl="0" fontAlgn="base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6pPr>
      <a:lvl7pPr marL="1273175" algn="l" rtl="0" fontAlgn="base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7pPr>
      <a:lvl8pPr marL="1730375" algn="l" rtl="0" fontAlgn="base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8pPr>
      <a:lvl9pPr marL="2187575" algn="l" rtl="0" fontAlgn="base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bg1"/>
        </a:buClr>
        <a:buChar char="•"/>
        <a:defRPr sz="2400" i="1">
          <a:solidFill>
            <a:srgbClr val="0F5494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009FBA"/>
        </a:buClr>
        <a:buChar char="•"/>
        <a:defRPr sz="2000" b="1">
          <a:solidFill>
            <a:srgbClr val="0F5494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defRPr sz="1400">
          <a:solidFill>
            <a:srgbClr val="0F5494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Arial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266" name="Group 1"/>
          <p:cNvGrpSpPr>
            <a:grpSpLocks/>
          </p:cNvGrpSpPr>
          <p:nvPr/>
        </p:nvGrpSpPr>
        <p:grpSpPr bwMode="auto">
          <a:xfrm>
            <a:off x="0" y="0"/>
            <a:ext cx="9140825" cy="6861175"/>
            <a:chOff x="0" y="0"/>
            <a:chExt cx="5758" cy="4322"/>
          </a:xfrm>
        </p:grpSpPr>
        <p:sp>
          <p:nvSpPr>
            <p:cNvPr id="11286" name="Rectangle 2"/>
            <p:cNvSpPr>
              <a:spLocks noChangeArrowheads="1"/>
            </p:cNvSpPr>
            <p:nvPr/>
          </p:nvSpPr>
          <p:spPr bwMode="auto">
            <a:xfrm>
              <a:off x="1" y="0"/>
              <a:ext cx="5756" cy="4317"/>
            </a:xfrm>
            <a:prstGeom prst="rect">
              <a:avLst/>
            </a:prstGeom>
            <a:gradFill rotWithShape="0">
              <a:gsLst>
                <a:gs pos="0">
                  <a:srgbClr val="006699"/>
                </a:gs>
                <a:gs pos="100000">
                  <a:srgbClr val="27859C"/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US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11287" name="Freeform 3"/>
            <p:cNvSpPr>
              <a:spLocks noChangeArrowheads="1"/>
            </p:cNvSpPr>
            <p:nvPr/>
          </p:nvSpPr>
          <p:spPr bwMode="auto">
            <a:xfrm rot="10800000">
              <a:off x="3" y="4"/>
              <a:ext cx="5756" cy="4317"/>
            </a:xfrm>
            <a:custGeom>
              <a:avLst/>
              <a:gdLst>
                <a:gd name="T0" fmla="*/ 3168 w 4768"/>
                <a:gd name="T1" fmla="*/ 36 h 3368"/>
                <a:gd name="T2" fmla="*/ 19522 w 4768"/>
                <a:gd name="T3" fmla="*/ 51854 h 3368"/>
                <a:gd name="T4" fmla="*/ 1026 w 4768"/>
                <a:gd name="T5" fmla="*/ 5492 h 3368"/>
                <a:gd name="T6" fmla="*/ 5662 w 4768"/>
                <a:gd name="T7" fmla="*/ 30061 h 3368"/>
                <a:gd name="T8" fmla="*/ 16727 w 4768"/>
                <a:gd name="T9" fmla="*/ 26803 h 3368"/>
                <a:gd name="T10" fmla="*/ 23573 w 4768"/>
                <a:gd name="T11" fmla="*/ 27248 h 3368"/>
                <a:gd name="T12" fmla="*/ 18405 w 4768"/>
                <a:gd name="T13" fmla="*/ 29162 h 3368"/>
                <a:gd name="T14" fmla="*/ 14347 w 4768"/>
                <a:gd name="T15" fmla="*/ 23517 h 3368"/>
                <a:gd name="T16" fmla="*/ 27800 w 4768"/>
                <a:gd name="T17" fmla="*/ 25514 h 3368"/>
                <a:gd name="T18" fmla="*/ 18405 w 4768"/>
                <a:gd name="T19" fmla="*/ 30686 h 3368"/>
                <a:gd name="T20" fmla="*/ 9215 w 4768"/>
                <a:gd name="T21" fmla="*/ 26249 h 3368"/>
                <a:gd name="T22" fmla="*/ 21889 w 4768"/>
                <a:gd name="T23" fmla="*/ 19925 h 3368"/>
                <a:gd name="T24" fmla="*/ 31740 w 4768"/>
                <a:gd name="T25" fmla="*/ 32204 h 3368"/>
                <a:gd name="T26" fmla="*/ 17237 w 4768"/>
                <a:gd name="T27" fmla="*/ 33473 h 3368"/>
                <a:gd name="T28" fmla="*/ 3704 w 4768"/>
                <a:gd name="T29" fmla="*/ 29244 h 3368"/>
                <a:gd name="T30" fmla="*/ 15039 w 4768"/>
                <a:gd name="T31" fmla="*/ 19232 h 3368"/>
                <a:gd name="T32" fmla="*/ 27566 w 4768"/>
                <a:gd name="T33" fmla="*/ 21611 h 3368"/>
                <a:gd name="T34" fmla="*/ 32923 w 4768"/>
                <a:gd name="T35" fmla="*/ 34273 h 3368"/>
                <a:gd name="T36" fmla="*/ 18119 w 4768"/>
                <a:gd name="T37" fmla="*/ 35828 h 3368"/>
                <a:gd name="T38" fmla="*/ 3626 w 4768"/>
                <a:gd name="T39" fmla="*/ 34494 h 3368"/>
                <a:gd name="T40" fmla="*/ 11336 w 4768"/>
                <a:gd name="T41" fmla="*/ 16518 h 3368"/>
                <a:gd name="T42" fmla="*/ 23664 w 4768"/>
                <a:gd name="T43" fmla="*/ 16278 h 3368"/>
                <a:gd name="T44" fmla="*/ 34291 w 4768"/>
                <a:gd name="T45" fmla="*/ 22435 h 3368"/>
                <a:gd name="T46" fmla="*/ 25082 w 4768"/>
                <a:gd name="T47" fmla="*/ 38816 h 3368"/>
                <a:gd name="T48" fmla="*/ 10144 w 4768"/>
                <a:gd name="T49" fmla="*/ 39044 h 3368"/>
                <a:gd name="T50" fmla="*/ 4872 w 4768"/>
                <a:gd name="T51" fmla="*/ 21399 h 3368"/>
                <a:gd name="T52" fmla="*/ 15580 w 4768"/>
                <a:gd name="T53" fmla="*/ 13325 h 3368"/>
                <a:gd name="T54" fmla="*/ 27891 w 4768"/>
                <a:gd name="T55" fmla="*/ 16846 h 3368"/>
                <a:gd name="T56" fmla="*/ 36375 w 4768"/>
                <a:gd name="T57" fmla="*/ 30547 h 3368"/>
                <a:gd name="T58" fmla="*/ 23111 w 4768"/>
                <a:gd name="T59" fmla="*/ 39822 h 3368"/>
                <a:gd name="T60" fmla="*/ 8336 w 4768"/>
                <a:gd name="T61" fmla="*/ 40087 h 3368"/>
                <a:gd name="T62" fmla="*/ 5038 w 4768"/>
                <a:gd name="T63" fmla="*/ 16134 h 3368"/>
                <a:gd name="T64" fmla="*/ 14936 w 4768"/>
                <a:gd name="T65" fmla="*/ 10913 h 3368"/>
                <a:gd name="T66" fmla="*/ 26974 w 4768"/>
                <a:gd name="T67" fmla="*/ 12705 h 3368"/>
                <a:gd name="T68" fmla="*/ 35476 w 4768"/>
                <a:gd name="T69" fmla="*/ 17031 h 3368"/>
                <a:gd name="T70" fmla="*/ 26943 w 4768"/>
                <a:gd name="T71" fmla="*/ 43265 h 3368"/>
                <a:gd name="T72" fmla="*/ 11411 w 4768"/>
                <a:gd name="T73" fmla="*/ 43910 h 3368"/>
                <a:gd name="T74" fmla="*/ 2574 w 4768"/>
                <a:gd name="T75" fmla="*/ 13452 h 3368"/>
                <a:gd name="T76" fmla="*/ 10712 w 4768"/>
                <a:gd name="T77" fmla="*/ 8829 h 3368"/>
                <a:gd name="T78" fmla="*/ 21804 w 4768"/>
                <a:gd name="T79" fmla="*/ 7855 h 3368"/>
                <a:gd name="T80" fmla="*/ 31415 w 4768"/>
                <a:gd name="T81" fmla="*/ 13005 h 3368"/>
                <a:gd name="T82" fmla="*/ 35414 w 4768"/>
                <a:gd name="T83" fmla="*/ 45434 h 3368"/>
                <a:gd name="T84" fmla="*/ 19404 w 4768"/>
                <a:gd name="T85" fmla="*/ 45619 h 3368"/>
                <a:gd name="T86" fmla="*/ 3649 w 4768"/>
                <a:gd name="T87" fmla="*/ 44621 h 3368"/>
                <a:gd name="T88" fmla="*/ 4323 w 4768"/>
                <a:gd name="T89" fmla="*/ 9036 h 3368"/>
                <a:gd name="T90" fmla="*/ 12702 w 4768"/>
                <a:gd name="T91" fmla="*/ 7145 h 3368"/>
                <a:gd name="T92" fmla="*/ 23801 w 4768"/>
                <a:gd name="T93" fmla="*/ 6881 h 3368"/>
                <a:gd name="T94" fmla="*/ 32678 w 4768"/>
                <a:gd name="T95" fmla="*/ 9906 h 3368"/>
                <a:gd name="T96" fmla="*/ 34973 w 4768"/>
                <a:gd name="T97" fmla="*/ 48662 h 3368"/>
                <a:gd name="T98" fmla="*/ 19587 w 4768"/>
                <a:gd name="T99" fmla="*/ 48709 h 3368"/>
                <a:gd name="T100" fmla="*/ 4748 w 4768"/>
                <a:gd name="T101" fmla="*/ 46779 h 3368"/>
                <a:gd name="T102" fmla="*/ 2536 w 4768"/>
                <a:gd name="T103" fmla="*/ 4800 h 3368"/>
                <a:gd name="T104" fmla="*/ 10231 w 4768"/>
                <a:gd name="T105" fmla="*/ 6332 h 3368"/>
                <a:gd name="T106" fmla="*/ 20851 w 4768"/>
                <a:gd name="T107" fmla="*/ 3963 h 3368"/>
                <a:gd name="T108" fmla="*/ 29038 w 4768"/>
                <a:gd name="T109" fmla="*/ 4572 h 3368"/>
                <a:gd name="T110" fmla="*/ 36319 w 4768"/>
                <a:gd name="T111" fmla="*/ 6841 h 3368"/>
                <a:gd name="T112" fmla="*/ 30891 w 4768"/>
                <a:gd name="T113" fmla="*/ 49604 h 3368"/>
                <a:gd name="T114" fmla="*/ 14328 w 4768"/>
                <a:gd name="T115" fmla="*/ 50406 h 3368"/>
                <a:gd name="T116" fmla="*/ 844 w 4768"/>
                <a:gd name="T117" fmla="*/ 35082 h 3368"/>
                <a:gd name="T118" fmla="*/ 4676 w 4768"/>
                <a:gd name="T119" fmla="*/ 524 h 3368"/>
                <a:gd name="T120" fmla="*/ 12597 w 4768"/>
                <a:gd name="T121" fmla="*/ 1916 h 3368"/>
                <a:gd name="T122" fmla="*/ 23094 w 4768"/>
                <a:gd name="T123" fmla="*/ 2672 h 3368"/>
                <a:gd name="T124" fmla="*/ 31664 w 4768"/>
                <a:gd name="T125" fmla="*/ 1911 h 336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4768" h="3368">
                  <a:moveTo>
                    <a:pt x="4765" y="381"/>
                  </a:moveTo>
                  <a:cubicBezTo>
                    <a:pt x="4765" y="0"/>
                    <a:pt x="4765" y="0"/>
                    <a:pt x="4765" y="0"/>
                  </a:cubicBezTo>
                  <a:cubicBezTo>
                    <a:pt x="4588" y="0"/>
                    <a:pt x="4588" y="0"/>
                    <a:pt x="4588" y="0"/>
                  </a:cubicBezTo>
                  <a:cubicBezTo>
                    <a:pt x="4585" y="2"/>
                    <a:pt x="4582" y="4"/>
                    <a:pt x="4578" y="4"/>
                  </a:cubicBezTo>
                  <a:cubicBezTo>
                    <a:pt x="4571" y="6"/>
                    <a:pt x="4563" y="4"/>
                    <a:pt x="4557" y="0"/>
                  </a:cubicBezTo>
                  <a:cubicBezTo>
                    <a:pt x="4515" y="0"/>
                    <a:pt x="4515" y="0"/>
                    <a:pt x="4515" y="0"/>
                  </a:cubicBezTo>
                  <a:cubicBezTo>
                    <a:pt x="4514" y="10"/>
                    <a:pt x="4508" y="18"/>
                    <a:pt x="4498" y="20"/>
                  </a:cubicBezTo>
                  <a:cubicBezTo>
                    <a:pt x="4484" y="22"/>
                    <a:pt x="4468" y="14"/>
                    <a:pt x="4462" y="0"/>
                  </a:cubicBezTo>
                  <a:cubicBezTo>
                    <a:pt x="4430" y="0"/>
                    <a:pt x="4430" y="0"/>
                    <a:pt x="4430" y="0"/>
                  </a:cubicBezTo>
                  <a:cubicBezTo>
                    <a:pt x="4431" y="2"/>
                    <a:pt x="4432" y="3"/>
                    <a:pt x="4432" y="4"/>
                  </a:cubicBezTo>
                  <a:cubicBezTo>
                    <a:pt x="4438" y="18"/>
                    <a:pt x="4432" y="32"/>
                    <a:pt x="4417" y="34"/>
                  </a:cubicBezTo>
                  <a:cubicBezTo>
                    <a:pt x="4403" y="37"/>
                    <a:pt x="4387" y="27"/>
                    <a:pt x="4381" y="13"/>
                  </a:cubicBezTo>
                  <a:cubicBezTo>
                    <a:pt x="4379" y="9"/>
                    <a:pt x="4378" y="4"/>
                    <a:pt x="4379" y="0"/>
                  </a:cubicBezTo>
                  <a:cubicBezTo>
                    <a:pt x="4335" y="0"/>
                    <a:pt x="4335" y="0"/>
                    <a:pt x="4335" y="0"/>
                  </a:cubicBezTo>
                  <a:cubicBezTo>
                    <a:pt x="4343" y="4"/>
                    <a:pt x="4349" y="11"/>
                    <a:pt x="4352" y="18"/>
                  </a:cubicBezTo>
                  <a:cubicBezTo>
                    <a:pt x="4358" y="32"/>
                    <a:pt x="4351" y="46"/>
                    <a:pt x="4337" y="48"/>
                  </a:cubicBezTo>
                  <a:cubicBezTo>
                    <a:pt x="4322" y="51"/>
                    <a:pt x="4306" y="41"/>
                    <a:pt x="4301" y="27"/>
                  </a:cubicBezTo>
                  <a:cubicBezTo>
                    <a:pt x="4296" y="16"/>
                    <a:pt x="4299" y="6"/>
                    <a:pt x="4307" y="0"/>
                  </a:cubicBezTo>
                  <a:cubicBezTo>
                    <a:pt x="4119" y="0"/>
                    <a:pt x="4119" y="0"/>
                    <a:pt x="4119" y="0"/>
                  </a:cubicBezTo>
                  <a:cubicBezTo>
                    <a:pt x="4116" y="4"/>
                    <a:pt x="4111" y="6"/>
                    <a:pt x="4106" y="7"/>
                  </a:cubicBezTo>
                  <a:cubicBezTo>
                    <a:pt x="4098" y="8"/>
                    <a:pt x="4089" y="6"/>
                    <a:pt x="4083" y="0"/>
                  </a:cubicBezTo>
                  <a:cubicBezTo>
                    <a:pt x="4044" y="0"/>
                    <a:pt x="4044" y="0"/>
                    <a:pt x="4044" y="0"/>
                  </a:cubicBezTo>
                  <a:cubicBezTo>
                    <a:pt x="4043" y="10"/>
                    <a:pt x="4037" y="18"/>
                    <a:pt x="4026" y="19"/>
                  </a:cubicBezTo>
                  <a:cubicBezTo>
                    <a:pt x="4014" y="21"/>
                    <a:pt x="4000" y="13"/>
                    <a:pt x="3994" y="0"/>
                  </a:cubicBezTo>
                  <a:cubicBezTo>
                    <a:pt x="3963" y="0"/>
                    <a:pt x="3963" y="0"/>
                    <a:pt x="3963" y="0"/>
                  </a:cubicBezTo>
                  <a:cubicBezTo>
                    <a:pt x="3963" y="0"/>
                    <a:pt x="3963" y="1"/>
                    <a:pt x="3963" y="1"/>
                  </a:cubicBezTo>
                  <a:cubicBezTo>
                    <a:pt x="3968" y="15"/>
                    <a:pt x="3961" y="28"/>
                    <a:pt x="3947" y="30"/>
                  </a:cubicBezTo>
                  <a:cubicBezTo>
                    <a:pt x="3933" y="32"/>
                    <a:pt x="3917" y="22"/>
                    <a:pt x="3913" y="7"/>
                  </a:cubicBezTo>
                  <a:cubicBezTo>
                    <a:pt x="3912" y="5"/>
                    <a:pt x="3912" y="3"/>
                    <a:pt x="3911" y="0"/>
                  </a:cubicBezTo>
                  <a:cubicBezTo>
                    <a:pt x="3878" y="0"/>
                    <a:pt x="3878" y="0"/>
                    <a:pt x="3878" y="0"/>
                  </a:cubicBezTo>
                  <a:cubicBezTo>
                    <a:pt x="3881" y="4"/>
                    <a:pt x="3883" y="7"/>
                    <a:pt x="3884" y="11"/>
                  </a:cubicBezTo>
                  <a:cubicBezTo>
                    <a:pt x="3889" y="26"/>
                    <a:pt x="3881" y="39"/>
                    <a:pt x="3867" y="41"/>
                  </a:cubicBezTo>
                  <a:cubicBezTo>
                    <a:pt x="3853" y="43"/>
                    <a:pt x="3838" y="32"/>
                    <a:pt x="3833" y="18"/>
                  </a:cubicBezTo>
                  <a:cubicBezTo>
                    <a:pt x="3831" y="11"/>
                    <a:pt x="3832" y="5"/>
                    <a:pt x="3834" y="0"/>
                  </a:cubicBezTo>
                  <a:cubicBezTo>
                    <a:pt x="3786" y="0"/>
                    <a:pt x="3786" y="0"/>
                    <a:pt x="3786" y="0"/>
                  </a:cubicBezTo>
                  <a:cubicBezTo>
                    <a:pt x="3795" y="4"/>
                    <a:pt x="3802" y="12"/>
                    <a:pt x="3805" y="21"/>
                  </a:cubicBezTo>
                  <a:cubicBezTo>
                    <a:pt x="3809" y="36"/>
                    <a:pt x="3801" y="49"/>
                    <a:pt x="3787" y="51"/>
                  </a:cubicBezTo>
                  <a:cubicBezTo>
                    <a:pt x="3773" y="52"/>
                    <a:pt x="3758" y="42"/>
                    <a:pt x="3754" y="27"/>
                  </a:cubicBezTo>
                  <a:cubicBezTo>
                    <a:pt x="3751" y="16"/>
                    <a:pt x="3755" y="5"/>
                    <a:pt x="3764" y="0"/>
                  </a:cubicBezTo>
                  <a:cubicBezTo>
                    <a:pt x="3506" y="0"/>
                    <a:pt x="3506" y="0"/>
                    <a:pt x="3506" y="0"/>
                  </a:cubicBezTo>
                  <a:cubicBezTo>
                    <a:pt x="3503" y="5"/>
                    <a:pt x="3498" y="7"/>
                    <a:pt x="3492" y="8"/>
                  </a:cubicBezTo>
                  <a:cubicBezTo>
                    <a:pt x="3484" y="9"/>
                    <a:pt x="3477" y="6"/>
                    <a:pt x="3471" y="0"/>
                  </a:cubicBezTo>
                  <a:cubicBezTo>
                    <a:pt x="3432" y="0"/>
                    <a:pt x="3432" y="0"/>
                    <a:pt x="3432" y="0"/>
                  </a:cubicBezTo>
                  <a:cubicBezTo>
                    <a:pt x="3429" y="8"/>
                    <a:pt x="3422" y="14"/>
                    <a:pt x="3413" y="15"/>
                  </a:cubicBezTo>
                  <a:cubicBezTo>
                    <a:pt x="3403" y="16"/>
                    <a:pt x="3392" y="10"/>
                    <a:pt x="3386" y="0"/>
                  </a:cubicBezTo>
                  <a:cubicBezTo>
                    <a:pt x="3354" y="0"/>
                    <a:pt x="3354" y="0"/>
                    <a:pt x="3354" y="0"/>
                  </a:cubicBezTo>
                  <a:cubicBezTo>
                    <a:pt x="3354" y="12"/>
                    <a:pt x="3346" y="21"/>
                    <a:pt x="3334" y="22"/>
                  </a:cubicBezTo>
                  <a:cubicBezTo>
                    <a:pt x="3321" y="23"/>
                    <a:pt x="3309" y="13"/>
                    <a:pt x="3305" y="0"/>
                  </a:cubicBezTo>
                  <a:cubicBezTo>
                    <a:pt x="3275" y="0"/>
                    <a:pt x="3275" y="0"/>
                    <a:pt x="3275" y="0"/>
                  </a:cubicBezTo>
                  <a:cubicBezTo>
                    <a:pt x="3278" y="15"/>
                    <a:pt x="3269" y="27"/>
                    <a:pt x="3255" y="28"/>
                  </a:cubicBezTo>
                  <a:cubicBezTo>
                    <a:pt x="3241" y="29"/>
                    <a:pt x="3228" y="18"/>
                    <a:pt x="3225" y="3"/>
                  </a:cubicBezTo>
                  <a:cubicBezTo>
                    <a:pt x="3225" y="2"/>
                    <a:pt x="3225" y="1"/>
                    <a:pt x="3225" y="0"/>
                  </a:cubicBezTo>
                  <a:cubicBezTo>
                    <a:pt x="3195" y="0"/>
                    <a:pt x="3195" y="0"/>
                    <a:pt x="3195" y="0"/>
                  </a:cubicBezTo>
                  <a:cubicBezTo>
                    <a:pt x="3196" y="2"/>
                    <a:pt x="3196" y="3"/>
                    <a:pt x="3197" y="5"/>
                  </a:cubicBezTo>
                  <a:cubicBezTo>
                    <a:pt x="3199" y="20"/>
                    <a:pt x="3190" y="33"/>
                    <a:pt x="3176" y="33"/>
                  </a:cubicBezTo>
                  <a:cubicBezTo>
                    <a:pt x="3162" y="34"/>
                    <a:pt x="3149" y="23"/>
                    <a:pt x="3147" y="8"/>
                  </a:cubicBezTo>
                  <a:cubicBezTo>
                    <a:pt x="3146" y="6"/>
                    <a:pt x="3146" y="3"/>
                    <a:pt x="3146" y="0"/>
                  </a:cubicBezTo>
                  <a:cubicBezTo>
                    <a:pt x="3115" y="0"/>
                    <a:pt x="3115" y="0"/>
                    <a:pt x="3115" y="0"/>
                  </a:cubicBezTo>
                  <a:cubicBezTo>
                    <a:pt x="3116" y="3"/>
                    <a:pt x="3118" y="7"/>
                    <a:pt x="3118" y="10"/>
                  </a:cubicBezTo>
                  <a:cubicBezTo>
                    <a:pt x="3120" y="25"/>
                    <a:pt x="3111" y="38"/>
                    <a:pt x="3097" y="38"/>
                  </a:cubicBezTo>
                  <a:cubicBezTo>
                    <a:pt x="3083" y="39"/>
                    <a:pt x="3070" y="28"/>
                    <a:pt x="3068" y="13"/>
                  </a:cubicBezTo>
                  <a:cubicBezTo>
                    <a:pt x="3067" y="9"/>
                    <a:pt x="3068" y="4"/>
                    <a:pt x="3069" y="0"/>
                  </a:cubicBezTo>
                  <a:cubicBezTo>
                    <a:pt x="3034" y="0"/>
                    <a:pt x="3034" y="0"/>
                    <a:pt x="3034" y="0"/>
                  </a:cubicBezTo>
                  <a:cubicBezTo>
                    <a:pt x="3037" y="4"/>
                    <a:pt x="3039" y="9"/>
                    <a:pt x="3039" y="15"/>
                  </a:cubicBezTo>
                  <a:cubicBezTo>
                    <a:pt x="3042" y="29"/>
                    <a:pt x="3032" y="42"/>
                    <a:pt x="3018" y="43"/>
                  </a:cubicBezTo>
                  <a:cubicBezTo>
                    <a:pt x="3004" y="44"/>
                    <a:pt x="2991" y="32"/>
                    <a:pt x="2989" y="17"/>
                  </a:cubicBezTo>
                  <a:cubicBezTo>
                    <a:pt x="2988" y="11"/>
                    <a:pt x="2990" y="5"/>
                    <a:pt x="2992" y="0"/>
                  </a:cubicBezTo>
                  <a:cubicBezTo>
                    <a:pt x="2952" y="0"/>
                    <a:pt x="2952" y="0"/>
                    <a:pt x="2952" y="0"/>
                  </a:cubicBezTo>
                  <a:cubicBezTo>
                    <a:pt x="2956" y="5"/>
                    <a:pt x="2960" y="11"/>
                    <a:pt x="2961" y="19"/>
                  </a:cubicBezTo>
                  <a:cubicBezTo>
                    <a:pt x="2963" y="33"/>
                    <a:pt x="2953" y="46"/>
                    <a:pt x="2939" y="47"/>
                  </a:cubicBezTo>
                  <a:cubicBezTo>
                    <a:pt x="2925" y="47"/>
                    <a:pt x="2912" y="36"/>
                    <a:pt x="2911" y="21"/>
                  </a:cubicBezTo>
                  <a:cubicBezTo>
                    <a:pt x="2910" y="13"/>
                    <a:pt x="2912" y="6"/>
                    <a:pt x="2916" y="0"/>
                  </a:cubicBezTo>
                  <a:cubicBezTo>
                    <a:pt x="2869" y="0"/>
                    <a:pt x="2869" y="0"/>
                    <a:pt x="2869" y="0"/>
                  </a:cubicBezTo>
                  <a:cubicBezTo>
                    <a:pt x="2876" y="5"/>
                    <a:pt x="2881" y="13"/>
                    <a:pt x="2882" y="22"/>
                  </a:cubicBezTo>
                  <a:cubicBezTo>
                    <a:pt x="2884" y="37"/>
                    <a:pt x="2874" y="49"/>
                    <a:pt x="2860" y="50"/>
                  </a:cubicBezTo>
                  <a:cubicBezTo>
                    <a:pt x="2846" y="51"/>
                    <a:pt x="2834" y="39"/>
                    <a:pt x="2832" y="24"/>
                  </a:cubicBezTo>
                  <a:cubicBezTo>
                    <a:pt x="2831" y="14"/>
                    <a:pt x="2835" y="5"/>
                    <a:pt x="2841" y="0"/>
                  </a:cubicBezTo>
                  <a:cubicBezTo>
                    <a:pt x="2786" y="0"/>
                    <a:pt x="2786" y="0"/>
                    <a:pt x="2786" y="0"/>
                  </a:cubicBezTo>
                  <a:cubicBezTo>
                    <a:pt x="2795" y="4"/>
                    <a:pt x="2802" y="14"/>
                    <a:pt x="2804" y="25"/>
                  </a:cubicBezTo>
                  <a:cubicBezTo>
                    <a:pt x="2805" y="40"/>
                    <a:pt x="2795" y="52"/>
                    <a:pt x="2781" y="53"/>
                  </a:cubicBezTo>
                  <a:cubicBezTo>
                    <a:pt x="2767" y="53"/>
                    <a:pt x="2755" y="41"/>
                    <a:pt x="2753" y="26"/>
                  </a:cubicBezTo>
                  <a:cubicBezTo>
                    <a:pt x="2752" y="15"/>
                    <a:pt x="2758" y="5"/>
                    <a:pt x="2768" y="0"/>
                  </a:cubicBezTo>
                  <a:cubicBezTo>
                    <a:pt x="2156" y="0"/>
                    <a:pt x="2156" y="0"/>
                    <a:pt x="2156" y="0"/>
                  </a:cubicBezTo>
                  <a:cubicBezTo>
                    <a:pt x="2167" y="4"/>
                    <a:pt x="2175" y="15"/>
                    <a:pt x="2174" y="27"/>
                  </a:cubicBezTo>
                  <a:cubicBezTo>
                    <a:pt x="2174" y="43"/>
                    <a:pt x="2162" y="55"/>
                    <a:pt x="2148" y="54"/>
                  </a:cubicBezTo>
                  <a:cubicBezTo>
                    <a:pt x="2134" y="54"/>
                    <a:pt x="2124" y="41"/>
                    <a:pt x="2124" y="26"/>
                  </a:cubicBezTo>
                  <a:cubicBezTo>
                    <a:pt x="2124" y="14"/>
                    <a:pt x="2132" y="4"/>
                    <a:pt x="2143" y="0"/>
                  </a:cubicBezTo>
                  <a:cubicBezTo>
                    <a:pt x="2083" y="0"/>
                    <a:pt x="2083" y="0"/>
                    <a:pt x="2083" y="0"/>
                  </a:cubicBezTo>
                  <a:cubicBezTo>
                    <a:pt x="2091" y="5"/>
                    <a:pt x="2096" y="15"/>
                    <a:pt x="2096" y="25"/>
                  </a:cubicBezTo>
                  <a:cubicBezTo>
                    <a:pt x="2095" y="40"/>
                    <a:pt x="2083" y="52"/>
                    <a:pt x="2069" y="52"/>
                  </a:cubicBezTo>
                  <a:cubicBezTo>
                    <a:pt x="2055" y="51"/>
                    <a:pt x="2045" y="39"/>
                    <a:pt x="2045" y="24"/>
                  </a:cubicBezTo>
                  <a:cubicBezTo>
                    <a:pt x="2046" y="14"/>
                    <a:pt x="2051" y="5"/>
                    <a:pt x="2059" y="0"/>
                  </a:cubicBezTo>
                  <a:cubicBezTo>
                    <a:pt x="2008" y="0"/>
                    <a:pt x="2008" y="0"/>
                    <a:pt x="2008" y="0"/>
                  </a:cubicBezTo>
                  <a:cubicBezTo>
                    <a:pt x="2014" y="6"/>
                    <a:pt x="2017" y="14"/>
                    <a:pt x="2017" y="23"/>
                  </a:cubicBezTo>
                  <a:cubicBezTo>
                    <a:pt x="2016" y="38"/>
                    <a:pt x="2004" y="49"/>
                    <a:pt x="1990" y="49"/>
                  </a:cubicBezTo>
                  <a:cubicBezTo>
                    <a:pt x="1976" y="48"/>
                    <a:pt x="1966" y="36"/>
                    <a:pt x="1967" y="20"/>
                  </a:cubicBezTo>
                  <a:cubicBezTo>
                    <a:pt x="1967" y="12"/>
                    <a:pt x="1971" y="5"/>
                    <a:pt x="1976" y="0"/>
                  </a:cubicBezTo>
                  <a:cubicBezTo>
                    <a:pt x="1933" y="0"/>
                    <a:pt x="1933" y="0"/>
                    <a:pt x="1933" y="0"/>
                  </a:cubicBezTo>
                  <a:cubicBezTo>
                    <a:pt x="1937" y="6"/>
                    <a:pt x="1939" y="12"/>
                    <a:pt x="1938" y="19"/>
                  </a:cubicBezTo>
                  <a:cubicBezTo>
                    <a:pt x="1937" y="34"/>
                    <a:pt x="1925" y="46"/>
                    <a:pt x="1911" y="45"/>
                  </a:cubicBezTo>
                  <a:cubicBezTo>
                    <a:pt x="1897" y="45"/>
                    <a:pt x="1887" y="32"/>
                    <a:pt x="1888" y="17"/>
                  </a:cubicBezTo>
                  <a:cubicBezTo>
                    <a:pt x="1889" y="11"/>
                    <a:pt x="1891" y="5"/>
                    <a:pt x="1895" y="0"/>
                  </a:cubicBezTo>
                  <a:cubicBezTo>
                    <a:pt x="1857" y="0"/>
                    <a:pt x="1857" y="0"/>
                    <a:pt x="1857" y="0"/>
                  </a:cubicBezTo>
                  <a:cubicBezTo>
                    <a:pt x="1859" y="5"/>
                    <a:pt x="1860" y="10"/>
                    <a:pt x="1860" y="15"/>
                  </a:cubicBezTo>
                  <a:cubicBezTo>
                    <a:pt x="1859" y="30"/>
                    <a:pt x="1846" y="42"/>
                    <a:pt x="1832" y="41"/>
                  </a:cubicBezTo>
                  <a:cubicBezTo>
                    <a:pt x="1818" y="41"/>
                    <a:pt x="1808" y="28"/>
                    <a:pt x="1810" y="13"/>
                  </a:cubicBezTo>
                  <a:cubicBezTo>
                    <a:pt x="1810" y="8"/>
                    <a:pt x="1811" y="4"/>
                    <a:pt x="1813" y="0"/>
                  </a:cubicBezTo>
                  <a:cubicBezTo>
                    <a:pt x="1780" y="0"/>
                    <a:pt x="1780" y="0"/>
                    <a:pt x="1780" y="0"/>
                  </a:cubicBezTo>
                  <a:cubicBezTo>
                    <a:pt x="1781" y="4"/>
                    <a:pt x="1782" y="7"/>
                    <a:pt x="1781" y="11"/>
                  </a:cubicBezTo>
                  <a:cubicBezTo>
                    <a:pt x="1780" y="26"/>
                    <a:pt x="1767" y="38"/>
                    <a:pt x="1753" y="37"/>
                  </a:cubicBezTo>
                  <a:cubicBezTo>
                    <a:pt x="1739" y="36"/>
                    <a:pt x="1729" y="23"/>
                    <a:pt x="1731" y="8"/>
                  </a:cubicBezTo>
                  <a:cubicBezTo>
                    <a:pt x="1731" y="5"/>
                    <a:pt x="1732" y="3"/>
                    <a:pt x="1733" y="0"/>
                  </a:cubicBezTo>
                  <a:cubicBezTo>
                    <a:pt x="1703" y="0"/>
                    <a:pt x="1703" y="0"/>
                    <a:pt x="1703" y="0"/>
                  </a:cubicBezTo>
                  <a:cubicBezTo>
                    <a:pt x="1703" y="2"/>
                    <a:pt x="1703" y="4"/>
                    <a:pt x="1703" y="6"/>
                  </a:cubicBezTo>
                  <a:cubicBezTo>
                    <a:pt x="1701" y="21"/>
                    <a:pt x="1688" y="33"/>
                    <a:pt x="1674" y="32"/>
                  </a:cubicBezTo>
                  <a:cubicBezTo>
                    <a:pt x="1661" y="31"/>
                    <a:pt x="1651" y="18"/>
                    <a:pt x="1653" y="2"/>
                  </a:cubicBezTo>
                  <a:cubicBezTo>
                    <a:pt x="1653" y="2"/>
                    <a:pt x="1653" y="1"/>
                    <a:pt x="1653" y="0"/>
                  </a:cubicBezTo>
                  <a:cubicBezTo>
                    <a:pt x="1624" y="0"/>
                    <a:pt x="1624" y="0"/>
                    <a:pt x="1624" y="0"/>
                  </a:cubicBezTo>
                  <a:cubicBezTo>
                    <a:pt x="1622" y="16"/>
                    <a:pt x="1609" y="27"/>
                    <a:pt x="1596" y="26"/>
                  </a:cubicBezTo>
                  <a:cubicBezTo>
                    <a:pt x="1583" y="25"/>
                    <a:pt x="1574" y="14"/>
                    <a:pt x="1574" y="0"/>
                  </a:cubicBezTo>
                  <a:cubicBezTo>
                    <a:pt x="1544" y="0"/>
                    <a:pt x="1544" y="0"/>
                    <a:pt x="1544" y="0"/>
                  </a:cubicBezTo>
                  <a:cubicBezTo>
                    <a:pt x="1540" y="12"/>
                    <a:pt x="1529" y="21"/>
                    <a:pt x="1517" y="20"/>
                  </a:cubicBezTo>
                  <a:cubicBezTo>
                    <a:pt x="1506" y="19"/>
                    <a:pt x="1498" y="11"/>
                    <a:pt x="1496" y="0"/>
                  </a:cubicBezTo>
                  <a:cubicBezTo>
                    <a:pt x="1462" y="0"/>
                    <a:pt x="1462" y="0"/>
                    <a:pt x="1462" y="0"/>
                  </a:cubicBezTo>
                  <a:cubicBezTo>
                    <a:pt x="1457" y="9"/>
                    <a:pt x="1447" y="14"/>
                    <a:pt x="1438" y="13"/>
                  </a:cubicBezTo>
                  <a:cubicBezTo>
                    <a:pt x="1430" y="12"/>
                    <a:pt x="1423" y="7"/>
                    <a:pt x="1420" y="0"/>
                  </a:cubicBezTo>
                  <a:cubicBezTo>
                    <a:pt x="1376" y="0"/>
                    <a:pt x="1376" y="0"/>
                    <a:pt x="1376" y="0"/>
                  </a:cubicBezTo>
                  <a:cubicBezTo>
                    <a:pt x="1371" y="4"/>
                    <a:pt x="1365" y="6"/>
                    <a:pt x="1359" y="5"/>
                  </a:cubicBezTo>
                  <a:cubicBezTo>
                    <a:pt x="1355" y="5"/>
                    <a:pt x="1351" y="3"/>
                    <a:pt x="1347" y="0"/>
                  </a:cubicBezTo>
                  <a:cubicBezTo>
                    <a:pt x="1089" y="0"/>
                    <a:pt x="1089" y="0"/>
                    <a:pt x="1089" y="0"/>
                  </a:cubicBezTo>
                  <a:cubicBezTo>
                    <a:pt x="1095" y="6"/>
                    <a:pt x="1098" y="16"/>
                    <a:pt x="1096" y="26"/>
                  </a:cubicBezTo>
                  <a:cubicBezTo>
                    <a:pt x="1092" y="41"/>
                    <a:pt x="1078" y="52"/>
                    <a:pt x="1064" y="50"/>
                  </a:cubicBezTo>
                  <a:cubicBezTo>
                    <a:pt x="1050" y="48"/>
                    <a:pt x="1041" y="35"/>
                    <a:pt x="1045" y="20"/>
                  </a:cubicBezTo>
                  <a:cubicBezTo>
                    <a:pt x="1047" y="12"/>
                    <a:pt x="1052" y="5"/>
                    <a:pt x="1058" y="0"/>
                  </a:cubicBezTo>
                  <a:cubicBezTo>
                    <a:pt x="1016" y="0"/>
                    <a:pt x="1016" y="0"/>
                    <a:pt x="1016" y="0"/>
                  </a:cubicBezTo>
                  <a:cubicBezTo>
                    <a:pt x="1018" y="5"/>
                    <a:pt x="1018" y="10"/>
                    <a:pt x="1016" y="16"/>
                  </a:cubicBezTo>
                  <a:cubicBezTo>
                    <a:pt x="1013" y="31"/>
                    <a:pt x="998" y="42"/>
                    <a:pt x="984" y="40"/>
                  </a:cubicBezTo>
                  <a:cubicBezTo>
                    <a:pt x="970" y="38"/>
                    <a:pt x="962" y="24"/>
                    <a:pt x="966" y="9"/>
                  </a:cubicBezTo>
                  <a:cubicBezTo>
                    <a:pt x="967" y="6"/>
                    <a:pt x="968" y="3"/>
                    <a:pt x="970" y="0"/>
                  </a:cubicBezTo>
                  <a:cubicBezTo>
                    <a:pt x="938" y="0"/>
                    <a:pt x="938" y="0"/>
                    <a:pt x="938" y="0"/>
                  </a:cubicBezTo>
                  <a:cubicBezTo>
                    <a:pt x="938" y="2"/>
                    <a:pt x="938" y="4"/>
                    <a:pt x="937" y="5"/>
                  </a:cubicBezTo>
                  <a:cubicBezTo>
                    <a:pt x="933" y="21"/>
                    <a:pt x="919" y="31"/>
                    <a:pt x="905" y="29"/>
                  </a:cubicBezTo>
                  <a:cubicBezTo>
                    <a:pt x="891" y="28"/>
                    <a:pt x="883" y="15"/>
                    <a:pt x="886" y="0"/>
                  </a:cubicBezTo>
                  <a:cubicBezTo>
                    <a:pt x="856" y="0"/>
                    <a:pt x="856" y="0"/>
                    <a:pt x="856" y="0"/>
                  </a:cubicBezTo>
                  <a:cubicBezTo>
                    <a:pt x="850" y="12"/>
                    <a:pt x="837" y="20"/>
                    <a:pt x="825" y="18"/>
                  </a:cubicBezTo>
                  <a:cubicBezTo>
                    <a:pt x="815" y="17"/>
                    <a:pt x="809" y="10"/>
                    <a:pt x="807" y="0"/>
                  </a:cubicBezTo>
                  <a:cubicBezTo>
                    <a:pt x="767" y="0"/>
                    <a:pt x="767" y="0"/>
                    <a:pt x="767" y="0"/>
                  </a:cubicBezTo>
                  <a:cubicBezTo>
                    <a:pt x="761" y="5"/>
                    <a:pt x="753" y="8"/>
                    <a:pt x="746" y="7"/>
                  </a:cubicBezTo>
                  <a:cubicBezTo>
                    <a:pt x="741" y="6"/>
                    <a:pt x="737" y="4"/>
                    <a:pt x="734" y="0"/>
                  </a:cubicBezTo>
                  <a:cubicBezTo>
                    <a:pt x="548" y="0"/>
                    <a:pt x="548" y="0"/>
                    <a:pt x="548" y="0"/>
                  </a:cubicBezTo>
                  <a:cubicBezTo>
                    <a:pt x="558" y="5"/>
                    <a:pt x="562" y="17"/>
                    <a:pt x="558" y="30"/>
                  </a:cubicBezTo>
                  <a:cubicBezTo>
                    <a:pt x="553" y="45"/>
                    <a:pt x="537" y="55"/>
                    <a:pt x="523" y="53"/>
                  </a:cubicBezTo>
                  <a:cubicBezTo>
                    <a:pt x="509" y="50"/>
                    <a:pt x="502" y="36"/>
                    <a:pt x="507" y="21"/>
                  </a:cubicBezTo>
                  <a:cubicBezTo>
                    <a:pt x="510" y="12"/>
                    <a:pt x="517" y="4"/>
                    <a:pt x="526" y="0"/>
                  </a:cubicBezTo>
                  <a:cubicBezTo>
                    <a:pt x="479" y="0"/>
                    <a:pt x="479" y="0"/>
                    <a:pt x="479" y="0"/>
                  </a:cubicBezTo>
                  <a:cubicBezTo>
                    <a:pt x="480" y="5"/>
                    <a:pt x="480" y="11"/>
                    <a:pt x="478" y="16"/>
                  </a:cubicBezTo>
                  <a:cubicBezTo>
                    <a:pt x="473" y="31"/>
                    <a:pt x="457" y="41"/>
                    <a:pt x="443" y="39"/>
                  </a:cubicBezTo>
                  <a:cubicBezTo>
                    <a:pt x="428" y="36"/>
                    <a:pt x="421" y="22"/>
                    <a:pt x="427" y="7"/>
                  </a:cubicBezTo>
                  <a:cubicBezTo>
                    <a:pt x="428" y="5"/>
                    <a:pt x="429" y="3"/>
                    <a:pt x="43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"/>
                    <a:pt x="398" y="1"/>
                    <a:pt x="398" y="2"/>
                  </a:cubicBezTo>
                  <a:cubicBezTo>
                    <a:pt x="392" y="17"/>
                    <a:pt x="376" y="27"/>
                    <a:pt x="362" y="24"/>
                  </a:cubicBezTo>
                  <a:cubicBezTo>
                    <a:pt x="351" y="22"/>
                    <a:pt x="344" y="12"/>
                    <a:pt x="345" y="0"/>
                  </a:cubicBezTo>
                  <a:cubicBezTo>
                    <a:pt x="309" y="0"/>
                    <a:pt x="309" y="0"/>
                    <a:pt x="309" y="0"/>
                  </a:cubicBezTo>
                  <a:cubicBezTo>
                    <a:pt x="301" y="7"/>
                    <a:pt x="291" y="11"/>
                    <a:pt x="282" y="9"/>
                  </a:cubicBezTo>
                  <a:cubicBezTo>
                    <a:pt x="276" y="8"/>
                    <a:pt x="271" y="5"/>
                    <a:pt x="268" y="0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88" y="6"/>
                    <a:pt x="88" y="14"/>
                    <a:pt x="85" y="22"/>
                  </a:cubicBezTo>
                  <a:cubicBezTo>
                    <a:pt x="79" y="36"/>
                    <a:pt x="62" y="46"/>
                    <a:pt x="48" y="43"/>
                  </a:cubicBezTo>
                  <a:cubicBezTo>
                    <a:pt x="34" y="40"/>
                    <a:pt x="27" y="26"/>
                    <a:pt x="34" y="11"/>
                  </a:cubicBezTo>
                  <a:cubicBezTo>
                    <a:pt x="35" y="7"/>
                    <a:pt x="38" y="3"/>
                    <a:pt x="4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2"/>
                    <a:pt x="5" y="3"/>
                    <a:pt x="4" y="5"/>
                  </a:cubicBezTo>
                  <a:cubicBezTo>
                    <a:pt x="4" y="6"/>
                    <a:pt x="4" y="6"/>
                    <a:pt x="3" y="7"/>
                  </a:cubicBezTo>
                  <a:cubicBezTo>
                    <a:pt x="3" y="59"/>
                    <a:pt x="3" y="59"/>
                    <a:pt x="3" y="59"/>
                  </a:cubicBezTo>
                  <a:cubicBezTo>
                    <a:pt x="15" y="64"/>
                    <a:pt x="20" y="77"/>
                    <a:pt x="14" y="90"/>
                  </a:cubicBezTo>
                  <a:cubicBezTo>
                    <a:pt x="12" y="96"/>
                    <a:pt x="8" y="101"/>
                    <a:pt x="3" y="105"/>
                  </a:cubicBezTo>
                  <a:cubicBezTo>
                    <a:pt x="3" y="140"/>
                    <a:pt x="3" y="140"/>
                    <a:pt x="3" y="140"/>
                  </a:cubicBezTo>
                  <a:cubicBezTo>
                    <a:pt x="4" y="140"/>
                    <a:pt x="5" y="140"/>
                    <a:pt x="6" y="140"/>
                  </a:cubicBezTo>
                  <a:cubicBezTo>
                    <a:pt x="21" y="143"/>
                    <a:pt x="28" y="158"/>
                    <a:pt x="21" y="173"/>
                  </a:cubicBezTo>
                  <a:cubicBezTo>
                    <a:pt x="18" y="181"/>
                    <a:pt x="11" y="188"/>
                    <a:pt x="3" y="192"/>
                  </a:cubicBezTo>
                  <a:cubicBezTo>
                    <a:pt x="3" y="227"/>
                    <a:pt x="3" y="227"/>
                    <a:pt x="3" y="227"/>
                  </a:cubicBezTo>
                  <a:cubicBezTo>
                    <a:pt x="8" y="226"/>
                    <a:pt x="13" y="225"/>
                    <a:pt x="18" y="226"/>
                  </a:cubicBezTo>
                  <a:cubicBezTo>
                    <a:pt x="33" y="229"/>
                    <a:pt x="40" y="244"/>
                    <a:pt x="33" y="259"/>
                  </a:cubicBezTo>
                  <a:cubicBezTo>
                    <a:pt x="28" y="271"/>
                    <a:pt x="16" y="280"/>
                    <a:pt x="3" y="281"/>
                  </a:cubicBezTo>
                  <a:cubicBezTo>
                    <a:pt x="3" y="314"/>
                    <a:pt x="3" y="314"/>
                    <a:pt x="3" y="314"/>
                  </a:cubicBezTo>
                  <a:cubicBezTo>
                    <a:pt x="10" y="309"/>
                    <a:pt x="19" y="307"/>
                    <a:pt x="27" y="309"/>
                  </a:cubicBezTo>
                  <a:cubicBezTo>
                    <a:pt x="42" y="311"/>
                    <a:pt x="49" y="326"/>
                    <a:pt x="43" y="341"/>
                  </a:cubicBezTo>
                  <a:cubicBezTo>
                    <a:pt x="37" y="356"/>
                    <a:pt x="20" y="366"/>
                    <a:pt x="5" y="363"/>
                  </a:cubicBezTo>
                  <a:cubicBezTo>
                    <a:pt x="4" y="362"/>
                    <a:pt x="4" y="362"/>
                    <a:pt x="3" y="362"/>
                  </a:cubicBezTo>
                  <a:cubicBezTo>
                    <a:pt x="3" y="415"/>
                    <a:pt x="3" y="415"/>
                    <a:pt x="3" y="415"/>
                  </a:cubicBezTo>
                  <a:cubicBezTo>
                    <a:pt x="10" y="401"/>
                    <a:pt x="26" y="392"/>
                    <a:pt x="41" y="394"/>
                  </a:cubicBezTo>
                  <a:cubicBezTo>
                    <a:pt x="56" y="397"/>
                    <a:pt x="64" y="412"/>
                    <a:pt x="58" y="427"/>
                  </a:cubicBezTo>
                  <a:cubicBezTo>
                    <a:pt x="52" y="442"/>
                    <a:pt x="35" y="451"/>
                    <a:pt x="19" y="448"/>
                  </a:cubicBezTo>
                  <a:cubicBezTo>
                    <a:pt x="12" y="447"/>
                    <a:pt x="6" y="443"/>
                    <a:pt x="3" y="437"/>
                  </a:cubicBezTo>
                  <a:cubicBezTo>
                    <a:pt x="3" y="632"/>
                    <a:pt x="3" y="632"/>
                    <a:pt x="3" y="632"/>
                  </a:cubicBezTo>
                  <a:cubicBezTo>
                    <a:pt x="12" y="638"/>
                    <a:pt x="15" y="649"/>
                    <a:pt x="11" y="661"/>
                  </a:cubicBezTo>
                  <a:cubicBezTo>
                    <a:pt x="9" y="665"/>
                    <a:pt x="6" y="669"/>
                    <a:pt x="3" y="672"/>
                  </a:cubicBezTo>
                  <a:cubicBezTo>
                    <a:pt x="3" y="714"/>
                    <a:pt x="3" y="714"/>
                    <a:pt x="3" y="714"/>
                  </a:cubicBezTo>
                  <a:cubicBezTo>
                    <a:pt x="5" y="714"/>
                    <a:pt x="8" y="714"/>
                    <a:pt x="10" y="714"/>
                  </a:cubicBezTo>
                  <a:cubicBezTo>
                    <a:pt x="26" y="717"/>
                    <a:pt x="35" y="732"/>
                    <a:pt x="29" y="747"/>
                  </a:cubicBezTo>
                  <a:cubicBezTo>
                    <a:pt x="25" y="757"/>
                    <a:pt x="15" y="766"/>
                    <a:pt x="3" y="768"/>
                  </a:cubicBezTo>
                  <a:cubicBezTo>
                    <a:pt x="3" y="800"/>
                    <a:pt x="3" y="800"/>
                    <a:pt x="3" y="800"/>
                  </a:cubicBezTo>
                  <a:cubicBezTo>
                    <a:pt x="10" y="797"/>
                    <a:pt x="18" y="795"/>
                    <a:pt x="25" y="797"/>
                  </a:cubicBezTo>
                  <a:cubicBezTo>
                    <a:pt x="42" y="800"/>
                    <a:pt x="50" y="814"/>
                    <a:pt x="45" y="829"/>
                  </a:cubicBezTo>
                  <a:cubicBezTo>
                    <a:pt x="39" y="844"/>
                    <a:pt x="21" y="854"/>
                    <a:pt x="5" y="851"/>
                  </a:cubicBezTo>
                  <a:cubicBezTo>
                    <a:pt x="4" y="851"/>
                    <a:pt x="4" y="851"/>
                    <a:pt x="3" y="850"/>
                  </a:cubicBezTo>
                  <a:cubicBezTo>
                    <a:pt x="3" y="1041"/>
                    <a:pt x="3" y="1041"/>
                    <a:pt x="3" y="1041"/>
                  </a:cubicBezTo>
                  <a:cubicBezTo>
                    <a:pt x="11" y="1047"/>
                    <a:pt x="14" y="1057"/>
                    <a:pt x="10" y="1067"/>
                  </a:cubicBezTo>
                  <a:cubicBezTo>
                    <a:pt x="9" y="1071"/>
                    <a:pt x="6" y="1075"/>
                    <a:pt x="3" y="1078"/>
                  </a:cubicBezTo>
                  <a:cubicBezTo>
                    <a:pt x="3" y="1117"/>
                    <a:pt x="3" y="1117"/>
                    <a:pt x="3" y="1117"/>
                  </a:cubicBezTo>
                  <a:cubicBezTo>
                    <a:pt x="5" y="1117"/>
                    <a:pt x="6" y="1117"/>
                    <a:pt x="8" y="1117"/>
                  </a:cubicBezTo>
                  <a:cubicBezTo>
                    <a:pt x="25" y="1120"/>
                    <a:pt x="34" y="1134"/>
                    <a:pt x="29" y="1149"/>
                  </a:cubicBezTo>
                  <a:cubicBezTo>
                    <a:pt x="25" y="1160"/>
                    <a:pt x="15" y="1168"/>
                    <a:pt x="3" y="1171"/>
                  </a:cubicBezTo>
                  <a:cubicBezTo>
                    <a:pt x="3" y="1209"/>
                    <a:pt x="3" y="1209"/>
                    <a:pt x="3" y="1209"/>
                  </a:cubicBezTo>
                  <a:cubicBezTo>
                    <a:pt x="11" y="1204"/>
                    <a:pt x="21" y="1201"/>
                    <a:pt x="32" y="1203"/>
                  </a:cubicBezTo>
                  <a:cubicBezTo>
                    <a:pt x="49" y="1206"/>
                    <a:pt x="59" y="1220"/>
                    <a:pt x="53" y="1235"/>
                  </a:cubicBezTo>
                  <a:cubicBezTo>
                    <a:pt x="48" y="1250"/>
                    <a:pt x="30" y="1260"/>
                    <a:pt x="12" y="1257"/>
                  </a:cubicBezTo>
                  <a:cubicBezTo>
                    <a:pt x="9" y="1257"/>
                    <a:pt x="6" y="1256"/>
                    <a:pt x="3" y="1254"/>
                  </a:cubicBezTo>
                  <a:cubicBezTo>
                    <a:pt x="3" y="1438"/>
                    <a:pt x="3" y="1438"/>
                    <a:pt x="3" y="1438"/>
                  </a:cubicBezTo>
                  <a:cubicBezTo>
                    <a:pt x="19" y="1442"/>
                    <a:pt x="28" y="1456"/>
                    <a:pt x="23" y="1470"/>
                  </a:cubicBezTo>
                  <a:cubicBezTo>
                    <a:pt x="20" y="1479"/>
                    <a:pt x="12" y="1486"/>
                    <a:pt x="3" y="1489"/>
                  </a:cubicBezTo>
                  <a:cubicBezTo>
                    <a:pt x="3" y="1527"/>
                    <a:pt x="3" y="1527"/>
                    <a:pt x="3" y="1527"/>
                  </a:cubicBezTo>
                  <a:cubicBezTo>
                    <a:pt x="10" y="1524"/>
                    <a:pt x="19" y="1522"/>
                    <a:pt x="27" y="1524"/>
                  </a:cubicBezTo>
                  <a:cubicBezTo>
                    <a:pt x="45" y="1526"/>
                    <a:pt x="56" y="1541"/>
                    <a:pt x="51" y="1556"/>
                  </a:cubicBezTo>
                  <a:cubicBezTo>
                    <a:pt x="46" y="1571"/>
                    <a:pt x="27" y="1581"/>
                    <a:pt x="9" y="1578"/>
                  </a:cubicBezTo>
                  <a:cubicBezTo>
                    <a:pt x="7" y="1578"/>
                    <a:pt x="5" y="1577"/>
                    <a:pt x="3" y="1577"/>
                  </a:cubicBezTo>
                  <a:cubicBezTo>
                    <a:pt x="3" y="1759"/>
                    <a:pt x="3" y="1759"/>
                    <a:pt x="3" y="1759"/>
                  </a:cubicBezTo>
                  <a:cubicBezTo>
                    <a:pt x="21" y="1762"/>
                    <a:pt x="31" y="1776"/>
                    <a:pt x="26" y="1791"/>
                  </a:cubicBezTo>
                  <a:cubicBezTo>
                    <a:pt x="23" y="1800"/>
                    <a:pt x="14" y="1808"/>
                    <a:pt x="3" y="1811"/>
                  </a:cubicBezTo>
                  <a:cubicBezTo>
                    <a:pt x="3" y="1850"/>
                    <a:pt x="3" y="1850"/>
                    <a:pt x="3" y="1850"/>
                  </a:cubicBezTo>
                  <a:cubicBezTo>
                    <a:pt x="11" y="1845"/>
                    <a:pt x="22" y="1843"/>
                    <a:pt x="32" y="1844"/>
                  </a:cubicBezTo>
                  <a:cubicBezTo>
                    <a:pt x="51" y="1847"/>
                    <a:pt x="63" y="1861"/>
                    <a:pt x="58" y="1876"/>
                  </a:cubicBezTo>
                  <a:cubicBezTo>
                    <a:pt x="53" y="1891"/>
                    <a:pt x="34" y="1901"/>
                    <a:pt x="15" y="1899"/>
                  </a:cubicBezTo>
                  <a:cubicBezTo>
                    <a:pt x="10" y="1898"/>
                    <a:pt x="6" y="1897"/>
                    <a:pt x="3" y="1895"/>
                  </a:cubicBezTo>
                  <a:cubicBezTo>
                    <a:pt x="3" y="2006"/>
                    <a:pt x="3" y="2006"/>
                    <a:pt x="3" y="2006"/>
                  </a:cubicBezTo>
                  <a:cubicBezTo>
                    <a:pt x="10" y="2012"/>
                    <a:pt x="12" y="2020"/>
                    <a:pt x="10" y="2029"/>
                  </a:cubicBezTo>
                  <a:cubicBezTo>
                    <a:pt x="8" y="2033"/>
                    <a:pt x="6" y="2037"/>
                    <a:pt x="3" y="2040"/>
                  </a:cubicBezTo>
                  <a:cubicBezTo>
                    <a:pt x="3" y="2079"/>
                    <a:pt x="3" y="2079"/>
                    <a:pt x="3" y="2079"/>
                  </a:cubicBezTo>
                  <a:cubicBezTo>
                    <a:pt x="6" y="2079"/>
                    <a:pt x="9" y="2079"/>
                    <a:pt x="12" y="2079"/>
                  </a:cubicBezTo>
                  <a:cubicBezTo>
                    <a:pt x="31" y="2082"/>
                    <a:pt x="44" y="2096"/>
                    <a:pt x="39" y="2111"/>
                  </a:cubicBezTo>
                  <a:cubicBezTo>
                    <a:pt x="35" y="2124"/>
                    <a:pt x="20" y="2133"/>
                    <a:pt x="3" y="2134"/>
                  </a:cubicBezTo>
                  <a:cubicBezTo>
                    <a:pt x="3" y="2185"/>
                    <a:pt x="3" y="2185"/>
                    <a:pt x="3" y="2185"/>
                  </a:cubicBezTo>
                  <a:cubicBezTo>
                    <a:pt x="9" y="2171"/>
                    <a:pt x="28" y="2162"/>
                    <a:pt x="47" y="2165"/>
                  </a:cubicBezTo>
                  <a:cubicBezTo>
                    <a:pt x="67" y="2168"/>
                    <a:pt x="79" y="2182"/>
                    <a:pt x="75" y="2197"/>
                  </a:cubicBezTo>
                  <a:cubicBezTo>
                    <a:pt x="70" y="2212"/>
                    <a:pt x="50" y="2222"/>
                    <a:pt x="30" y="2219"/>
                  </a:cubicBezTo>
                  <a:cubicBezTo>
                    <a:pt x="17" y="2218"/>
                    <a:pt x="7" y="2211"/>
                    <a:pt x="3" y="2202"/>
                  </a:cubicBezTo>
                  <a:cubicBezTo>
                    <a:pt x="3" y="2318"/>
                    <a:pt x="3" y="2318"/>
                    <a:pt x="3" y="2318"/>
                  </a:cubicBezTo>
                  <a:cubicBezTo>
                    <a:pt x="22" y="2322"/>
                    <a:pt x="33" y="2336"/>
                    <a:pt x="29" y="2350"/>
                  </a:cubicBezTo>
                  <a:cubicBezTo>
                    <a:pt x="26" y="2360"/>
                    <a:pt x="15" y="2368"/>
                    <a:pt x="3" y="2371"/>
                  </a:cubicBezTo>
                  <a:cubicBezTo>
                    <a:pt x="3" y="2405"/>
                    <a:pt x="3" y="2405"/>
                    <a:pt x="3" y="2405"/>
                  </a:cubicBezTo>
                  <a:cubicBezTo>
                    <a:pt x="11" y="2401"/>
                    <a:pt x="22" y="2399"/>
                    <a:pt x="32" y="2400"/>
                  </a:cubicBezTo>
                  <a:cubicBezTo>
                    <a:pt x="53" y="2403"/>
                    <a:pt x="66" y="2417"/>
                    <a:pt x="61" y="2432"/>
                  </a:cubicBezTo>
                  <a:cubicBezTo>
                    <a:pt x="57" y="2447"/>
                    <a:pt x="36" y="2457"/>
                    <a:pt x="16" y="2455"/>
                  </a:cubicBezTo>
                  <a:cubicBezTo>
                    <a:pt x="11" y="2454"/>
                    <a:pt x="7" y="2453"/>
                    <a:pt x="3" y="2451"/>
                  </a:cubicBezTo>
                  <a:cubicBezTo>
                    <a:pt x="3" y="2558"/>
                    <a:pt x="3" y="2558"/>
                    <a:pt x="3" y="2558"/>
                  </a:cubicBezTo>
                  <a:cubicBezTo>
                    <a:pt x="14" y="2564"/>
                    <a:pt x="19" y="2574"/>
                    <a:pt x="16" y="2585"/>
                  </a:cubicBezTo>
                  <a:cubicBezTo>
                    <a:pt x="14" y="2591"/>
                    <a:pt x="10" y="2597"/>
                    <a:pt x="3" y="2601"/>
                  </a:cubicBezTo>
                  <a:cubicBezTo>
                    <a:pt x="3" y="2641"/>
                    <a:pt x="3" y="2641"/>
                    <a:pt x="3" y="2641"/>
                  </a:cubicBezTo>
                  <a:cubicBezTo>
                    <a:pt x="10" y="2639"/>
                    <a:pt x="18" y="2638"/>
                    <a:pt x="26" y="2639"/>
                  </a:cubicBezTo>
                  <a:cubicBezTo>
                    <a:pt x="48" y="2641"/>
                    <a:pt x="61" y="2655"/>
                    <a:pt x="57" y="2670"/>
                  </a:cubicBezTo>
                  <a:cubicBezTo>
                    <a:pt x="53" y="2686"/>
                    <a:pt x="32" y="2696"/>
                    <a:pt x="11" y="2693"/>
                  </a:cubicBezTo>
                  <a:cubicBezTo>
                    <a:pt x="8" y="2693"/>
                    <a:pt x="5" y="2692"/>
                    <a:pt x="3" y="2692"/>
                  </a:cubicBezTo>
                  <a:cubicBezTo>
                    <a:pt x="3" y="2799"/>
                    <a:pt x="3" y="2799"/>
                    <a:pt x="3" y="2799"/>
                  </a:cubicBezTo>
                  <a:cubicBezTo>
                    <a:pt x="12" y="2805"/>
                    <a:pt x="16" y="2814"/>
                    <a:pt x="13" y="2824"/>
                  </a:cubicBezTo>
                  <a:cubicBezTo>
                    <a:pt x="12" y="2829"/>
                    <a:pt x="8" y="2834"/>
                    <a:pt x="3" y="2837"/>
                  </a:cubicBezTo>
                  <a:cubicBezTo>
                    <a:pt x="3" y="2874"/>
                    <a:pt x="3" y="2874"/>
                    <a:pt x="3" y="2874"/>
                  </a:cubicBezTo>
                  <a:cubicBezTo>
                    <a:pt x="8" y="2873"/>
                    <a:pt x="13" y="2873"/>
                    <a:pt x="19" y="2874"/>
                  </a:cubicBezTo>
                  <a:cubicBezTo>
                    <a:pt x="40" y="2876"/>
                    <a:pt x="55" y="2890"/>
                    <a:pt x="51" y="2906"/>
                  </a:cubicBezTo>
                  <a:cubicBezTo>
                    <a:pt x="46" y="2921"/>
                    <a:pt x="25" y="2931"/>
                    <a:pt x="3" y="2928"/>
                  </a:cubicBezTo>
                  <a:cubicBezTo>
                    <a:pt x="3" y="2928"/>
                    <a:pt x="3" y="2928"/>
                    <a:pt x="3" y="2928"/>
                  </a:cubicBezTo>
                  <a:cubicBezTo>
                    <a:pt x="3" y="3040"/>
                    <a:pt x="3" y="3040"/>
                    <a:pt x="3" y="3040"/>
                  </a:cubicBezTo>
                  <a:cubicBezTo>
                    <a:pt x="8" y="3045"/>
                    <a:pt x="10" y="3052"/>
                    <a:pt x="8" y="3059"/>
                  </a:cubicBezTo>
                  <a:cubicBezTo>
                    <a:pt x="7" y="3062"/>
                    <a:pt x="5" y="3065"/>
                    <a:pt x="3" y="3068"/>
                  </a:cubicBezTo>
                  <a:cubicBezTo>
                    <a:pt x="3" y="3113"/>
                    <a:pt x="3" y="3113"/>
                    <a:pt x="3" y="3113"/>
                  </a:cubicBezTo>
                  <a:cubicBezTo>
                    <a:pt x="9" y="3112"/>
                    <a:pt x="14" y="3112"/>
                    <a:pt x="20" y="3112"/>
                  </a:cubicBezTo>
                  <a:cubicBezTo>
                    <a:pt x="43" y="3115"/>
                    <a:pt x="58" y="3129"/>
                    <a:pt x="53" y="3144"/>
                  </a:cubicBezTo>
                  <a:cubicBezTo>
                    <a:pt x="49" y="3159"/>
                    <a:pt x="28" y="3170"/>
                    <a:pt x="5" y="3167"/>
                  </a:cubicBezTo>
                  <a:cubicBezTo>
                    <a:pt x="5" y="3167"/>
                    <a:pt x="4" y="3167"/>
                    <a:pt x="3" y="3167"/>
                  </a:cubicBezTo>
                  <a:cubicBezTo>
                    <a:pt x="3" y="3275"/>
                    <a:pt x="3" y="3275"/>
                    <a:pt x="3" y="3275"/>
                  </a:cubicBezTo>
                  <a:cubicBezTo>
                    <a:pt x="11" y="3281"/>
                    <a:pt x="15" y="3289"/>
                    <a:pt x="12" y="3297"/>
                  </a:cubicBezTo>
                  <a:cubicBezTo>
                    <a:pt x="11" y="3302"/>
                    <a:pt x="8" y="3307"/>
                    <a:pt x="3" y="3310"/>
                  </a:cubicBezTo>
                  <a:cubicBezTo>
                    <a:pt x="3" y="3348"/>
                    <a:pt x="3" y="3348"/>
                    <a:pt x="3" y="3348"/>
                  </a:cubicBezTo>
                  <a:cubicBezTo>
                    <a:pt x="8" y="3347"/>
                    <a:pt x="14" y="3347"/>
                    <a:pt x="19" y="3347"/>
                  </a:cubicBezTo>
                  <a:cubicBezTo>
                    <a:pt x="37" y="3349"/>
                    <a:pt x="50" y="3358"/>
                    <a:pt x="53" y="3368"/>
                  </a:cubicBezTo>
                  <a:cubicBezTo>
                    <a:pt x="115" y="3368"/>
                    <a:pt x="115" y="3368"/>
                    <a:pt x="115" y="3368"/>
                  </a:cubicBezTo>
                  <a:cubicBezTo>
                    <a:pt x="124" y="3362"/>
                    <a:pt x="137" y="3360"/>
                    <a:pt x="150" y="3361"/>
                  </a:cubicBezTo>
                  <a:cubicBezTo>
                    <a:pt x="159" y="3362"/>
                    <a:pt x="167" y="3364"/>
                    <a:pt x="173" y="3368"/>
                  </a:cubicBezTo>
                  <a:cubicBezTo>
                    <a:pt x="475" y="3368"/>
                    <a:pt x="475" y="3368"/>
                    <a:pt x="475" y="3368"/>
                  </a:cubicBezTo>
                  <a:cubicBezTo>
                    <a:pt x="457" y="3364"/>
                    <a:pt x="446" y="3352"/>
                    <a:pt x="449" y="3339"/>
                  </a:cubicBezTo>
                  <a:cubicBezTo>
                    <a:pt x="452" y="3324"/>
                    <a:pt x="473" y="3313"/>
                    <a:pt x="496" y="3315"/>
                  </a:cubicBezTo>
                  <a:cubicBezTo>
                    <a:pt x="519" y="3317"/>
                    <a:pt x="535" y="3330"/>
                    <a:pt x="532" y="3346"/>
                  </a:cubicBezTo>
                  <a:cubicBezTo>
                    <a:pt x="530" y="3356"/>
                    <a:pt x="519" y="3364"/>
                    <a:pt x="505" y="3368"/>
                  </a:cubicBezTo>
                  <a:cubicBezTo>
                    <a:pt x="586" y="3368"/>
                    <a:pt x="586" y="3368"/>
                    <a:pt x="586" y="3368"/>
                  </a:cubicBezTo>
                  <a:cubicBezTo>
                    <a:pt x="580" y="3363"/>
                    <a:pt x="578" y="3356"/>
                    <a:pt x="579" y="3349"/>
                  </a:cubicBezTo>
                  <a:cubicBezTo>
                    <a:pt x="582" y="3334"/>
                    <a:pt x="603" y="3323"/>
                    <a:pt x="626" y="3325"/>
                  </a:cubicBezTo>
                  <a:cubicBezTo>
                    <a:pt x="649" y="3327"/>
                    <a:pt x="665" y="3340"/>
                    <a:pt x="662" y="3355"/>
                  </a:cubicBezTo>
                  <a:cubicBezTo>
                    <a:pt x="661" y="3360"/>
                    <a:pt x="659" y="3364"/>
                    <a:pt x="655" y="3368"/>
                  </a:cubicBezTo>
                  <a:cubicBezTo>
                    <a:pt x="710" y="3368"/>
                    <a:pt x="710" y="3368"/>
                    <a:pt x="710" y="3368"/>
                  </a:cubicBezTo>
                  <a:cubicBezTo>
                    <a:pt x="709" y="3365"/>
                    <a:pt x="709" y="3362"/>
                    <a:pt x="709" y="3359"/>
                  </a:cubicBezTo>
                  <a:cubicBezTo>
                    <a:pt x="712" y="3343"/>
                    <a:pt x="733" y="3332"/>
                    <a:pt x="756" y="3334"/>
                  </a:cubicBezTo>
                  <a:cubicBezTo>
                    <a:pt x="778" y="3335"/>
                    <a:pt x="795" y="3349"/>
                    <a:pt x="792" y="3364"/>
                  </a:cubicBezTo>
                  <a:cubicBezTo>
                    <a:pt x="792" y="3365"/>
                    <a:pt x="792" y="3367"/>
                    <a:pt x="791" y="3368"/>
                  </a:cubicBezTo>
                  <a:cubicBezTo>
                    <a:pt x="839" y="3368"/>
                    <a:pt x="839" y="3368"/>
                    <a:pt x="839" y="3368"/>
                  </a:cubicBezTo>
                  <a:cubicBezTo>
                    <a:pt x="839" y="3368"/>
                    <a:pt x="839" y="3367"/>
                    <a:pt x="839" y="3367"/>
                  </a:cubicBezTo>
                  <a:cubicBezTo>
                    <a:pt x="842" y="3352"/>
                    <a:pt x="862" y="3341"/>
                    <a:pt x="885" y="3342"/>
                  </a:cubicBezTo>
                  <a:cubicBezTo>
                    <a:pt x="906" y="3343"/>
                    <a:pt x="922" y="3355"/>
                    <a:pt x="923" y="3368"/>
                  </a:cubicBezTo>
                  <a:cubicBezTo>
                    <a:pt x="972" y="3368"/>
                    <a:pt x="972" y="3368"/>
                    <a:pt x="972" y="3368"/>
                  </a:cubicBezTo>
                  <a:cubicBezTo>
                    <a:pt x="978" y="3356"/>
                    <a:pt x="996" y="3348"/>
                    <a:pt x="1015" y="3349"/>
                  </a:cubicBezTo>
                  <a:cubicBezTo>
                    <a:pt x="1032" y="3350"/>
                    <a:pt x="1046" y="3358"/>
                    <a:pt x="1051" y="3368"/>
                  </a:cubicBezTo>
                  <a:cubicBezTo>
                    <a:pt x="1107" y="3368"/>
                    <a:pt x="1107" y="3368"/>
                    <a:pt x="1107" y="3368"/>
                  </a:cubicBezTo>
                  <a:cubicBezTo>
                    <a:pt x="1115" y="3360"/>
                    <a:pt x="1129" y="3355"/>
                    <a:pt x="1145" y="3356"/>
                  </a:cubicBezTo>
                  <a:cubicBezTo>
                    <a:pt x="1158" y="3356"/>
                    <a:pt x="1170" y="3361"/>
                    <a:pt x="1176" y="3368"/>
                  </a:cubicBezTo>
                  <a:cubicBezTo>
                    <a:pt x="1244" y="3368"/>
                    <a:pt x="1244" y="3368"/>
                    <a:pt x="1244" y="3368"/>
                  </a:cubicBezTo>
                  <a:cubicBezTo>
                    <a:pt x="1252" y="3363"/>
                    <a:pt x="1263" y="3361"/>
                    <a:pt x="1275" y="3361"/>
                  </a:cubicBezTo>
                  <a:cubicBezTo>
                    <a:pt x="1284" y="3361"/>
                    <a:pt x="1293" y="3364"/>
                    <a:pt x="1300" y="3368"/>
                  </a:cubicBezTo>
                  <a:cubicBezTo>
                    <a:pt x="1385" y="3368"/>
                    <a:pt x="1385" y="3368"/>
                    <a:pt x="1385" y="3368"/>
                  </a:cubicBezTo>
                  <a:cubicBezTo>
                    <a:pt x="1391" y="3366"/>
                    <a:pt x="1398" y="3365"/>
                    <a:pt x="1404" y="3365"/>
                  </a:cubicBezTo>
                  <a:cubicBezTo>
                    <a:pt x="1410" y="3366"/>
                    <a:pt x="1415" y="3367"/>
                    <a:pt x="1420" y="3368"/>
                  </a:cubicBezTo>
                  <a:cubicBezTo>
                    <a:pt x="2438" y="3368"/>
                    <a:pt x="2438" y="3368"/>
                    <a:pt x="2438" y="3368"/>
                  </a:cubicBezTo>
                  <a:cubicBezTo>
                    <a:pt x="2440" y="3368"/>
                    <a:pt x="2441" y="3368"/>
                    <a:pt x="2443" y="3368"/>
                  </a:cubicBezTo>
                  <a:cubicBezTo>
                    <a:pt x="2446" y="3368"/>
                    <a:pt x="2448" y="3368"/>
                    <a:pt x="2451" y="3368"/>
                  </a:cubicBezTo>
                  <a:cubicBezTo>
                    <a:pt x="2553" y="3368"/>
                    <a:pt x="2553" y="3368"/>
                    <a:pt x="2553" y="3368"/>
                  </a:cubicBezTo>
                  <a:cubicBezTo>
                    <a:pt x="2558" y="3366"/>
                    <a:pt x="2565" y="3364"/>
                    <a:pt x="2573" y="3364"/>
                  </a:cubicBezTo>
                  <a:cubicBezTo>
                    <a:pt x="2582" y="3364"/>
                    <a:pt x="2590" y="3365"/>
                    <a:pt x="2597" y="3368"/>
                  </a:cubicBezTo>
                  <a:cubicBezTo>
                    <a:pt x="2674" y="3368"/>
                    <a:pt x="2674" y="3368"/>
                    <a:pt x="2674" y="3368"/>
                  </a:cubicBezTo>
                  <a:cubicBezTo>
                    <a:pt x="2681" y="3363"/>
                    <a:pt x="2691" y="3359"/>
                    <a:pt x="2702" y="3359"/>
                  </a:cubicBezTo>
                  <a:cubicBezTo>
                    <a:pt x="2716" y="3358"/>
                    <a:pt x="2728" y="3362"/>
                    <a:pt x="2735" y="3368"/>
                  </a:cubicBezTo>
                  <a:cubicBezTo>
                    <a:pt x="2798" y="3368"/>
                    <a:pt x="2798" y="3368"/>
                    <a:pt x="2798" y="3368"/>
                  </a:cubicBezTo>
                  <a:cubicBezTo>
                    <a:pt x="2804" y="3360"/>
                    <a:pt x="2817" y="3354"/>
                    <a:pt x="2832" y="3353"/>
                  </a:cubicBezTo>
                  <a:cubicBezTo>
                    <a:pt x="2849" y="3352"/>
                    <a:pt x="2864" y="3359"/>
                    <a:pt x="2871" y="3368"/>
                  </a:cubicBezTo>
                  <a:cubicBezTo>
                    <a:pt x="2924" y="3368"/>
                    <a:pt x="2924" y="3368"/>
                    <a:pt x="2924" y="3368"/>
                  </a:cubicBezTo>
                  <a:cubicBezTo>
                    <a:pt x="2928" y="3357"/>
                    <a:pt x="2943" y="3348"/>
                    <a:pt x="2962" y="3347"/>
                  </a:cubicBezTo>
                  <a:cubicBezTo>
                    <a:pt x="2983" y="3345"/>
                    <a:pt x="3001" y="3355"/>
                    <a:pt x="3005" y="3368"/>
                  </a:cubicBezTo>
                  <a:cubicBezTo>
                    <a:pt x="3052" y="3368"/>
                    <a:pt x="3052" y="3368"/>
                    <a:pt x="3052" y="3368"/>
                  </a:cubicBezTo>
                  <a:cubicBezTo>
                    <a:pt x="3052" y="3353"/>
                    <a:pt x="3069" y="3340"/>
                    <a:pt x="3091" y="3339"/>
                  </a:cubicBezTo>
                  <a:cubicBezTo>
                    <a:pt x="3114" y="3338"/>
                    <a:pt x="3134" y="3349"/>
                    <a:pt x="3135" y="3363"/>
                  </a:cubicBezTo>
                  <a:cubicBezTo>
                    <a:pt x="3136" y="3365"/>
                    <a:pt x="3135" y="3367"/>
                    <a:pt x="3135" y="3368"/>
                  </a:cubicBezTo>
                  <a:cubicBezTo>
                    <a:pt x="3185" y="3368"/>
                    <a:pt x="3185" y="3368"/>
                    <a:pt x="3185" y="3368"/>
                  </a:cubicBezTo>
                  <a:cubicBezTo>
                    <a:pt x="3184" y="3366"/>
                    <a:pt x="3183" y="3363"/>
                    <a:pt x="3182" y="3360"/>
                  </a:cubicBezTo>
                  <a:cubicBezTo>
                    <a:pt x="3181" y="3345"/>
                    <a:pt x="3198" y="3332"/>
                    <a:pt x="3221" y="3330"/>
                  </a:cubicBezTo>
                  <a:cubicBezTo>
                    <a:pt x="3244" y="3329"/>
                    <a:pt x="3264" y="3340"/>
                    <a:pt x="3265" y="3355"/>
                  </a:cubicBezTo>
                  <a:cubicBezTo>
                    <a:pt x="3266" y="3359"/>
                    <a:pt x="3264" y="3364"/>
                    <a:pt x="3262" y="3368"/>
                  </a:cubicBezTo>
                  <a:cubicBezTo>
                    <a:pt x="3324" y="3368"/>
                    <a:pt x="3324" y="3368"/>
                    <a:pt x="3324" y="3368"/>
                  </a:cubicBezTo>
                  <a:cubicBezTo>
                    <a:pt x="3318" y="3364"/>
                    <a:pt x="3313" y="3358"/>
                    <a:pt x="3312" y="3351"/>
                  </a:cubicBezTo>
                  <a:cubicBezTo>
                    <a:pt x="3310" y="3336"/>
                    <a:pt x="3328" y="3323"/>
                    <a:pt x="3350" y="3321"/>
                  </a:cubicBezTo>
                  <a:cubicBezTo>
                    <a:pt x="3373" y="3319"/>
                    <a:pt x="3393" y="3330"/>
                    <a:pt x="3395" y="3345"/>
                  </a:cubicBezTo>
                  <a:cubicBezTo>
                    <a:pt x="3396" y="3354"/>
                    <a:pt x="3391" y="3362"/>
                    <a:pt x="3381" y="3368"/>
                  </a:cubicBezTo>
                  <a:cubicBezTo>
                    <a:pt x="3680" y="3368"/>
                    <a:pt x="3680" y="3368"/>
                    <a:pt x="3680" y="3368"/>
                  </a:cubicBezTo>
                  <a:cubicBezTo>
                    <a:pt x="3681" y="3368"/>
                    <a:pt x="3682" y="3368"/>
                    <a:pt x="3682" y="3368"/>
                  </a:cubicBezTo>
                  <a:cubicBezTo>
                    <a:pt x="3688" y="3367"/>
                    <a:pt x="3693" y="3367"/>
                    <a:pt x="3697" y="3368"/>
                  </a:cubicBezTo>
                  <a:cubicBezTo>
                    <a:pt x="3782" y="3368"/>
                    <a:pt x="3782" y="3368"/>
                    <a:pt x="3782" y="3368"/>
                  </a:cubicBezTo>
                  <a:cubicBezTo>
                    <a:pt x="3789" y="3361"/>
                    <a:pt x="3800" y="3356"/>
                    <a:pt x="3813" y="3355"/>
                  </a:cubicBezTo>
                  <a:cubicBezTo>
                    <a:pt x="3830" y="3353"/>
                    <a:pt x="3847" y="3359"/>
                    <a:pt x="3855" y="3368"/>
                  </a:cubicBezTo>
                  <a:cubicBezTo>
                    <a:pt x="3906" y="3368"/>
                    <a:pt x="3906" y="3368"/>
                    <a:pt x="3906" y="3368"/>
                  </a:cubicBezTo>
                  <a:cubicBezTo>
                    <a:pt x="3907" y="3355"/>
                    <a:pt x="3922" y="3343"/>
                    <a:pt x="3943" y="3341"/>
                  </a:cubicBezTo>
                  <a:cubicBezTo>
                    <a:pt x="3966" y="3339"/>
                    <a:pt x="3987" y="3348"/>
                    <a:pt x="3990" y="3363"/>
                  </a:cubicBezTo>
                  <a:cubicBezTo>
                    <a:pt x="3990" y="3365"/>
                    <a:pt x="3990" y="3366"/>
                    <a:pt x="3990" y="3368"/>
                  </a:cubicBezTo>
                  <a:cubicBezTo>
                    <a:pt x="4043" y="3368"/>
                    <a:pt x="4043" y="3368"/>
                    <a:pt x="4043" y="3368"/>
                  </a:cubicBezTo>
                  <a:cubicBezTo>
                    <a:pt x="4040" y="3365"/>
                    <a:pt x="4038" y="3362"/>
                    <a:pt x="4037" y="3358"/>
                  </a:cubicBezTo>
                  <a:cubicBezTo>
                    <a:pt x="4034" y="3343"/>
                    <a:pt x="4050" y="3329"/>
                    <a:pt x="4073" y="3326"/>
                  </a:cubicBezTo>
                  <a:cubicBezTo>
                    <a:pt x="4096" y="3324"/>
                    <a:pt x="4117" y="3333"/>
                    <a:pt x="4121" y="3348"/>
                  </a:cubicBezTo>
                  <a:cubicBezTo>
                    <a:pt x="4122" y="3355"/>
                    <a:pt x="4119" y="3362"/>
                    <a:pt x="4113" y="3368"/>
                  </a:cubicBezTo>
                  <a:cubicBezTo>
                    <a:pt x="4399" y="3368"/>
                    <a:pt x="4399" y="3368"/>
                    <a:pt x="4399" y="3368"/>
                  </a:cubicBezTo>
                  <a:cubicBezTo>
                    <a:pt x="4405" y="3364"/>
                    <a:pt x="4413" y="3362"/>
                    <a:pt x="4421" y="3361"/>
                  </a:cubicBezTo>
                  <a:cubicBezTo>
                    <a:pt x="4436" y="3359"/>
                    <a:pt x="4450" y="3362"/>
                    <a:pt x="4459" y="3368"/>
                  </a:cubicBezTo>
                  <a:cubicBezTo>
                    <a:pt x="4517" y="3368"/>
                    <a:pt x="4517" y="3368"/>
                    <a:pt x="4517" y="3368"/>
                  </a:cubicBezTo>
                  <a:cubicBezTo>
                    <a:pt x="4518" y="3356"/>
                    <a:pt x="4533" y="3345"/>
                    <a:pt x="4552" y="3343"/>
                  </a:cubicBezTo>
                  <a:cubicBezTo>
                    <a:pt x="4575" y="3339"/>
                    <a:pt x="4597" y="3348"/>
                    <a:pt x="4601" y="3363"/>
                  </a:cubicBezTo>
                  <a:cubicBezTo>
                    <a:pt x="4601" y="3365"/>
                    <a:pt x="4602" y="3366"/>
                    <a:pt x="4602" y="3368"/>
                  </a:cubicBezTo>
                  <a:cubicBezTo>
                    <a:pt x="4657" y="3368"/>
                    <a:pt x="4657" y="3368"/>
                    <a:pt x="4657" y="3368"/>
                  </a:cubicBezTo>
                  <a:cubicBezTo>
                    <a:pt x="4653" y="3365"/>
                    <a:pt x="4650" y="3361"/>
                    <a:pt x="4649" y="3356"/>
                  </a:cubicBezTo>
                  <a:cubicBezTo>
                    <a:pt x="4644" y="3341"/>
                    <a:pt x="4660" y="3327"/>
                    <a:pt x="4683" y="3323"/>
                  </a:cubicBezTo>
                  <a:cubicBezTo>
                    <a:pt x="4706" y="3320"/>
                    <a:pt x="4728" y="3329"/>
                    <a:pt x="4732" y="3343"/>
                  </a:cubicBezTo>
                  <a:cubicBezTo>
                    <a:pt x="4735" y="3352"/>
                    <a:pt x="4730" y="3362"/>
                    <a:pt x="4720" y="3368"/>
                  </a:cubicBezTo>
                  <a:cubicBezTo>
                    <a:pt x="4765" y="3368"/>
                    <a:pt x="4765" y="3368"/>
                    <a:pt x="4765" y="3368"/>
                  </a:cubicBezTo>
                  <a:cubicBezTo>
                    <a:pt x="4765" y="3280"/>
                    <a:pt x="4765" y="3280"/>
                    <a:pt x="4765" y="3280"/>
                  </a:cubicBezTo>
                  <a:cubicBezTo>
                    <a:pt x="4759" y="3285"/>
                    <a:pt x="4750" y="3290"/>
                    <a:pt x="4738" y="3292"/>
                  </a:cubicBezTo>
                  <a:cubicBezTo>
                    <a:pt x="4715" y="3295"/>
                    <a:pt x="4693" y="3286"/>
                    <a:pt x="4689" y="3272"/>
                  </a:cubicBezTo>
                  <a:cubicBezTo>
                    <a:pt x="4685" y="3257"/>
                    <a:pt x="4700" y="3243"/>
                    <a:pt x="4723" y="3239"/>
                  </a:cubicBezTo>
                  <a:cubicBezTo>
                    <a:pt x="4740" y="3236"/>
                    <a:pt x="4756" y="3241"/>
                    <a:pt x="4765" y="3249"/>
                  </a:cubicBezTo>
                  <a:cubicBezTo>
                    <a:pt x="4765" y="3209"/>
                    <a:pt x="4765" y="3209"/>
                    <a:pt x="4765" y="3209"/>
                  </a:cubicBezTo>
                  <a:cubicBezTo>
                    <a:pt x="4751" y="3206"/>
                    <a:pt x="4739" y="3199"/>
                    <a:pt x="4736" y="3189"/>
                  </a:cubicBezTo>
                  <a:cubicBezTo>
                    <a:pt x="4732" y="3175"/>
                    <a:pt x="4745" y="3162"/>
                    <a:pt x="4765" y="3157"/>
                  </a:cubicBezTo>
                  <a:cubicBezTo>
                    <a:pt x="4765" y="3051"/>
                    <a:pt x="4765" y="3051"/>
                    <a:pt x="4765" y="3051"/>
                  </a:cubicBezTo>
                  <a:cubicBezTo>
                    <a:pt x="4759" y="3056"/>
                    <a:pt x="4751" y="3060"/>
                    <a:pt x="4741" y="3062"/>
                  </a:cubicBezTo>
                  <a:cubicBezTo>
                    <a:pt x="4718" y="3065"/>
                    <a:pt x="4697" y="3056"/>
                    <a:pt x="4692" y="3042"/>
                  </a:cubicBezTo>
                  <a:cubicBezTo>
                    <a:pt x="4688" y="3027"/>
                    <a:pt x="4703" y="3013"/>
                    <a:pt x="4725" y="3009"/>
                  </a:cubicBezTo>
                  <a:cubicBezTo>
                    <a:pt x="4741" y="3007"/>
                    <a:pt x="4756" y="3010"/>
                    <a:pt x="4765" y="3018"/>
                  </a:cubicBezTo>
                  <a:cubicBezTo>
                    <a:pt x="4765" y="2978"/>
                    <a:pt x="4765" y="2978"/>
                    <a:pt x="4765" y="2978"/>
                  </a:cubicBezTo>
                  <a:cubicBezTo>
                    <a:pt x="4748" y="2977"/>
                    <a:pt x="4733" y="2969"/>
                    <a:pt x="4729" y="2958"/>
                  </a:cubicBezTo>
                  <a:cubicBezTo>
                    <a:pt x="4725" y="2943"/>
                    <a:pt x="4739" y="2929"/>
                    <a:pt x="4761" y="2925"/>
                  </a:cubicBezTo>
                  <a:cubicBezTo>
                    <a:pt x="4763" y="2925"/>
                    <a:pt x="4764" y="2925"/>
                    <a:pt x="4765" y="2925"/>
                  </a:cubicBezTo>
                  <a:cubicBezTo>
                    <a:pt x="4765" y="2749"/>
                    <a:pt x="4765" y="2749"/>
                    <a:pt x="4765" y="2749"/>
                  </a:cubicBezTo>
                  <a:cubicBezTo>
                    <a:pt x="4747" y="2749"/>
                    <a:pt x="4731" y="2741"/>
                    <a:pt x="4727" y="2728"/>
                  </a:cubicBezTo>
                  <a:cubicBezTo>
                    <a:pt x="4722" y="2714"/>
                    <a:pt x="4736" y="2699"/>
                    <a:pt x="4757" y="2696"/>
                  </a:cubicBezTo>
                  <a:cubicBezTo>
                    <a:pt x="4760" y="2696"/>
                    <a:pt x="4763" y="2695"/>
                    <a:pt x="4765" y="2695"/>
                  </a:cubicBezTo>
                  <a:cubicBezTo>
                    <a:pt x="4765" y="2652"/>
                    <a:pt x="4765" y="2652"/>
                    <a:pt x="4765" y="2652"/>
                  </a:cubicBezTo>
                  <a:cubicBezTo>
                    <a:pt x="4763" y="2650"/>
                    <a:pt x="4762" y="2647"/>
                    <a:pt x="4761" y="2645"/>
                  </a:cubicBezTo>
                  <a:cubicBezTo>
                    <a:pt x="4758" y="2638"/>
                    <a:pt x="4760" y="2631"/>
                    <a:pt x="4765" y="2625"/>
                  </a:cubicBezTo>
                  <a:cubicBezTo>
                    <a:pt x="4765" y="2517"/>
                    <a:pt x="4765" y="2517"/>
                    <a:pt x="4765" y="2517"/>
                  </a:cubicBezTo>
                  <a:cubicBezTo>
                    <a:pt x="4763" y="2517"/>
                    <a:pt x="4762" y="2518"/>
                    <a:pt x="4760" y="2518"/>
                  </a:cubicBezTo>
                  <a:cubicBezTo>
                    <a:pt x="4739" y="2521"/>
                    <a:pt x="4718" y="2512"/>
                    <a:pt x="4713" y="2498"/>
                  </a:cubicBezTo>
                  <a:cubicBezTo>
                    <a:pt x="4709" y="2484"/>
                    <a:pt x="4722" y="2469"/>
                    <a:pt x="4743" y="2466"/>
                  </a:cubicBezTo>
                  <a:cubicBezTo>
                    <a:pt x="4751" y="2465"/>
                    <a:pt x="4758" y="2465"/>
                    <a:pt x="4765" y="2467"/>
                  </a:cubicBezTo>
                  <a:cubicBezTo>
                    <a:pt x="4765" y="2431"/>
                    <a:pt x="4765" y="2431"/>
                    <a:pt x="4765" y="2431"/>
                  </a:cubicBezTo>
                  <a:cubicBezTo>
                    <a:pt x="4759" y="2427"/>
                    <a:pt x="4754" y="2422"/>
                    <a:pt x="4752" y="2416"/>
                  </a:cubicBezTo>
                  <a:cubicBezTo>
                    <a:pt x="4749" y="2406"/>
                    <a:pt x="4754" y="2396"/>
                    <a:pt x="4765" y="2389"/>
                  </a:cubicBezTo>
                  <a:cubicBezTo>
                    <a:pt x="4765" y="2284"/>
                    <a:pt x="4765" y="2284"/>
                    <a:pt x="4765" y="2284"/>
                  </a:cubicBezTo>
                  <a:cubicBezTo>
                    <a:pt x="4761" y="2287"/>
                    <a:pt x="4755" y="2289"/>
                    <a:pt x="4749" y="2290"/>
                  </a:cubicBezTo>
                  <a:cubicBezTo>
                    <a:pt x="4729" y="2293"/>
                    <a:pt x="4709" y="2284"/>
                    <a:pt x="4704" y="2270"/>
                  </a:cubicBezTo>
                  <a:cubicBezTo>
                    <a:pt x="4699" y="2255"/>
                    <a:pt x="4712" y="2241"/>
                    <a:pt x="4732" y="2238"/>
                  </a:cubicBezTo>
                  <a:cubicBezTo>
                    <a:pt x="4744" y="2236"/>
                    <a:pt x="4756" y="2238"/>
                    <a:pt x="4765" y="2244"/>
                  </a:cubicBezTo>
                  <a:cubicBezTo>
                    <a:pt x="4765" y="2207"/>
                    <a:pt x="4765" y="2207"/>
                    <a:pt x="4765" y="2207"/>
                  </a:cubicBezTo>
                  <a:cubicBezTo>
                    <a:pt x="4750" y="2206"/>
                    <a:pt x="4737" y="2198"/>
                    <a:pt x="4733" y="2187"/>
                  </a:cubicBezTo>
                  <a:cubicBezTo>
                    <a:pt x="4728" y="2172"/>
                    <a:pt x="4740" y="2158"/>
                    <a:pt x="4760" y="2155"/>
                  </a:cubicBezTo>
                  <a:cubicBezTo>
                    <a:pt x="4762" y="2154"/>
                    <a:pt x="4764" y="2154"/>
                    <a:pt x="4765" y="2154"/>
                  </a:cubicBezTo>
                  <a:cubicBezTo>
                    <a:pt x="4765" y="1979"/>
                    <a:pt x="4765" y="1979"/>
                    <a:pt x="4765" y="1979"/>
                  </a:cubicBezTo>
                  <a:cubicBezTo>
                    <a:pt x="4764" y="1979"/>
                    <a:pt x="4763" y="1979"/>
                    <a:pt x="4762" y="1979"/>
                  </a:cubicBezTo>
                  <a:cubicBezTo>
                    <a:pt x="4742" y="1983"/>
                    <a:pt x="4722" y="1974"/>
                    <a:pt x="4717" y="1959"/>
                  </a:cubicBezTo>
                  <a:cubicBezTo>
                    <a:pt x="4712" y="1945"/>
                    <a:pt x="4724" y="1931"/>
                    <a:pt x="4743" y="1927"/>
                  </a:cubicBezTo>
                  <a:cubicBezTo>
                    <a:pt x="4751" y="1926"/>
                    <a:pt x="4758" y="1927"/>
                    <a:pt x="4765" y="1929"/>
                  </a:cubicBezTo>
                  <a:cubicBezTo>
                    <a:pt x="4765" y="1895"/>
                    <a:pt x="4765" y="1895"/>
                    <a:pt x="4765" y="1895"/>
                  </a:cubicBezTo>
                  <a:cubicBezTo>
                    <a:pt x="4755" y="1892"/>
                    <a:pt x="4746" y="1885"/>
                    <a:pt x="4743" y="1876"/>
                  </a:cubicBezTo>
                  <a:cubicBezTo>
                    <a:pt x="4739" y="1863"/>
                    <a:pt x="4748" y="1850"/>
                    <a:pt x="4765" y="1845"/>
                  </a:cubicBezTo>
                  <a:cubicBezTo>
                    <a:pt x="4765" y="1670"/>
                    <a:pt x="4765" y="1670"/>
                    <a:pt x="4765" y="1670"/>
                  </a:cubicBezTo>
                  <a:cubicBezTo>
                    <a:pt x="4765" y="1670"/>
                    <a:pt x="4765" y="1670"/>
                    <a:pt x="4765" y="1670"/>
                  </a:cubicBezTo>
                  <a:cubicBezTo>
                    <a:pt x="4746" y="1673"/>
                    <a:pt x="4727" y="1664"/>
                    <a:pt x="4722" y="1650"/>
                  </a:cubicBezTo>
                  <a:cubicBezTo>
                    <a:pt x="4717" y="1636"/>
                    <a:pt x="4727" y="1621"/>
                    <a:pt x="4746" y="1618"/>
                  </a:cubicBezTo>
                  <a:cubicBezTo>
                    <a:pt x="4752" y="1617"/>
                    <a:pt x="4759" y="1618"/>
                    <a:pt x="4765" y="1619"/>
                  </a:cubicBezTo>
                  <a:cubicBezTo>
                    <a:pt x="4765" y="1586"/>
                    <a:pt x="4765" y="1586"/>
                    <a:pt x="4765" y="1586"/>
                  </a:cubicBezTo>
                  <a:cubicBezTo>
                    <a:pt x="4755" y="1582"/>
                    <a:pt x="4747" y="1576"/>
                    <a:pt x="4744" y="1568"/>
                  </a:cubicBezTo>
                  <a:cubicBezTo>
                    <a:pt x="4739" y="1554"/>
                    <a:pt x="4749" y="1541"/>
                    <a:pt x="4765" y="1536"/>
                  </a:cubicBezTo>
                  <a:cubicBezTo>
                    <a:pt x="4765" y="1361"/>
                    <a:pt x="4765" y="1361"/>
                    <a:pt x="4765" y="1361"/>
                  </a:cubicBezTo>
                  <a:cubicBezTo>
                    <a:pt x="4763" y="1361"/>
                    <a:pt x="4761" y="1362"/>
                    <a:pt x="4759" y="1362"/>
                  </a:cubicBezTo>
                  <a:cubicBezTo>
                    <a:pt x="4741" y="1365"/>
                    <a:pt x="4722" y="1356"/>
                    <a:pt x="4717" y="1342"/>
                  </a:cubicBezTo>
                  <a:cubicBezTo>
                    <a:pt x="4712" y="1328"/>
                    <a:pt x="4721" y="1314"/>
                    <a:pt x="4739" y="1311"/>
                  </a:cubicBezTo>
                  <a:cubicBezTo>
                    <a:pt x="4748" y="1309"/>
                    <a:pt x="4757" y="1310"/>
                    <a:pt x="4765" y="1314"/>
                  </a:cubicBezTo>
                  <a:cubicBezTo>
                    <a:pt x="4765" y="1280"/>
                    <a:pt x="4765" y="1280"/>
                    <a:pt x="4765" y="1280"/>
                  </a:cubicBezTo>
                  <a:cubicBezTo>
                    <a:pt x="4752" y="1279"/>
                    <a:pt x="4740" y="1271"/>
                    <a:pt x="4736" y="1260"/>
                  </a:cubicBezTo>
                  <a:cubicBezTo>
                    <a:pt x="4731" y="1246"/>
                    <a:pt x="4740" y="1232"/>
                    <a:pt x="4758" y="1229"/>
                  </a:cubicBezTo>
                  <a:cubicBezTo>
                    <a:pt x="4760" y="1228"/>
                    <a:pt x="4763" y="1228"/>
                    <a:pt x="4765" y="1228"/>
                  </a:cubicBezTo>
                  <a:cubicBezTo>
                    <a:pt x="4765" y="1188"/>
                    <a:pt x="4765" y="1188"/>
                    <a:pt x="4765" y="1188"/>
                  </a:cubicBezTo>
                  <a:cubicBezTo>
                    <a:pt x="4763" y="1185"/>
                    <a:pt x="4761" y="1183"/>
                    <a:pt x="4760" y="1180"/>
                  </a:cubicBezTo>
                  <a:cubicBezTo>
                    <a:pt x="4757" y="1171"/>
                    <a:pt x="4759" y="1162"/>
                    <a:pt x="4765" y="1156"/>
                  </a:cubicBezTo>
                  <a:cubicBezTo>
                    <a:pt x="4765" y="1039"/>
                    <a:pt x="4765" y="1039"/>
                    <a:pt x="4765" y="1039"/>
                  </a:cubicBezTo>
                  <a:cubicBezTo>
                    <a:pt x="4763" y="1047"/>
                    <a:pt x="4755" y="1054"/>
                    <a:pt x="4744" y="1056"/>
                  </a:cubicBezTo>
                  <a:cubicBezTo>
                    <a:pt x="4727" y="1059"/>
                    <a:pt x="4709" y="1050"/>
                    <a:pt x="4703" y="1036"/>
                  </a:cubicBezTo>
                  <a:cubicBezTo>
                    <a:pt x="4697" y="1021"/>
                    <a:pt x="4706" y="1007"/>
                    <a:pt x="4723" y="1004"/>
                  </a:cubicBezTo>
                  <a:cubicBezTo>
                    <a:pt x="4740" y="1001"/>
                    <a:pt x="4758" y="1010"/>
                    <a:pt x="4764" y="1024"/>
                  </a:cubicBezTo>
                  <a:cubicBezTo>
                    <a:pt x="4765" y="1025"/>
                    <a:pt x="4765" y="1026"/>
                    <a:pt x="4765" y="1027"/>
                  </a:cubicBezTo>
                  <a:cubicBezTo>
                    <a:pt x="4765" y="973"/>
                    <a:pt x="4765" y="973"/>
                    <a:pt x="4765" y="973"/>
                  </a:cubicBezTo>
                  <a:cubicBezTo>
                    <a:pt x="4763" y="973"/>
                    <a:pt x="4762" y="974"/>
                    <a:pt x="4760" y="974"/>
                  </a:cubicBezTo>
                  <a:cubicBezTo>
                    <a:pt x="4743" y="977"/>
                    <a:pt x="4724" y="968"/>
                    <a:pt x="4719" y="954"/>
                  </a:cubicBezTo>
                  <a:cubicBezTo>
                    <a:pt x="4713" y="940"/>
                    <a:pt x="4722" y="926"/>
                    <a:pt x="4738" y="923"/>
                  </a:cubicBezTo>
                  <a:cubicBezTo>
                    <a:pt x="4748" y="921"/>
                    <a:pt x="4757" y="923"/>
                    <a:pt x="4765" y="928"/>
                  </a:cubicBezTo>
                  <a:cubicBezTo>
                    <a:pt x="4765" y="894"/>
                    <a:pt x="4765" y="894"/>
                    <a:pt x="4765" y="894"/>
                  </a:cubicBezTo>
                  <a:cubicBezTo>
                    <a:pt x="4754" y="892"/>
                    <a:pt x="4743" y="884"/>
                    <a:pt x="4739" y="874"/>
                  </a:cubicBezTo>
                  <a:cubicBezTo>
                    <a:pt x="4733" y="860"/>
                    <a:pt x="4742" y="846"/>
                    <a:pt x="4758" y="843"/>
                  </a:cubicBezTo>
                  <a:cubicBezTo>
                    <a:pt x="4761" y="843"/>
                    <a:pt x="4763" y="843"/>
                    <a:pt x="4765" y="843"/>
                  </a:cubicBezTo>
                  <a:cubicBezTo>
                    <a:pt x="4765" y="807"/>
                    <a:pt x="4765" y="807"/>
                    <a:pt x="4765" y="807"/>
                  </a:cubicBezTo>
                  <a:cubicBezTo>
                    <a:pt x="4760" y="804"/>
                    <a:pt x="4755" y="799"/>
                    <a:pt x="4753" y="793"/>
                  </a:cubicBezTo>
                  <a:cubicBezTo>
                    <a:pt x="4748" y="781"/>
                    <a:pt x="4753" y="769"/>
                    <a:pt x="4765" y="764"/>
                  </a:cubicBezTo>
                  <a:cubicBezTo>
                    <a:pt x="4765" y="580"/>
                    <a:pt x="4765" y="580"/>
                    <a:pt x="4765" y="580"/>
                  </a:cubicBezTo>
                  <a:cubicBezTo>
                    <a:pt x="4762" y="585"/>
                    <a:pt x="4756" y="589"/>
                    <a:pt x="4749" y="591"/>
                  </a:cubicBezTo>
                  <a:cubicBezTo>
                    <a:pt x="4733" y="594"/>
                    <a:pt x="4715" y="585"/>
                    <a:pt x="4709" y="571"/>
                  </a:cubicBezTo>
                  <a:cubicBezTo>
                    <a:pt x="4703" y="557"/>
                    <a:pt x="4711" y="543"/>
                    <a:pt x="4726" y="540"/>
                  </a:cubicBezTo>
                  <a:cubicBezTo>
                    <a:pt x="4741" y="537"/>
                    <a:pt x="4758" y="545"/>
                    <a:pt x="4765" y="558"/>
                  </a:cubicBezTo>
                  <a:cubicBezTo>
                    <a:pt x="4765" y="508"/>
                    <a:pt x="4765" y="508"/>
                    <a:pt x="4765" y="508"/>
                  </a:cubicBezTo>
                  <a:cubicBezTo>
                    <a:pt x="4763" y="509"/>
                    <a:pt x="4761" y="509"/>
                    <a:pt x="4759" y="510"/>
                  </a:cubicBezTo>
                  <a:cubicBezTo>
                    <a:pt x="4743" y="513"/>
                    <a:pt x="4725" y="504"/>
                    <a:pt x="4719" y="490"/>
                  </a:cubicBezTo>
                  <a:cubicBezTo>
                    <a:pt x="4713" y="476"/>
                    <a:pt x="4721" y="462"/>
                    <a:pt x="4736" y="459"/>
                  </a:cubicBezTo>
                  <a:cubicBezTo>
                    <a:pt x="4746" y="457"/>
                    <a:pt x="4757" y="460"/>
                    <a:pt x="4765" y="466"/>
                  </a:cubicBezTo>
                  <a:cubicBezTo>
                    <a:pt x="4765" y="431"/>
                    <a:pt x="4765" y="431"/>
                    <a:pt x="4765" y="431"/>
                  </a:cubicBezTo>
                  <a:cubicBezTo>
                    <a:pt x="4752" y="431"/>
                    <a:pt x="4739" y="423"/>
                    <a:pt x="4734" y="411"/>
                  </a:cubicBezTo>
                  <a:cubicBezTo>
                    <a:pt x="4728" y="397"/>
                    <a:pt x="4735" y="383"/>
                    <a:pt x="4750" y="380"/>
                  </a:cubicBezTo>
                  <a:cubicBezTo>
                    <a:pt x="4755" y="379"/>
                    <a:pt x="4760" y="379"/>
                    <a:pt x="4765" y="381"/>
                  </a:cubicBezTo>
                  <a:close/>
                  <a:moveTo>
                    <a:pt x="4732" y="670"/>
                  </a:moveTo>
                  <a:cubicBezTo>
                    <a:pt x="4716" y="673"/>
                    <a:pt x="4698" y="664"/>
                    <a:pt x="4692" y="650"/>
                  </a:cubicBezTo>
                  <a:cubicBezTo>
                    <a:pt x="4686" y="636"/>
                    <a:pt x="4694" y="622"/>
                    <a:pt x="4710" y="619"/>
                  </a:cubicBezTo>
                  <a:cubicBezTo>
                    <a:pt x="4726" y="616"/>
                    <a:pt x="4744" y="625"/>
                    <a:pt x="4750" y="639"/>
                  </a:cubicBezTo>
                  <a:cubicBezTo>
                    <a:pt x="4756" y="653"/>
                    <a:pt x="4748" y="667"/>
                    <a:pt x="4732" y="670"/>
                  </a:cubicBezTo>
                  <a:close/>
                  <a:moveTo>
                    <a:pt x="129" y="357"/>
                  </a:moveTo>
                  <a:cubicBezTo>
                    <a:pt x="123" y="372"/>
                    <a:pt x="106" y="382"/>
                    <a:pt x="91" y="379"/>
                  </a:cubicBezTo>
                  <a:cubicBezTo>
                    <a:pt x="76" y="376"/>
                    <a:pt x="68" y="362"/>
                    <a:pt x="74" y="347"/>
                  </a:cubicBezTo>
                  <a:cubicBezTo>
                    <a:pt x="80" y="332"/>
                    <a:pt x="97" y="322"/>
                    <a:pt x="112" y="325"/>
                  </a:cubicBezTo>
                  <a:cubicBezTo>
                    <a:pt x="127" y="328"/>
                    <a:pt x="135" y="342"/>
                    <a:pt x="129" y="357"/>
                  </a:cubicBezTo>
                  <a:close/>
                  <a:moveTo>
                    <a:pt x="118" y="275"/>
                  </a:moveTo>
                  <a:cubicBezTo>
                    <a:pt x="112" y="290"/>
                    <a:pt x="95" y="300"/>
                    <a:pt x="80" y="297"/>
                  </a:cubicBezTo>
                  <a:cubicBezTo>
                    <a:pt x="65" y="294"/>
                    <a:pt x="58" y="280"/>
                    <a:pt x="64" y="265"/>
                  </a:cubicBezTo>
                  <a:cubicBezTo>
                    <a:pt x="70" y="250"/>
                    <a:pt x="87" y="240"/>
                    <a:pt x="102" y="243"/>
                  </a:cubicBezTo>
                  <a:cubicBezTo>
                    <a:pt x="117" y="246"/>
                    <a:pt x="124" y="260"/>
                    <a:pt x="118" y="275"/>
                  </a:cubicBezTo>
                  <a:close/>
                  <a:moveTo>
                    <a:pt x="145" y="443"/>
                  </a:moveTo>
                  <a:cubicBezTo>
                    <a:pt x="139" y="458"/>
                    <a:pt x="122" y="468"/>
                    <a:pt x="106" y="465"/>
                  </a:cubicBezTo>
                  <a:cubicBezTo>
                    <a:pt x="91" y="462"/>
                    <a:pt x="83" y="448"/>
                    <a:pt x="89" y="433"/>
                  </a:cubicBezTo>
                  <a:cubicBezTo>
                    <a:pt x="95" y="418"/>
                    <a:pt x="112" y="408"/>
                    <a:pt x="127" y="411"/>
                  </a:cubicBezTo>
                  <a:cubicBezTo>
                    <a:pt x="143" y="413"/>
                    <a:pt x="150" y="428"/>
                    <a:pt x="145" y="443"/>
                  </a:cubicBezTo>
                  <a:close/>
                  <a:moveTo>
                    <a:pt x="4628" y="768"/>
                  </a:moveTo>
                  <a:cubicBezTo>
                    <a:pt x="4611" y="771"/>
                    <a:pt x="4594" y="762"/>
                    <a:pt x="4588" y="747"/>
                  </a:cubicBezTo>
                  <a:cubicBezTo>
                    <a:pt x="4582" y="733"/>
                    <a:pt x="4591" y="719"/>
                    <a:pt x="4607" y="717"/>
                  </a:cubicBezTo>
                  <a:cubicBezTo>
                    <a:pt x="4623" y="714"/>
                    <a:pt x="4641" y="723"/>
                    <a:pt x="4646" y="737"/>
                  </a:cubicBezTo>
                  <a:cubicBezTo>
                    <a:pt x="4652" y="751"/>
                    <a:pt x="4644" y="765"/>
                    <a:pt x="4628" y="768"/>
                  </a:cubicBezTo>
                  <a:close/>
                  <a:moveTo>
                    <a:pt x="4641" y="687"/>
                  </a:moveTo>
                  <a:cubicBezTo>
                    <a:pt x="4625" y="690"/>
                    <a:pt x="4607" y="681"/>
                    <a:pt x="4602" y="667"/>
                  </a:cubicBezTo>
                  <a:cubicBezTo>
                    <a:pt x="4596" y="652"/>
                    <a:pt x="4604" y="639"/>
                    <a:pt x="4620" y="636"/>
                  </a:cubicBezTo>
                  <a:cubicBezTo>
                    <a:pt x="4636" y="633"/>
                    <a:pt x="4653" y="642"/>
                    <a:pt x="4659" y="656"/>
                  </a:cubicBezTo>
                  <a:cubicBezTo>
                    <a:pt x="4665" y="670"/>
                    <a:pt x="4657" y="684"/>
                    <a:pt x="4641" y="687"/>
                  </a:cubicBezTo>
                  <a:close/>
                  <a:moveTo>
                    <a:pt x="192" y="693"/>
                  </a:moveTo>
                  <a:cubicBezTo>
                    <a:pt x="187" y="708"/>
                    <a:pt x="169" y="718"/>
                    <a:pt x="153" y="715"/>
                  </a:cubicBezTo>
                  <a:cubicBezTo>
                    <a:pt x="137" y="712"/>
                    <a:pt x="129" y="698"/>
                    <a:pt x="134" y="683"/>
                  </a:cubicBezTo>
                  <a:cubicBezTo>
                    <a:pt x="140" y="668"/>
                    <a:pt x="157" y="658"/>
                    <a:pt x="173" y="660"/>
                  </a:cubicBezTo>
                  <a:cubicBezTo>
                    <a:pt x="189" y="663"/>
                    <a:pt x="197" y="678"/>
                    <a:pt x="192" y="693"/>
                  </a:cubicBezTo>
                  <a:close/>
                  <a:moveTo>
                    <a:pt x="176" y="611"/>
                  </a:moveTo>
                  <a:cubicBezTo>
                    <a:pt x="171" y="625"/>
                    <a:pt x="153" y="635"/>
                    <a:pt x="138" y="633"/>
                  </a:cubicBezTo>
                  <a:cubicBezTo>
                    <a:pt x="122" y="630"/>
                    <a:pt x="114" y="616"/>
                    <a:pt x="119" y="601"/>
                  </a:cubicBezTo>
                  <a:cubicBezTo>
                    <a:pt x="125" y="586"/>
                    <a:pt x="142" y="576"/>
                    <a:pt x="158" y="578"/>
                  </a:cubicBezTo>
                  <a:cubicBezTo>
                    <a:pt x="173" y="581"/>
                    <a:pt x="182" y="596"/>
                    <a:pt x="176" y="611"/>
                  </a:cubicBezTo>
                  <a:close/>
                  <a:moveTo>
                    <a:pt x="4591" y="929"/>
                  </a:moveTo>
                  <a:cubicBezTo>
                    <a:pt x="4575" y="932"/>
                    <a:pt x="4557" y="922"/>
                    <a:pt x="4551" y="908"/>
                  </a:cubicBezTo>
                  <a:cubicBezTo>
                    <a:pt x="4546" y="894"/>
                    <a:pt x="4555" y="880"/>
                    <a:pt x="4571" y="877"/>
                  </a:cubicBezTo>
                  <a:cubicBezTo>
                    <a:pt x="4588" y="874"/>
                    <a:pt x="4606" y="883"/>
                    <a:pt x="4611" y="898"/>
                  </a:cubicBezTo>
                  <a:cubicBezTo>
                    <a:pt x="4617" y="912"/>
                    <a:pt x="4608" y="926"/>
                    <a:pt x="4591" y="929"/>
                  </a:cubicBezTo>
                  <a:close/>
                  <a:moveTo>
                    <a:pt x="4607" y="847"/>
                  </a:moveTo>
                  <a:cubicBezTo>
                    <a:pt x="4591" y="850"/>
                    <a:pt x="4573" y="841"/>
                    <a:pt x="4567" y="827"/>
                  </a:cubicBezTo>
                  <a:cubicBezTo>
                    <a:pt x="4562" y="813"/>
                    <a:pt x="4570" y="799"/>
                    <a:pt x="4587" y="796"/>
                  </a:cubicBezTo>
                  <a:cubicBezTo>
                    <a:pt x="4603" y="793"/>
                    <a:pt x="4621" y="802"/>
                    <a:pt x="4627" y="816"/>
                  </a:cubicBezTo>
                  <a:cubicBezTo>
                    <a:pt x="4632" y="831"/>
                    <a:pt x="4624" y="845"/>
                    <a:pt x="4607" y="847"/>
                  </a:cubicBezTo>
                  <a:close/>
                  <a:moveTo>
                    <a:pt x="4551" y="1090"/>
                  </a:moveTo>
                  <a:cubicBezTo>
                    <a:pt x="4534" y="1093"/>
                    <a:pt x="4515" y="1083"/>
                    <a:pt x="4510" y="1069"/>
                  </a:cubicBezTo>
                  <a:cubicBezTo>
                    <a:pt x="4505" y="1055"/>
                    <a:pt x="4515" y="1041"/>
                    <a:pt x="4531" y="1038"/>
                  </a:cubicBezTo>
                  <a:cubicBezTo>
                    <a:pt x="4548" y="1035"/>
                    <a:pt x="4566" y="1045"/>
                    <a:pt x="4572" y="1059"/>
                  </a:cubicBezTo>
                  <a:cubicBezTo>
                    <a:pt x="4577" y="1073"/>
                    <a:pt x="4568" y="1087"/>
                    <a:pt x="4551" y="1090"/>
                  </a:cubicBezTo>
                  <a:close/>
                  <a:moveTo>
                    <a:pt x="4569" y="1008"/>
                  </a:moveTo>
                  <a:cubicBezTo>
                    <a:pt x="4552" y="1011"/>
                    <a:pt x="4534" y="1002"/>
                    <a:pt x="4528" y="988"/>
                  </a:cubicBezTo>
                  <a:cubicBezTo>
                    <a:pt x="4523" y="973"/>
                    <a:pt x="4532" y="960"/>
                    <a:pt x="4549" y="957"/>
                  </a:cubicBezTo>
                  <a:cubicBezTo>
                    <a:pt x="4566" y="954"/>
                    <a:pt x="4584" y="963"/>
                    <a:pt x="4589" y="977"/>
                  </a:cubicBezTo>
                  <a:cubicBezTo>
                    <a:pt x="4595" y="992"/>
                    <a:pt x="4585" y="1006"/>
                    <a:pt x="4569" y="1008"/>
                  </a:cubicBezTo>
                  <a:close/>
                  <a:moveTo>
                    <a:pt x="322" y="1194"/>
                  </a:moveTo>
                  <a:cubicBezTo>
                    <a:pt x="318" y="1209"/>
                    <a:pt x="300" y="1219"/>
                    <a:pt x="282" y="1217"/>
                  </a:cubicBezTo>
                  <a:cubicBezTo>
                    <a:pt x="265" y="1214"/>
                    <a:pt x="255" y="1200"/>
                    <a:pt x="260" y="1185"/>
                  </a:cubicBezTo>
                  <a:cubicBezTo>
                    <a:pt x="265" y="1170"/>
                    <a:pt x="282" y="1160"/>
                    <a:pt x="300" y="1162"/>
                  </a:cubicBezTo>
                  <a:cubicBezTo>
                    <a:pt x="317" y="1165"/>
                    <a:pt x="327" y="1179"/>
                    <a:pt x="322" y="1194"/>
                  </a:cubicBezTo>
                  <a:close/>
                  <a:moveTo>
                    <a:pt x="300" y="1112"/>
                  </a:moveTo>
                  <a:cubicBezTo>
                    <a:pt x="295" y="1127"/>
                    <a:pt x="277" y="1138"/>
                    <a:pt x="260" y="1135"/>
                  </a:cubicBezTo>
                  <a:cubicBezTo>
                    <a:pt x="243" y="1133"/>
                    <a:pt x="233" y="1118"/>
                    <a:pt x="238" y="1103"/>
                  </a:cubicBezTo>
                  <a:cubicBezTo>
                    <a:pt x="243" y="1088"/>
                    <a:pt x="261" y="1078"/>
                    <a:pt x="278" y="1081"/>
                  </a:cubicBezTo>
                  <a:cubicBezTo>
                    <a:pt x="294" y="1083"/>
                    <a:pt x="304" y="1097"/>
                    <a:pt x="300" y="1112"/>
                  </a:cubicBezTo>
                  <a:close/>
                  <a:moveTo>
                    <a:pt x="376" y="2310"/>
                  </a:moveTo>
                  <a:cubicBezTo>
                    <a:pt x="380" y="2295"/>
                    <a:pt x="400" y="2285"/>
                    <a:pt x="420" y="2287"/>
                  </a:cubicBezTo>
                  <a:cubicBezTo>
                    <a:pt x="440" y="2289"/>
                    <a:pt x="453" y="2303"/>
                    <a:pt x="450" y="2318"/>
                  </a:cubicBezTo>
                  <a:cubicBezTo>
                    <a:pt x="446" y="2333"/>
                    <a:pt x="426" y="2344"/>
                    <a:pt x="406" y="2342"/>
                  </a:cubicBezTo>
                  <a:cubicBezTo>
                    <a:pt x="386" y="2339"/>
                    <a:pt x="373" y="2325"/>
                    <a:pt x="376" y="2310"/>
                  </a:cubicBezTo>
                  <a:close/>
                  <a:moveTo>
                    <a:pt x="381" y="2440"/>
                  </a:moveTo>
                  <a:cubicBezTo>
                    <a:pt x="402" y="2442"/>
                    <a:pt x="416" y="2456"/>
                    <a:pt x="412" y="2471"/>
                  </a:cubicBezTo>
                  <a:cubicBezTo>
                    <a:pt x="408" y="2487"/>
                    <a:pt x="388" y="2497"/>
                    <a:pt x="368" y="2495"/>
                  </a:cubicBezTo>
                  <a:cubicBezTo>
                    <a:pt x="347" y="2493"/>
                    <a:pt x="333" y="2479"/>
                    <a:pt x="337" y="2464"/>
                  </a:cubicBezTo>
                  <a:cubicBezTo>
                    <a:pt x="341" y="2449"/>
                    <a:pt x="361" y="2438"/>
                    <a:pt x="381" y="2440"/>
                  </a:cubicBezTo>
                  <a:close/>
                  <a:moveTo>
                    <a:pt x="365" y="1648"/>
                  </a:moveTo>
                  <a:cubicBezTo>
                    <a:pt x="383" y="1651"/>
                    <a:pt x="395" y="1665"/>
                    <a:pt x="391" y="1680"/>
                  </a:cubicBezTo>
                  <a:cubicBezTo>
                    <a:pt x="386" y="1695"/>
                    <a:pt x="368" y="1705"/>
                    <a:pt x="349" y="1703"/>
                  </a:cubicBezTo>
                  <a:cubicBezTo>
                    <a:pt x="331" y="1701"/>
                    <a:pt x="319" y="1687"/>
                    <a:pt x="323" y="1672"/>
                  </a:cubicBezTo>
                  <a:cubicBezTo>
                    <a:pt x="328" y="1656"/>
                    <a:pt x="346" y="1646"/>
                    <a:pt x="365" y="1648"/>
                  </a:cubicBezTo>
                  <a:close/>
                  <a:moveTo>
                    <a:pt x="362" y="1598"/>
                  </a:moveTo>
                  <a:cubicBezTo>
                    <a:pt x="358" y="1614"/>
                    <a:pt x="340" y="1624"/>
                    <a:pt x="321" y="1622"/>
                  </a:cubicBezTo>
                  <a:cubicBezTo>
                    <a:pt x="303" y="1619"/>
                    <a:pt x="291" y="1605"/>
                    <a:pt x="296" y="1590"/>
                  </a:cubicBezTo>
                  <a:cubicBezTo>
                    <a:pt x="300" y="1575"/>
                    <a:pt x="319" y="1565"/>
                    <a:pt x="337" y="1567"/>
                  </a:cubicBezTo>
                  <a:cubicBezTo>
                    <a:pt x="355" y="1569"/>
                    <a:pt x="367" y="1583"/>
                    <a:pt x="362" y="1598"/>
                  </a:cubicBezTo>
                  <a:close/>
                  <a:moveTo>
                    <a:pt x="428" y="1814"/>
                  </a:moveTo>
                  <a:cubicBezTo>
                    <a:pt x="447" y="1817"/>
                    <a:pt x="459" y="1831"/>
                    <a:pt x="455" y="1846"/>
                  </a:cubicBezTo>
                  <a:cubicBezTo>
                    <a:pt x="451" y="1861"/>
                    <a:pt x="433" y="1871"/>
                    <a:pt x="414" y="1869"/>
                  </a:cubicBezTo>
                  <a:cubicBezTo>
                    <a:pt x="395" y="1867"/>
                    <a:pt x="383" y="1853"/>
                    <a:pt x="387" y="1838"/>
                  </a:cubicBezTo>
                  <a:cubicBezTo>
                    <a:pt x="391" y="1823"/>
                    <a:pt x="410" y="1812"/>
                    <a:pt x="428" y="1814"/>
                  </a:cubicBezTo>
                  <a:close/>
                  <a:moveTo>
                    <a:pt x="425" y="1765"/>
                  </a:moveTo>
                  <a:cubicBezTo>
                    <a:pt x="421" y="1780"/>
                    <a:pt x="402" y="1790"/>
                    <a:pt x="383" y="1788"/>
                  </a:cubicBezTo>
                  <a:cubicBezTo>
                    <a:pt x="365" y="1786"/>
                    <a:pt x="353" y="1771"/>
                    <a:pt x="357" y="1756"/>
                  </a:cubicBezTo>
                  <a:cubicBezTo>
                    <a:pt x="361" y="1741"/>
                    <a:pt x="380" y="1731"/>
                    <a:pt x="398" y="1733"/>
                  </a:cubicBezTo>
                  <a:cubicBezTo>
                    <a:pt x="417" y="1735"/>
                    <a:pt x="429" y="1749"/>
                    <a:pt x="425" y="1765"/>
                  </a:cubicBezTo>
                  <a:close/>
                  <a:moveTo>
                    <a:pt x="4197" y="1960"/>
                  </a:moveTo>
                  <a:cubicBezTo>
                    <a:pt x="4193" y="1945"/>
                    <a:pt x="4206" y="1931"/>
                    <a:pt x="4225" y="1928"/>
                  </a:cubicBezTo>
                  <a:cubicBezTo>
                    <a:pt x="4244" y="1926"/>
                    <a:pt x="4263" y="1935"/>
                    <a:pt x="4267" y="1950"/>
                  </a:cubicBezTo>
                  <a:cubicBezTo>
                    <a:pt x="4271" y="1965"/>
                    <a:pt x="4259" y="1979"/>
                    <a:pt x="4239" y="1981"/>
                  </a:cubicBezTo>
                  <a:cubicBezTo>
                    <a:pt x="4220" y="1984"/>
                    <a:pt x="4201" y="1974"/>
                    <a:pt x="4197" y="1960"/>
                  </a:cubicBezTo>
                  <a:close/>
                  <a:moveTo>
                    <a:pt x="4266" y="2076"/>
                  </a:moveTo>
                  <a:cubicBezTo>
                    <a:pt x="4285" y="2074"/>
                    <a:pt x="4305" y="2083"/>
                    <a:pt x="4309" y="2098"/>
                  </a:cubicBezTo>
                  <a:cubicBezTo>
                    <a:pt x="4313" y="2112"/>
                    <a:pt x="4300" y="2126"/>
                    <a:pt x="4280" y="2129"/>
                  </a:cubicBezTo>
                  <a:cubicBezTo>
                    <a:pt x="4260" y="2132"/>
                    <a:pt x="4241" y="2122"/>
                    <a:pt x="4237" y="2107"/>
                  </a:cubicBezTo>
                  <a:cubicBezTo>
                    <a:pt x="4233" y="2093"/>
                    <a:pt x="4246" y="2079"/>
                    <a:pt x="4266" y="2076"/>
                  </a:cubicBezTo>
                  <a:close/>
                  <a:moveTo>
                    <a:pt x="4261" y="1848"/>
                  </a:moveTo>
                  <a:cubicBezTo>
                    <a:pt x="4280" y="1845"/>
                    <a:pt x="4299" y="1855"/>
                    <a:pt x="4303" y="1870"/>
                  </a:cubicBezTo>
                  <a:cubicBezTo>
                    <a:pt x="4308" y="1884"/>
                    <a:pt x="4296" y="1898"/>
                    <a:pt x="4276" y="1901"/>
                  </a:cubicBezTo>
                  <a:cubicBezTo>
                    <a:pt x="4257" y="1903"/>
                    <a:pt x="4238" y="1894"/>
                    <a:pt x="4234" y="1879"/>
                  </a:cubicBezTo>
                  <a:cubicBezTo>
                    <a:pt x="4230" y="1865"/>
                    <a:pt x="4242" y="1851"/>
                    <a:pt x="4261" y="1848"/>
                  </a:cubicBezTo>
                  <a:close/>
                  <a:moveTo>
                    <a:pt x="4346" y="2017"/>
                  </a:moveTo>
                  <a:cubicBezTo>
                    <a:pt x="4351" y="2031"/>
                    <a:pt x="4338" y="2045"/>
                    <a:pt x="4319" y="2048"/>
                  </a:cubicBezTo>
                  <a:cubicBezTo>
                    <a:pt x="4299" y="2051"/>
                    <a:pt x="4280" y="2041"/>
                    <a:pt x="4276" y="2027"/>
                  </a:cubicBezTo>
                  <a:cubicBezTo>
                    <a:pt x="4272" y="2012"/>
                    <a:pt x="4284" y="1998"/>
                    <a:pt x="4304" y="1996"/>
                  </a:cubicBezTo>
                  <a:cubicBezTo>
                    <a:pt x="4323" y="1993"/>
                    <a:pt x="4342" y="2002"/>
                    <a:pt x="4346" y="2017"/>
                  </a:cubicBezTo>
                  <a:close/>
                  <a:moveTo>
                    <a:pt x="4334" y="1913"/>
                  </a:moveTo>
                  <a:cubicBezTo>
                    <a:pt x="4353" y="1910"/>
                    <a:pt x="4372" y="1920"/>
                    <a:pt x="4376" y="1934"/>
                  </a:cubicBezTo>
                  <a:cubicBezTo>
                    <a:pt x="4381" y="1949"/>
                    <a:pt x="4368" y="1963"/>
                    <a:pt x="4349" y="1966"/>
                  </a:cubicBezTo>
                  <a:cubicBezTo>
                    <a:pt x="4330" y="1969"/>
                    <a:pt x="4311" y="1959"/>
                    <a:pt x="4307" y="1944"/>
                  </a:cubicBezTo>
                  <a:cubicBezTo>
                    <a:pt x="4302" y="1930"/>
                    <a:pt x="4315" y="1916"/>
                    <a:pt x="4334" y="1913"/>
                  </a:cubicBezTo>
                  <a:close/>
                  <a:moveTo>
                    <a:pt x="4369" y="1833"/>
                  </a:moveTo>
                  <a:cubicBezTo>
                    <a:pt x="4388" y="1830"/>
                    <a:pt x="4407" y="1839"/>
                    <a:pt x="4412" y="1854"/>
                  </a:cubicBezTo>
                  <a:cubicBezTo>
                    <a:pt x="4416" y="1868"/>
                    <a:pt x="4404" y="1882"/>
                    <a:pt x="4385" y="1885"/>
                  </a:cubicBezTo>
                  <a:cubicBezTo>
                    <a:pt x="4366" y="1888"/>
                    <a:pt x="4347" y="1878"/>
                    <a:pt x="4343" y="1864"/>
                  </a:cubicBezTo>
                  <a:cubicBezTo>
                    <a:pt x="4338" y="1849"/>
                    <a:pt x="4350" y="1835"/>
                    <a:pt x="4369" y="1833"/>
                  </a:cubicBezTo>
                  <a:close/>
                  <a:moveTo>
                    <a:pt x="4420" y="2082"/>
                  </a:moveTo>
                  <a:cubicBezTo>
                    <a:pt x="4425" y="2096"/>
                    <a:pt x="4412" y="2110"/>
                    <a:pt x="4392" y="2113"/>
                  </a:cubicBezTo>
                  <a:cubicBezTo>
                    <a:pt x="4373" y="2116"/>
                    <a:pt x="4353" y="2106"/>
                    <a:pt x="4349" y="2092"/>
                  </a:cubicBezTo>
                  <a:cubicBezTo>
                    <a:pt x="4345" y="2077"/>
                    <a:pt x="4357" y="2063"/>
                    <a:pt x="4377" y="2061"/>
                  </a:cubicBezTo>
                  <a:cubicBezTo>
                    <a:pt x="4397" y="2058"/>
                    <a:pt x="4416" y="2067"/>
                    <a:pt x="4420" y="2082"/>
                  </a:cubicBezTo>
                  <a:close/>
                  <a:moveTo>
                    <a:pt x="4361" y="2196"/>
                  </a:moveTo>
                  <a:cubicBezTo>
                    <a:pt x="4341" y="2199"/>
                    <a:pt x="4321" y="2189"/>
                    <a:pt x="4317" y="2175"/>
                  </a:cubicBezTo>
                  <a:cubicBezTo>
                    <a:pt x="4313" y="2160"/>
                    <a:pt x="4326" y="2146"/>
                    <a:pt x="4346" y="2143"/>
                  </a:cubicBezTo>
                  <a:cubicBezTo>
                    <a:pt x="4366" y="2140"/>
                    <a:pt x="4385" y="2150"/>
                    <a:pt x="4389" y="2164"/>
                  </a:cubicBezTo>
                  <a:cubicBezTo>
                    <a:pt x="4393" y="2179"/>
                    <a:pt x="4381" y="2193"/>
                    <a:pt x="4361" y="2196"/>
                  </a:cubicBezTo>
                  <a:close/>
                  <a:moveTo>
                    <a:pt x="4321" y="2277"/>
                  </a:moveTo>
                  <a:cubicBezTo>
                    <a:pt x="4301" y="2280"/>
                    <a:pt x="4281" y="2270"/>
                    <a:pt x="4277" y="2255"/>
                  </a:cubicBezTo>
                  <a:cubicBezTo>
                    <a:pt x="4274" y="2241"/>
                    <a:pt x="4287" y="2227"/>
                    <a:pt x="4307" y="2224"/>
                  </a:cubicBezTo>
                  <a:cubicBezTo>
                    <a:pt x="4327" y="2221"/>
                    <a:pt x="4346" y="2231"/>
                    <a:pt x="4350" y="2245"/>
                  </a:cubicBezTo>
                  <a:cubicBezTo>
                    <a:pt x="4354" y="2260"/>
                    <a:pt x="4341" y="2274"/>
                    <a:pt x="4321" y="2277"/>
                  </a:cubicBezTo>
                  <a:close/>
                  <a:moveTo>
                    <a:pt x="4247" y="2211"/>
                  </a:moveTo>
                  <a:cubicBezTo>
                    <a:pt x="4227" y="2214"/>
                    <a:pt x="4208" y="2204"/>
                    <a:pt x="4204" y="2190"/>
                  </a:cubicBezTo>
                  <a:cubicBezTo>
                    <a:pt x="4200" y="2175"/>
                    <a:pt x="4213" y="2161"/>
                    <a:pt x="4233" y="2159"/>
                  </a:cubicBezTo>
                  <a:cubicBezTo>
                    <a:pt x="4253" y="2156"/>
                    <a:pt x="4272" y="2166"/>
                    <a:pt x="4276" y="2180"/>
                  </a:cubicBezTo>
                  <a:cubicBezTo>
                    <a:pt x="4280" y="2195"/>
                    <a:pt x="4267" y="2209"/>
                    <a:pt x="4247" y="2211"/>
                  </a:cubicBezTo>
                  <a:close/>
                  <a:moveTo>
                    <a:pt x="4165" y="2042"/>
                  </a:moveTo>
                  <a:cubicBezTo>
                    <a:pt x="4161" y="2027"/>
                    <a:pt x="4174" y="2013"/>
                    <a:pt x="4193" y="2011"/>
                  </a:cubicBezTo>
                  <a:cubicBezTo>
                    <a:pt x="4213" y="2008"/>
                    <a:pt x="4232" y="2018"/>
                    <a:pt x="4236" y="2032"/>
                  </a:cubicBezTo>
                  <a:cubicBezTo>
                    <a:pt x="4240" y="2047"/>
                    <a:pt x="4227" y="2061"/>
                    <a:pt x="4208" y="2063"/>
                  </a:cubicBezTo>
                  <a:cubicBezTo>
                    <a:pt x="4188" y="2066"/>
                    <a:pt x="4169" y="2056"/>
                    <a:pt x="4165" y="2042"/>
                  </a:cubicBezTo>
                  <a:close/>
                  <a:moveTo>
                    <a:pt x="602" y="1862"/>
                  </a:moveTo>
                  <a:cubicBezTo>
                    <a:pt x="605" y="1847"/>
                    <a:pt x="624" y="1836"/>
                    <a:pt x="643" y="1838"/>
                  </a:cubicBezTo>
                  <a:cubicBezTo>
                    <a:pt x="662" y="1840"/>
                    <a:pt x="674" y="1853"/>
                    <a:pt x="670" y="1869"/>
                  </a:cubicBezTo>
                  <a:cubicBezTo>
                    <a:pt x="667" y="1884"/>
                    <a:pt x="649" y="1895"/>
                    <a:pt x="630" y="1893"/>
                  </a:cubicBezTo>
                  <a:cubicBezTo>
                    <a:pt x="611" y="1891"/>
                    <a:pt x="598" y="1877"/>
                    <a:pt x="602" y="1862"/>
                  </a:cubicBezTo>
                  <a:close/>
                  <a:moveTo>
                    <a:pt x="601" y="1942"/>
                  </a:moveTo>
                  <a:cubicBezTo>
                    <a:pt x="597" y="1957"/>
                    <a:pt x="579" y="1967"/>
                    <a:pt x="560" y="1965"/>
                  </a:cubicBezTo>
                  <a:cubicBezTo>
                    <a:pt x="540" y="1963"/>
                    <a:pt x="528" y="1949"/>
                    <a:pt x="532" y="1934"/>
                  </a:cubicBezTo>
                  <a:cubicBezTo>
                    <a:pt x="535" y="1919"/>
                    <a:pt x="554" y="1909"/>
                    <a:pt x="573" y="1911"/>
                  </a:cubicBezTo>
                  <a:cubicBezTo>
                    <a:pt x="592" y="1913"/>
                    <a:pt x="605" y="1926"/>
                    <a:pt x="601" y="1942"/>
                  </a:cubicBezTo>
                  <a:close/>
                  <a:moveTo>
                    <a:pt x="681" y="1922"/>
                  </a:moveTo>
                  <a:cubicBezTo>
                    <a:pt x="700" y="1923"/>
                    <a:pt x="713" y="1937"/>
                    <a:pt x="710" y="1952"/>
                  </a:cubicBezTo>
                  <a:cubicBezTo>
                    <a:pt x="706" y="1967"/>
                    <a:pt x="688" y="1978"/>
                    <a:pt x="669" y="1976"/>
                  </a:cubicBezTo>
                  <a:cubicBezTo>
                    <a:pt x="650" y="1975"/>
                    <a:pt x="637" y="1961"/>
                    <a:pt x="640" y="1946"/>
                  </a:cubicBezTo>
                  <a:cubicBezTo>
                    <a:pt x="644" y="1930"/>
                    <a:pt x="662" y="1920"/>
                    <a:pt x="681" y="1922"/>
                  </a:cubicBezTo>
                  <a:close/>
                  <a:moveTo>
                    <a:pt x="709" y="1872"/>
                  </a:moveTo>
                  <a:cubicBezTo>
                    <a:pt x="713" y="1857"/>
                    <a:pt x="731" y="1847"/>
                    <a:pt x="750" y="1848"/>
                  </a:cubicBezTo>
                  <a:cubicBezTo>
                    <a:pt x="769" y="1850"/>
                    <a:pt x="781" y="1864"/>
                    <a:pt x="778" y="1879"/>
                  </a:cubicBezTo>
                  <a:cubicBezTo>
                    <a:pt x="775" y="1894"/>
                    <a:pt x="757" y="1905"/>
                    <a:pt x="738" y="1903"/>
                  </a:cubicBezTo>
                  <a:cubicBezTo>
                    <a:pt x="719" y="1901"/>
                    <a:pt x="706" y="1888"/>
                    <a:pt x="709" y="1872"/>
                  </a:cubicBezTo>
                  <a:close/>
                  <a:moveTo>
                    <a:pt x="790" y="1932"/>
                  </a:moveTo>
                  <a:cubicBezTo>
                    <a:pt x="809" y="1933"/>
                    <a:pt x="822" y="1947"/>
                    <a:pt x="819" y="1962"/>
                  </a:cubicBezTo>
                  <a:cubicBezTo>
                    <a:pt x="815" y="1977"/>
                    <a:pt x="797" y="1988"/>
                    <a:pt x="778" y="1987"/>
                  </a:cubicBezTo>
                  <a:cubicBezTo>
                    <a:pt x="759" y="1985"/>
                    <a:pt x="746" y="1971"/>
                    <a:pt x="749" y="1956"/>
                  </a:cubicBezTo>
                  <a:cubicBezTo>
                    <a:pt x="752" y="1941"/>
                    <a:pt x="771" y="1930"/>
                    <a:pt x="790" y="1932"/>
                  </a:cubicBezTo>
                  <a:close/>
                  <a:moveTo>
                    <a:pt x="817" y="1882"/>
                  </a:moveTo>
                  <a:cubicBezTo>
                    <a:pt x="820" y="1867"/>
                    <a:pt x="838" y="1856"/>
                    <a:pt x="857" y="1858"/>
                  </a:cubicBezTo>
                  <a:cubicBezTo>
                    <a:pt x="876" y="1860"/>
                    <a:pt x="889" y="1873"/>
                    <a:pt x="886" y="1888"/>
                  </a:cubicBezTo>
                  <a:cubicBezTo>
                    <a:pt x="883" y="1904"/>
                    <a:pt x="865" y="1915"/>
                    <a:pt x="846" y="1913"/>
                  </a:cubicBezTo>
                  <a:cubicBezTo>
                    <a:pt x="827" y="1911"/>
                    <a:pt x="814" y="1898"/>
                    <a:pt x="817" y="1882"/>
                  </a:cubicBezTo>
                  <a:close/>
                  <a:moveTo>
                    <a:pt x="898" y="1941"/>
                  </a:moveTo>
                  <a:cubicBezTo>
                    <a:pt x="917" y="1943"/>
                    <a:pt x="930" y="1956"/>
                    <a:pt x="927" y="1971"/>
                  </a:cubicBezTo>
                  <a:cubicBezTo>
                    <a:pt x="925" y="1987"/>
                    <a:pt x="907" y="1998"/>
                    <a:pt x="887" y="1996"/>
                  </a:cubicBezTo>
                  <a:cubicBezTo>
                    <a:pt x="868" y="1994"/>
                    <a:pt x="855" y="1981"/>
                    <a:pt x="858" y="1966"/>
                  </a:cubicBezTo>
                  <a:cubicBezTo>
                    <a:pt x="861" y="1951"/>
                    <a:pt x="879" y="1940"/>
                    <a:pt x="898" y="1941"/>
                  </a:cubicBezTo>
                  <a:close/>
                  <a:moveTo>
                    <a:pt x="3909" y="2023"/>
                  </a:moveTo>
                  <a:cubicBezTo>
                    <a:pt x="3890" y="2025"/>
                    <a:pt x="3872" y="2015"/>
                    <a:pt x="3868" y="2000"/>
                  </a:cubicBezTo>
                  <a:cubicBezTo>
                    <a:pt x="3865" y="1985"/>
                    <a:pt x="3878" y="1972"/>
                    <a:pt x="3897" y="1969"/>
                  </a:cubicBezTo>
                  <a:cubicBezTo>
                    <a:pt x="3917" y="1967"/>
                    <a:pt x="3935" y="1977"/>
                    <a:pt x="3938" y="1992"/>
                  </a:cubicBezTo>
                  <a:cubicBezTo>
                    <a:pt x="3942" y="2007"/>
                    <a:pt x="3929" y="2020"/>
                    <a:pt x="3909" y="2023"/>
                  </a:cubicBezTo>
                  <a:close/>
                  <a:moveTo>
                    <a:pt x="3909" y="1920"/>
                  </a:moveTo>
                  <a:cubicBezTo>
                    <a:pt x="3906" y="1906"/>
                    <a:pt x="3918" y="1892"/>
                    <a:pt x="3937" y="1890"/>
                  </a:cubicBezTo>
                  <a:cubicBezTo>
                    <a:pt x="3957" y="1887"/>
                    <a:pt x="3975" y="1897"/>
                    <a:pt x="3978" y="1912"/>
                  </a:cubicBezTo>
                  <a:cubicBezTo>
                    <a:pt x="3982" y="1927"/>
                    <a:pt x="3969" y="1940"/>
                    <a:pt x="3950" y="1943"/>
                  </a:cubicBezTo>
                  <a:cubicBezTo>
                    <a:pt x="3931" y="1945"/>
                    <a:pt x="3913" y="1935"/>
                    <a:pt x="3909" y="1920"/>
                  </a:cubicBezTo>
                  <a:close/>
                  <a:moveTo>
                    <a:pt x="3841" y="1955"/>
                  </a:moveTo>
                  <a:cubicBezTo>
                    <a:pt x="3822" y="1957"/>
                    <a:pt x="3804" y="1947"/>
                    <a:pt x="3801" y="1932"/>
                  </a:cubicBezTo>
                  <a:cubicBezTo>
                    <a:pt x="3797" y="1918"/>
                    <a:pt x="3810" y="1904"/>
                    <a:pt x="3829" y="1902"/>
                  </a:cubicBezTo>
                  <a:cubicBezTo>
                    <a:pt x="3848" y="1900"/>
                    <a:pt x="3867" y="1910"/>
                    <a:pt x="3870" y="1925"/>
                  </a:cubicBezTo>
                  <a:cubicBezTo>
                    <a:pt x="3873" y="1939"/>
                    <a:pt x="3860" y="1953"/>
                    <a:pt x="3841" y="1955"/>
                  </a:cubicBezTo>
                  <a:close/>
                  <a:moveTo>
                    <a:pt x="3799" y="2035"/>
                  </a:moveTo>
                  <a:cubicBezTo>
                    <a:pt x="3780" y="2037"/>
                    <a:pt x="3762" y="2027"/>
                    <a:pt x="3759" y="2012"/>
                  </a:cubicBezTo>
                  <a:cubicBezTo>
                    <a:pt x="3756" y="1997"/>
                    <a:pt x="3769" y="1984"/>
                    <a:pt x="3788" y="1981"/>
                  </a:cubicBezTo>
                  <a:cubicBezTo>
                    <a:pt x="3807" y="1979"/>
                    <a:pt x="3825" y="1990"/>
                    <a:pt x="3829" y="2004"/>
                  </a:cubicBezTo>
                  <a:cubicBezTo>
                    <a:pt x="3832" y="2019"/>
                    <a:pt x="3819" y="2033"/>
                    <a:pt x="3799" y="2035"/>
                  </a:cubicBezTo>
                  <a:close/>
                  <a:moveTo>
                    <a:pt x="3732" y="1967"/>
                  </a:moveTo>
                  <a:cubicBezTo>
                    <a:pt x="3713" y="1969"/>
                    <a:pt x="3695" y="1958"/>
                    <a:pt x="3692" y="1944"/>
                  </a:cubicBezTo>
                  <a:cubicBezTo>
                    <a:pt x="3689" y="1929"/>
                    <a:pt x="3702" y="1915"/>
                    <a:pt x="3721" y="1913"/>
                  </a:cubicBezTo>
                  <a:cubicBezTo>
                    <a:pt x="3740" y="1911"/>
                    <a:pt x="3758" y="1922"/>
                    <a:pt x="3761" y="1937"/>
                  </a:cubicBezTo>
                  <a:cubicBezTo>
                    <a:pt x="3764" y="1951"/>
                    <a:pt x="3751" y="1965"/>
                    <a:pt x="3732" y="1967"/>
                  </a:cubicBezTo>
                  <a:close/>
                  <a:moveTo>
                    <a:pt x="1337" y="1689"/>
                  </a:moveTo>
                  <a:cubicBezTo>
                    <a:pt x="1339" y="1674"/>
                    <a:pt x="1356" y="1662"/>
                    <a:pt x="1374" y="1663"/>
                  </a:cubicBezTo>
                  <a:cubicBezTo>
                    <a:pt x="1392" y="1664"/>
                    <a:pt x="1405" y="1677"/>
                    <a:pt x="1404" y="1693"/>
                  </a:cubicBezTo>
                  <a:cubicBezTo>
                    <a:pt x="1402" y="1708"/>
                    <a:pt x="1385" y="1719"/>
                    <a:pt x="1366" y="1718"/>
                  </a:cubicBezTo>
                  <a:cubicBezTo>
                    <a:pt x="1348" y="1717"/>
                    <a:pt x="1335" y="1704"/>
                    <a:pt x="1337" y="1689"/>
                  </a:cubicBezTo>
                  <a:close/>
                  <a:moveTo>
                    <a:pt x="1338" y="1765"/>
                  </a:moveTo>
                  <a:cubicBezTo>
                    <a:pt x="1336" y="1780"/>
                    <a:pt x="1319" y="1792"/>
                    <a:pt x="1301" y="1791"/>
                  </a:cubicBezTo>
                  <a:cubicBezTo>
                    <a:pt x="1282" y="1789"/>
                    <a:pt x="1269" y="1776"/>
                    <a:pt x="1271" y="1761"/>
                  </a:cubicBezTo>
                  <a:cubicBezTo>
                    <a:pt x="1273" y="1746"/>
                    <a:pt x="1290" y="1735"/>
                    <a:pt x="1308" y="1736"/>
                  </a:cubicBezTo>
                  <a:cubicBezTo>
                    <a:pt x="1327" y="1737"/>
                    <a:pt x="1340" y="1750"/>
                    <a:pt x="1338" y="1765"/>
                  </a:cubicBezTo>
                  <a:close/>
                  <a:moveTo>
                    <a:pt x="1376" y="1767"/>
                  </a:moveTo>
                  <a:cubicBezTo>
                    <a:pt x="1378" y="1752"/>
                    <a:pt x="1395" y="1741"/>
                    <a:pt x="1413" y="1742"/>
                  </a:cubicBezTo>
                  <a:cubicBezTo>
                    <a:pt x="1432" y="1743"/>
                    <a:pt x="1445" y="1756"/>
                    <a:pt x="1444" y="1771"/>
                  </a:cubicBezTo>
                  <a:cubicBezTo>
                    <a:pt x="1442" y="1786"/>
                    <a:pt x="1425" y="1797"/>
                    <a:pt x="1406" y="1797"/>
                  </a:cubicBezTo>
                  <a:cubicBezTo>
                    <a:pt x="1388" y="1796"/>
                    <a:pt x="1374" y="1782"/>
                    <a:pt x="1376" y="1767"/>
                  </a:cubicBezTo>
                  <a:close/>
                  <a:moveTo>
                    <a:pt x="1397" y="1613"/>
                  </a:moveTo>
                  <a:cubicBezTo>
                    <a:pt x="1399" y="1598"/>
                    <a:pt x="1415" y="1587"/>
                    <a:pt x="1433" y="1588"/>
                  </a:cubicBezTo>
                  <a:cubicBezTo>
                    <a:pt x="1451" y="1589"/>
                    <a:pt x="1464" y="1602"/>
                    <a:pt x="1463" y="1617"/>
                  </a:cubicBezTo>
                  <a:cubicBezTo>
                    <a:pt x="1461" y="1632"/>
                    <a:pt x="1444" y="1644"/>
                    <a:pt x="1426" y="1643"/>
                  </a:cubicBezTo>
                  <a:cubicBezTo>
                    <a:pt x="1408" y="1642"/>
                    <a:pt x="1395" y="1629"/>
                    <a:pt x="1397" y="1613"/>
                  </a:cubicBezTo>
                  <a:close/>
                  <a:moveTo>
                    <a:pt x="1478" y="1669"/>
                  </a:moveTo>
                  <a:cubicBezTo>
                    <a:pt x="1496" y="1670"/>
                    <a:pt x="1510" y="1683"/>
                    <a:pt x="1508" y="1698"/>
                  </a:cubicBezTo>
                  <a:cubicBezTo>
                    <a:pt x="1506" y="1713"/>
                    <a:pt x="1490" y="1725"/>
                    <a:pt x="1471" y="1724"/>
                  </a:cubicBezTo>
                  <a:cubicBezTo>
                    <a:pt x="1453" y="1723"/>
                    <a:pt x="1439" y="1710"/>
                    <a:pt x="1441" y="1695"/>
                  </a:cubicBezTo>
                  <a:cubicBezTo>
                    <a:pt x="1443" y="1679"/>
                    <a:pt x="1460" y="1668"/>
                    <a:pt x="1478" y="1669"/>
                  </a:cubicBezTo>
                  <a:close/>
                  <a:moveTo>
                    <a:pt x="1482" y="1773"/>
                  </a:moveTo>
                  <a:cubicBezTo>
                    <a:pt x="1484" y="1758"/>
                    <a:pt x="1500" y="1746"/>
                    <a:pt x="1519" y="1747"/>
                  </a:cubicBezTo>
                  <a:cubicBezTo>
                    <a:pt x="1537" y="1748"/>
                    <a:pt x="1551" y="1761"/>
                    <a:pt x="1549" y="1776"/>
                  </a:cubicBezTo>
                  <a:cubicBezTo>
                    <a:pt x="1547" y="1791"/>
                    <a:pt x="1531" y="1803"/>
                    <a:pt x="1512" y="1802"/>
                  </a:cubicBezTo>
                  <a:cubicBezTo>
                    <a:pt x="1494" y="1801"/>
                    <a:pt x="1480" y="1788"/>
                    <a:pt x="1482" y="1773"/>
                  </a:cubicBezTo>
                  <a:close/>
                  <a:moveTo>
                    <a:pt x="1500" y="1619"/>
                  </a:moveTo>
                  <a:cubicBezTo>
                    <a:pt x="1502" y="1604"/>
                    <a:pt x="1518" y="1592"/>
                    <a:pt x="1536" y="1593"/>
                  </a:cubicBezTo>
                  <a:cubicBezTo>
                    <a:pt x="1554" y="1594"/>
                    <a:pt x="1567" y="1607"/>
                    <a:pt x="1566" y="1622"/>
                  </a:cubicBezTo>
                  <a:cubicBezTo>
                    <a:pt x="1564" y="1637"/>
                    <a:pt x="1548" y="1649"/>
                    <a:pt x="1530" y="1648"/>
                  </a:cubicBezTo>
                  <a:cubicBezTo>
                    <a:pt x="1511" y="1647"/>
                    <a:pt x="1498" y="1634"/>
                    <a:pt x="1500" y="1619"/>
                  </a:cubicBezTo>
                  <a:close/>
                  <a:moveTo>
                    <a:pt x="1582" y="1674"/>
                  </a:moveTo>
                  <a:cubicBezTo>
                    <a:pt x="1600" y="1674"/>
                    <a:pt x="1614" y="1687"/>
                    <a:pt x="1612" y="1703"/>
                  </a:cubicBezTo>
                  <a:cubicBezTo>
                    <a:pt x="1611" y="1718"/>
                    <a:pt x="1595" y="1729"/>
                    <a:pt x="1576" y="1729"/>
                  </a:cubicBezTo>
                  <a:cubicBezTo>
                    <a:pt x="1558" y="1728"/>
                    <a:pt x="1544" y="1715"/>
                    <a:pt x="1546" y="1700"/>
                  </a:cubicBezTo>
                  <a:cubicBezTo>
                    <a:pt x="1547" y="1685"/>
                    <a:pt x="1563" y="1673"/>
                    <a:pt x="1582" y="1674"/>
                  </a:cubicBezTo>
                  <a:close/>
                  <a:moveTo>
                    <a:pt x="1587" y="1777"/>
                  </a:moveTo>
                  <a:cubicBezTo>
                    <a:pt x="1589" y="1762"/>
                    <a:pt x="1605" y="1751"/>
                    <a:pt x="1624" y="1751"/>
                  </a:cubicBezTo>
                  <a:cubicBezTo>
                    <a:pt x="1642" y="1752"/>
                    <a:pt x="1656" y="1765"/>
                    <a:pt x="1655" y="1780"/>
                  </a:cubicBezTo>
                  <a:cubicBezTo>
                    <a:pt x="1653" y="1795"/>
                    <a:pt x="1637" y="1807"/>
                    <a:pt x="1618" y="1806"/>
                  </a:cubicBezTo>
                  <a:cubicBezTo>
                    <a:pt x="1600" y="1805"/>
                    <a:pt x="1586" y="1792"/>
                    <a:pt x="1587" y="1777"/>
                  </a:cubicBezTo>
                  <a:close/>
                  <a:moveTo>
                    <a:pt x="1603" y="1624"/>
                  </a:moveTo>
                  <a:cubicBezTo>
                    <a:pt x="1605" y="1608"/>
                    <a:pt x="1621" y="1597"/>
                    <a:pt x="1639" y="1597"/>
                  </a:cubicBezTo>
                  <a:cubicBezTo>
                    <a:pt x="1657" y="1598"/>
                    <a:pt x="1670" y="1611"/>
                    <a:pt x="1669" y="1626"/>
                  </a:cubicBezTo>
                  <a:cubicBezTo>
                    <a:pt x="1668" y="1641"/>
                    <a:pt x="1652" y="1653"/>
                    <a:pt x="1633" y="1652"/>
                  </a:cubicBezTo>
                  <a:cubicBezTo>
                    <a:pt x="1615" y="1652"/>
                    <a:pt x="1601" y="1639"/>
                    <a:pt x="1603" y="1624"/>
                  </a:cubicBezTo>
                  <a:close/>
                  <a:moveTo>
                    <a:pt x="1686" y="1678"/>
                  </a:moveTo>
                  <a:cubicBezTo>
                    <a:pt x="1704" y="1678"/>
                    <a:pt x="1718" y="1691"/>
                    <a:pt x="1717" y="1706"/>
                  </a:cubicBezTo>
                  <a:cubicBezTo>
                    <a:pt x="1715" y="1721"/>
                    <a:pt x="1699" y="1733"/>
                    <a:pt x="1681" y="1733"/>
                  </a:cubicBezTo>
                  <a:cubicBezTo>
                    <a:pt x="1662" y="1732"/>
                    <a:pt x="1649" y="1719"/>
                    <a:pt x="1650" y="1704"/>
                  </a:cubicBezTo>
                  <a:cubicBezTo>
                    <a:pt x="1651" y="1689"/>
                    <a:pt x="1667" y="1677"/>
                    <a:pt x="1686" y="1678"/>
                  </a:cubicBezTo>
                  <a:close/>
                  <a:moveTo>
                    <a:pt x="1693" y="1781"/>
                  </a:moveTo>
                  <a:cubicBezTo>
                    <a:pt x="1694" y="1766"/>
                    <a:pt x="1710" y="1754"/>
                    <a:pt x="1729" y="1755"/>
                  </a:cubicBezTo>
                  <a:cubicBezTo>
                    <a:pt x="1747" y="1756"/>
                    <a:pt x="1761" y="1768"/>
                    <a:pt x="1760" y="1783"/>
                  </a:cubicBezTo>
                  <a:cubicBezTo>
                    <a:pt x="1759" y="1799"/>
                    <a:pt x="1743" y="1810"/>
                    <a:pt x="1724" y="1810"/>
                  </a:cubicBezTo>
                  <a:cubicBezTo>
                    <a:pt x="1706" y="1809"/>
                    <a:pt x="1692" y="1796"/>
                    <a:pt x="1693" y="1781"/>
                  </a:cubicBezTo>
                  <a:close/>
                  <a:moveTo>
                    <a:pt x="1706" y="1628"/>
                  </a:moveTo>
                  <a:cubicBezTo>
                    <a:pt x="1708" y="1612"/>
                    <a:pt x="1723" y="1601"/>
                    <a:pt x="1741" y="1601"/>
                  </a:cubicBezTo>
                  <a:cubicBezTo>
                    <a:pt x="1760" y="1602"/>
                    <a:pt x="1773" y="1615"/>
                    <a:pt x="1772" y="1630"/>
                  </a:cubicBezTo>
                  <a:cubicBezTo>
                    <a:pt x="1771" y="1645"/>
                    <a:pt x="1755" y="1657"/>
                    <a:pt x="1737" y="1656"/>
                  </a:cubicBezTo>
                  <a:cubicBezTo>
                    <a:pt x="1719" y="1655"/>
                    <a:pt x="1705" y="1643"/>
                    <a:pt x="1706" y="1628"/>
                  </a:cubicBezTo>
                  <a:close/>
                  <a:moveTo>
                    <a:pt x="1790" y="1681"/>
                  </a:moveTo>
                  <a:cubicBezTo>
                    <a:pt x="1808" y="1682"/>
                    <a:pt x="1822" y="1694"/>
                    <a:pt x="1821" y="1709"/>
                  </a:cubicBezTo>
                  <a:cubicBezTo>
                    <a:pt x="1820" y="1725"/>
                    <a:pt x="1804" y="1736"/>
                    <a:pt x="1786" y="1736"/>
                  </a:cubicBezTo>
                  <a:cubicBezTo>
                    <a:pt x="1767" y="1735"/>
                    <a:pt x="1753" y="1723"/>
                    <a:pt x="1754" y="1708"/>
                  </a:cubicBezTo>
                  <a:cubicBezTo>
                    <a:pt x="1756" y="1692"/>
                    <a:pt x="1771" y="1681"/>
                    <a:pt x="1790" y="1681"/>
                  </a:cubicBezTo>
                  <a:close/>
                  <a:moveTo>
                    <a:pt x="1798" y="1784"/>
                  </a:moveTo>
                  <a:cubicBezTo>
                    <a:pt x="1799" y="1769"/>
                    <a:pt x="1815" y="1757"/>
                    <a:pt x="1834" y="1758"/>
                  </a:cubicBezTo>
                  <a:cubicBezTo>
                    <a:pt x="1852" y="1758"/>
                    <a:pt x="1867" y="1771"/>
                    <a:pt x="1866" y="1786"/>
                  </a:cubicBezTo>
                  <a:cubicBezTo>
                    <a:pt x="1865" y="1801"/>
                    <a:pt x="1849" y="1813"/>
                    <a:pt x="1830" y="1813"/>
                  </a:cubicBezTo>
                  <a:cubicBezTo>
                    <a:pt x="1812" y="1812"/>
                    <a:pt x="1797" y="1800"/>
                    <a:pt x="1798" y="1784"/>
                  </a:cubicBezTo>
                  <a:close/>
                  <a:moveTo>
                    <a:pt x="1809" y="1631"/>
                  </a:moveTo>
                  <a:cubicBezTo>
                    <a:pt x="1811" y="1616"/>
                    <a:pt x="1826" y="1604"/>
                    <a:pt x="1844" y="1604"/>
                  </a:cubicBezTo>
                  <a:cubicBezTo>
                    <a:pt x="1862" y="1605"/>
                    <a:pt x="1876" y="1617"/>
                    <a:pt x="1875" y="1632"/>
                  </a:cubicBezTo>
                  <a:cubicBezTo>
                    <a:pt x="1874" y="1648"/>
                    <a:pt x="1859" y="1660"/>
                    <a:pt x="1841" y="1659"/>
                  </a:cubicBezTo>
                  <a:cubicBezTo>
                    <a:pt x="1822" y="1659"/>
                    <a:pt x="1808" y="1646"/>
                    <a:pt x="1809" y="1631"/>
                  </a:cubicBezTo>
                  <a:close/>
                  <a:moveTo>
                    <a:pt x="1894" y="1684"/>
                  </a:moveTo>
                  <a:cubicBezTo>
                    <a:pt x="1912" y="1684"/>
                    <a:pt x="1926" y="1697"/>
                    <a:pt x="1925" y="1712"/>
                  </a:cubicBezTo>
                  <a:cubicBezTo>
                    <a:pt x="1925" y="1727"/>
                    <a:pt x="1909" y="1739"/>
                    <a:pt x="1891" y="1738"/>
                  </a:cubicBezTo>
                  <a:cubicBezTo>
                    <a:pt x="1872" y="1738"/>
                    <a:pt x="1858" y="1725"/>
                    <a:pt x="1859" y="1710"/>
                  </a:cubicBezTo>
                  <a:cubicBezTo>
                    <a:pt x="1860" y="1695"/>
                    <a:pt x="1875" y="1683"/>
                    <a:pt x="1894" y="1684"/>
                  </a:cubicBezTo>
                  <a:close/>
                  <a:moveTo>
                    <a:pt x="1939" y="1760"/>
                  </a:moveTo>
                  <a:cubicBezTo>
                    <a:pt x="1958" y="1760"/>
                    <a:pt x="1972" y="1773"/>
                    <a:pt x="1971" y="1788"/>
                  </a:cubicBezTo>
                  <a:cubicBezTo>
                    <a:pt x="1971" y="1803"/>
                    <a:pt x="1955" y="1815"/>
                    <a:pt x="1936" y="1815"/>
                  </a:cubicBezTo>
                  <a:cubicBezTo>
                    <a:pt x="1918" y="1815"/>
                    <a:pt x="1903" y="1802"/>
                    <a:pt x="1904" y="1787"/>
                  </a:cubicBezTo>
                  <a:cubicBezTo>
                    <a:pt x="1905" y="1772"/>
                    <a:pt x="1921" y="1760"/>
                    <a:pt x="1939" y="1760"/>
                  </a:cubicBezTo>
                  <a:close/>
                  <a:moveTo>
                    <a:pt x="1913" y="1633"/>
                  </a:moveTo>
                  <a:cubicBezTo>
                    <a:pt x="1914" y="1618"/>
                    <a:pt x="1929" y="1606"/>
                    <a:pt x="1947" y="1607"/>
                  </a:cubicBezTo>
                  <a:cubicBezTo>
                    <a:pt x="1965" y="1607"/>
                    <a:pt x="1979" y="1619"/>
                    <a:pt x="1979" y="1634"/>
                  </a:cubicBezTo>
                  <a:cubicBezTo>
                    <a:pt x="1978" y="1650"/>
                    <a:pt x="1962" y="1662"/>
                    <a:pt x="1944" y="1661"/>
                  </a:cubicBezTo>
                  <a:cubicBezTo>
                    <a:pt x="1926" y="1661"/>
                    <a:pt x="1912" y="1648"/>
                    <a:pt x="1913" y="1633"/>
                  </a:cubicBezTo>
                  <a:close/>
                  <a:moveTo>
                    <a:pt x="1998" y="1686"/>
                  </a:moveTo>
                  <a:cubicBezTo>
                    <a:pt x="2016" y="1686"/>
                    <a:pt x="2030" y="1698"/>
                    <a:pt x="2030" y="1713"/>
                  </a:cubicBezTo>
                  <a:cubicBezTo>
                    <a:pt x="2029" y="1728"/>
                    <a:pt x="2014" y="1741"/>
                    <a:pt x="1995" y="1740"/>
                  </a:cubicBezTo>
                  <a:cubicBezTo>
                    <a:pt x="1977" y="1740"/>
                    <a:pt x="1962" y="1728"/>
                    <a:pt x="1963" y="1712"/>
                  </a:cubicBezTo>
                  <a:cubicBezTo>
                    <a:pt x="1964" y="1697"/>
                    <a:pt x="1979" y="1685"/>
                    <a:pt x="1998" y="1686"/>
                  </a:cubicBezTo>
                  <a:close/>
                  <a:moveTo>
                    <a:pt x="2044" y="1762"/>
                  </a:moveTo>
                  <a:cubicBezTo>
                    <a:pt x="2063" y="1762"/>
                    <a:pt x="2077" y="1774"/>
                    <a:pt x="2077" y="1789"/>
                  </a:cubicBezTo>
                  <a:cubicBezTo>
                    <a:pt x="2076" y="1804"/>
                    <a:pt x="2061" y="1816"/>
                    <a:pt x="2042" y="1816"/>
                  </a:cubicBezTo>
                  <a:cubicBezTo>
                    <a:pt x="2024" y="1816"/>
                    <a:pt x="2009" y="1804"/>
                    <a:pt x="2010" y="1789"/>
                  </a:cubicBezTo>
                  <a:cubicBezTo>
                    <a:pt x="2010" y="1773"/>
                    <a:pt x="2026" y="1761"/>
                    <a:pt x="2044" y="1762"/>
                  </a:cubicBezTo>
                  <a:close/>
                  <a:moveTo>
                    <a:pt x="2016" y="1635"/>
                  </a:moveTo>
                  <a:cubicBezTo>
                    <a:pt x="2017" y="1620"/>
                    <a:pt x="2032" y="1608"/>
                    <a:pt x="2050" y="1608"/>
                  </a:cubicBezTo>
                  <a:cubicBezTo>
                    <a:pt x="2068" y="1608"/>
                    <a:pt x="2082" y="1621"/>
                    <a:pt x="2082" y="1636"/>
                  </a:cubicBezTo>
                  <a:cubicBezTo>
                    <a:pt x="2081" y="1651"/>
                    <a:pt x="2066" y="1663"/>
                    <a:pt x="2048" y="1663"/>
                  </a:cubicBezTo>
                  <a:cubicBezTo>
                    <a:pt x="2030" y="1663"/>
                    <a:pt x="2015" y="1650"/>
                    <a:pt x="2016" y="1635"/>
                  </a:cubicBezTo>
                  <a:close/>
                  <a:moveTo>
                    <a:pt x="2102" y="1687"/>
                  </a:moveTo>
                  <a:cubicBezTo>
                    <a:pt x="2120" y="1687"/>
                    <a:pt x="2135" y="1699"/>
                    <a:pt x="2134" y="1714"/>
                  </a:cubicBezTo>
                  <a:cubicBezTo>
                    <a:pt x="2134" y="1729"/>
                    <a:pt x="2119" y="1741"/>
                    <a:pt x="2100" y="1741"/>
                  </a:cubicBezTo>
                  <a:cubicBezTo>
                    <a:pt x="2082" y="1741"/>
                    <a:pt x="2067" y="1729"/>
                    <a:pt x="2068" y="1714"/>
                  </a:cubicBezTo>
                  <a:cubicBezTo>
                    <a:pt x="2068" y="1699"/>
                    <a:pt x="2083" y="1686"/>
                    <a:pt x="2102" y="1687"/>
                  </a:cubicBezTo>
                  <a:close/>
                  <a:moveTo>
                    <a:pt x="2834" y="1728"/>
                  </a:moveTo>
                  <a:cubicBezTo>
                    <a:pt x="2816" y="1729"/>
                    <a:pt x="2800" y="1717"/>
                    <a:pt x="2799" y="1702"/>
                  </a:cubicBezTo>
                  <a:cubicBezTo>
                    <a:pt x="2797" y="1687"/>
                    <a:pt x="2811" y="1674"/>
                    <a:pt x="2830" y="1674"/>
                  </a:cubicBezTo>
                  <a:cubicBezTo>
                    <a:pt x="2848" y="1673"/>
                    <a:pt x="2864" y="1684"/>
                    <a:pt x="2865" y="1699"/>
                  </a:cubicBezTo>
                  <a:cubicBezTo>
                    <a:pt x="2866" y="1714"/>
                    <a:pt x="2852" y="1727"/>
                    <a:pt x="2834" y="1728"/>
                  </a:cubicBezTo>
                  <a:close/>
                  <a:moveTo>
                    <a:pt x="2885" y="1746"/>
                  </a:moveTo>
                  <a:cubicBezTo>
                    <a:pt x="2904" y="1745"/>
                    <a:pt x="2920" y="1757"/>
                    <a:pt x="2921" y="1772"/>
                  </a:cubicBezTo>
                  <a:cubicBezTo>
                    <a:pt x="2923" y="1787"/>
                    <a:pt x="2909" y="1799"/>
                    <a:pt x="2890" y="1800"/>
                  </a:cubicBezTo>
                  <a:cubicBezTo>
                    <a:pt x="2871" y="1801"/>
                    <a:pt x="2855" y="1790"/>
                    <a:pt x="2854" y="1775"/>
                  </a:cubicBezTo>
                  <a:cubicBezTo>
                    <a:pt x="2853" y="1760"/>
                    <a:pt x="2867" y="1747"/>
                    <a:pt x="2885" y="1746"/>
                  </a:cubicBezTo>
                  <a:close/>
                  <a:moveTo>
                    <a:pt x="2784" y="1805"/>
                  </a:moveTo>
                  <a:cubicBezTo>
                    <a:pt x="2765" y="1806"/>
                    <a:pt x="2750" y="1794"/>
                    <a:pt x="2749" y="1779"/>
                  </a:cubicBezTo>
                  <a:cubicBezTo>
                    <a:pt x="2748" y="1764"/>
                    <a:pt x="2762" y="1751"/>
                    <a:pt x="2780" y="1751"/>
                  </a:cubicBezTo>
                  <a:cubicBezTo>
                    <a:pt x="2799" y="1750"/>
                    <a:pt x="2815" y="1761"/>
                    <a:pt x="2816" y="1776"/>
                  </a:cubicBezTo>
                  <a:cubicBezTo>
                    <a:pt x="2817" y="1791"/>
                    <a:pt x="2803" y="1804"/>
                    <a:pt x="2784" y="1805"/>
                  </a:cubicBezTo>
                  <a:close/>
                  <a:moveTo>
                    <a:pt x="2729" y="1732"/>
                  </a:moveTo>
                  <a:cubicBezTo>
                    <a:pt x="2711" y="1733"/>
                    <a:pt x="2695" y="1721"/>
                    <a:pt x="2694" y="1706"/>
                  </a:cubicBezTo>
                  <a:cubicBezTo>
                    <a:pt x="2693" y="1691"/>
                    <a:pt x="2707" y="1678"/>
                    <a:pt x="2726" y="1678"/>
                  </a:cubicBezTo>
                  <a:cubicBezTo>
                    <a:pt x="2744" y="1677"/>
                    <a:pt x="2760" y="1689"/>
                    <a:pt x="2761" y="1704"/>
                  </a:cubicBezTo>
                  <a:cubicBezTo>
                    <a:pt x="2762" y="1719"/>
                    <a:pt x="2748" y="1731"/>
                    <a:pt x="2729" y="1732"/>
                  </a:cubicBezTo>
                  <a:close/>
                  <a:moveTo>
                    <a:pt x="2710" y="1780"/>
                  </a:moveTo>
                  <a:cubicBezTo>
                    <a:pt x="2711" y="1795"/>
                    <a:pt x="2697" y="1808"/>
                    <a:pt x="2678" y="1809"/>
                  </a:cubicBezTo>
                  <a:cubicBezTo>
                    <a:pt x="2659" y="1809"/>
                    <a:pt x="2644" y="1798"/>
                    <a:pt x="2643" y="1783"/>
                  </a:cubicBezTo>
                  <a:cubicBezTo>
                    <a:pt x="2642" y="1768"/>
                    <a:pt x="2657" y="1755"/>
                    <a:pt x="2675" y="1754"/>
                  </a:cubicBezTo>
                  <a:cubicBezTo>
                    <a:pt x="2694" y="1754"/>
                    <a:pt x="2709" y="1765"/>
                    <a:pt x="2710" y="1780"/>
                  </a:cubicBezTo>
                  <a:close/>
                  <a:moveTo>
                    <a:pt x="2624" y="1735"/>
                  </a:moveTo>
                  <a:cubicBezTo>
                    <a:pt x="2606" y="1736"/>
                    <a:pt x="2590" y="1724"/>
                    <a:pt x="2590" y="1709"/>
                  </a:cubicBezTo>
                  <a:cubicBezTo>
                    <a:pt x="2589" y="1694"/>
                    <a:pt x="2603" y="1682"/>
                    <a:pt x="2622" y="1681"/>
                  </a:cubicBezTo>
                  <a:cubicBezTo>
                    <a:pt x="2640" y="1681"/>
                    <a:pt x="2656" y="1692"/>
                    <a:pt x="2656" y="1707"/>
                  </a:cubicBezTo>
                  <a:cubicBezTo>
                    <a:pt x="2657" y="1722"/>
                    <a:pt x="2643" y="1735"/>
                    <a:pt x="2624" y="1735"/>
                  </a:cubicBezTo>
                  <a:close/>
                  <a:moveTo>
                    <a:pt x="2605" y="1784"/>
                  </a:moveTo>
                  <a:cubicBezTo>
                    <a:pt x="2605" y="1799"/>
                    <a:pt x="2591" y="1811"/>
                    <a:pt x="2572" y="1812"/>
                  </a:cubicBezTo>
                  <a:cubicBezTo>
                    <a:pt x="2554" y="1812"/>
                    <a:pt x="2538" y="1801"/>
                    <a:pt x="2537" y="1786"/>
                  </a:cubicBezTo>
                  <a:cubicBezTo>
                    <a:pt x="2537" y="1770"/>
                    <a:pt x="2552" y="1758"/>
                    <a:pt x="2570" y="1757"/>
                  </a:cubicBezTo>
                  <a:cubicBezTo>
                    <a:pt x="2589" y="1757"/>
                    <a:pt x="2604" y="1769"/>
                    <a:pt x="2605" y="1784"/>
                  </a:cubicBezTo>
                  <a:close/>
                  <a:moveTo>
                    <a:pt x="2520" y="1738"/>
                  </a:moveTo>
                  <a:cubicBezTo>
                    <a:pt x="2501" y="1739"/>
                    <a:pt x="2486" y="1727"/>
                    <a:pt x="2485" y="1712"/>
                  </a:cubicBezTo>
                  <a:cubicBezTo>
                    <a:pt x="2485" y="1697"/>
                    <a:pt x="2499" y="1684"/>
                    <a:pt x="2518" y="1684"/>
                  </a:cubicBezTo>
                  <a:cubicBezTo>
                    <a:pt x="2536" y="1683"/>
                    <a:pt x="2551" y="1695"/>
                    <a:pt x="2552" y="1710"/>
                  </a:cubicBezTo>
                  <a:cubicBezTo>
                    <a:pt x="2553" y="1725"/>
                    <a:pt x="2538" y="1738"/>
                    <a:pt x="2520" y="1738"/>
                  </a:cubicBezTo>
                  <a:close/>
                  <a:moveTo>
                    <a:pt x="2499" y="1786"/>
                  </a:moveTo>
                  <a:cubicBezTo>
                    <a:pt x="2500" y="1801"/>
                    <a:pt x="2485" y="1814"/>
                    <a:pt x="2466" y="1814"/>
                  </a:cubicBezTo>
                  <a:cubicBezTo>
                    <a:pt x="2448" y="1815"/>
                    <a:pt x="2432" y="1803"/>
                    <a:pt x="2432" y="1788"/>
                  </a:cubicBezTo>
                  <a:cubicBezTo>
                    <a:pt x="2432" y="1773"/>
                    <a:pt x="2446" y="1760"/>
                    <a:pt x="2465" y="1760"/>
                  </a:cubicBezTo>
                  <a:cubicBezTo>
                    <a:pt x="2483" y="1759"/>
                    <a:pt x="2499" y="1771"/>
                    <a:pt x="2499" y="1786"/>
                  </a:cubicBezTo>
                  <a:close/>
                  <a:moveTo>
                    <a:pt x="2415" y="1740"/>
                  </a:moveTo>
                  <a:cubicBezTo>
                    <a:pt x="2396" y="1740"/>
                    <a:pt x="2381" y="1728"/>
                    <a:pt x="2381" y="1713"/>
                  </a:cubicBezTo>
                  <a:cubicBezTo>
                    <a:pt x="2381" y="1698"/>
                    <a:pt x="2395" y="1686"/>
                    <a:pt x="2414" y="1685"/>
                  </a:cubicBezTo>
                  <a:cubicBezTo>
                    <a:pt x="2432" y="1685"/>
                    <a:pt x="2447" y="1697"/>
                    <a:pt x="2448" y="1712"/>
                  </a:cubicBezTo>
                  <a:cubicBezTo>
                    <a:pt x="2448" y="1727"/>
                    <a:pt x="2433" y="1740"/>
                    <a:pt x="2415" y="1740"/>
                  </a:cubicBezTo>
                  <a:close/>
                  <a:moveTo>
                    <a:pt x="2394" y="1788"/>
                  </a:moveTo>
                  <a:cubicBezTo>
                    <a:pt x="2394" y="1803"/>
                    <a:pt x="2379" y="1816"/>
                    <a:pt x="2360" y="1816"/>
                  </a:cubicBezTo>
                  <a:cubicBezTo>
                    <a:pt x="2342" y="1816"/>
                    <a:pt x="2326" y="1804"/>
                    <a:pt x="2326" y="1789"/>
                  </a:cubicBezTo>
                  <a:cubicBezTo>
                    <a:pt x="2326" y="1774"/>
                    <a:pt x="2341" y="1762"/>
                    <a:pt x="2360" y="1761"/>
                  </a:cubicBezTo>
                  <a:cubicBezTo>
                    <a:pt x="2378" y="1761"/>
                    <a:pt x="2393" y="1773"/>
                    <a:pt x="2394" y="1788"/>
                  </a:cubicBezTo>
                  <a:close/>
                  <a:moveTo>
                    <a:pt x="2310" y="1741"/>
                  </a:moveTo>
                  <a:cubicBezTo>
                    <a:pt x="2291" y="1741"/>
                    <a:pt x="2276" y="1729"/>
                    <a:pt x="2277" y="1714"/>
                  </a:cubicBezTo>
                  <a:cubicBezTo>
                    <a:pt x="2277" y="1699"/>
                    <a:pt x="2291" y="1687"/>
                    <a:pt x="2310" y="1687"/>
                  </a:cubicBezTo>
                  <a:cubicBezTo>
                    <a:pt x="2328" y="1686"/>
                    <a:pt x="2343" y="1699"/>
                    <a:pt x="2343" y="1714"/>
                  </a:cubicBezTo>
                  <a:cubicBezTo>
                    <a:pt x="2343" y="1729"/>
                    <a:pt x="2328" y="1741"/>
                    <a:pt x="2310" y="1741"/>
                  </a:cubicBezTo>
                  <a:close/>
                  <a:moveTo>
                    <a:pt x="2288" y="1789"/>
                  </a:moveTo>
                  <a:cubicBezTo>
                    <a:pt x="2288" y="1804"/>
                    <a:pt x="2273" y="1817"/>
                    <a:pt x="2254" y="1817"/>
                  </a:cubicBezTo>
                  <a:cubicBezTo>
                    <a:pt x="2236" y="1817"/>
                    <a:pt x="2221" y="1805"/>
                    <a:pt x="2221" y="1790"/>
                  </a:cubicBezTo>
                  <a:cubicBezTo>
                    <a:pt x="2221" y="1774"/>
                    <a:pt x="2236" y="1762"/>
                    <a:pt x="2255" y="1762"/>
                  </a:cubicBezTo>
                  <a:cubicBezTo>
                    <a:pt x="2273" y="1762"/>
                    <a:pt x="2288" y="1774"/>
                    <a:pt x="2288" y="1789"/>
                  </a:cubicBezTo>
                  <a:close/>
                  <a:moveTo>
                    <a:pt x="2205" y="1742"/>
                  </a:moveTo>
                  <a:cubicBezTo>
                    <a:pt x="2187" y="1742"/>
                    <a:pt x="2172" y="1729"/>
                    <a:pt x="2172" y="1714"/>
                  </a:cubicBezTo>
                  <a:cubicBezTo>
                    <a:pt x="2172" y="1699"/>
                    <a:pt x="2187" y="1687"/>
                    <a:pt x="2206" y="1687"/>
                  </a:cubicBezTo>
                  <a:cubicBezTo>
                    <a:pt x="2224" y="1687"/>
                    <a:pt x="2239" y="1699"/>
                    <a:pt x="2239" y="1714"/>
                  </a:cubicBezTo>
                  <a:cubicBezTo>
                    <a:pt x="2239" y="1729"/>
                    <a:pt x="2224" y="1742"/>
                    <a:pt x="2205" y="1742"/>
                  </a:cubicBezTo>
                  <a:close/>
                  <a:moveTo>
                    <a:pt x="2183" y="1790"/>
                  </a:moveTo>
                  <a:cubicBezTo>
                    <a:pt x="2182" y="1805"/>
                    <a:pt x="2167" y="1817"/>
                    <a:pt x="2148" y="1817"/>
                  </a:cubicBezTo>
                  <a:cubicBezTo>
                    <a:pt x="2130" y="1817"/>
                    <a:pt x="2115" y="1805"/>
                    <a:pt x="2115" y="1789"/>
                  </a:cubicBezTo>
                  <a:cubicBezTo>
                    <a:pt x="2116" y="1774"/>
                    <a:pt x="2131" y="1762"/>
                    <a:pt x="2149" y="1762"/>
                  </a:cubicBezTo>
                  <a:cubicBezTo>
                    <a:pt x="2168" y="1762"/>
                    <a:pt x="2183" y="1775"/>
                    <a:pt x="2183" y="1790"/>
                  </a:cubicBezTo>
                  <a:close/>
                  <a:moveTo>
                    <a:pt x="2119" y="1636"/>
                  </a:moveTo>
                  <a:cubicBezTo>
                    <a:pt x="2120" y="1621"/>
                    <a:pt x="2135" y="1609"/>
                    <a:pt x="2153" y="1609"/>
                  </a:cubicBezTo>
                  <a:cubicBezTo>
                    <a:pt x="2171" y="1609"/>
                    <a:pt x="2185" y="1621"/>
                    <a:pt x="2185" y="1636"/>
                  </a:cubicBezTo>
                  <a:cubicBezTo>
                    <a:pt x="2185" y="1651"/>
                    <a:pt x="2170" y="1664"/>
                    <a:pt x="2152" y="1664"/>
                  </a:cubicBezTo>
                  <a:cubicBezTo>
                    <a:pt x="2133" y="1664"/>
                    <a:pt x="2119" y="1651"/>
                    <a:pt x="2119" y="1636"/>
                  </a:cubicBezTo>
                  <a:close/>
                  <a:moveTo>
                    <a:pt x="2175" y="1561"/>
                  </a:moveTo>
                  <a:cubicBezTo>
                    <a:pt x="2175" y="1546"/>
                    <a:pt x="2190" y="1534"/>
                    <a:pt x="2208" y="1534"/>
                  </a:cubicBezTo>
                  <a:cubicBezTo>
                    <a:pt x="2226" y="1534"/>
                    <a:pt x="2240" y="1546"/>
                    <a:pt x="2240" y="1561"/>
                  </a:cubicBezTo>
                  <a:cubicBezTo>
                    <a:pt x="2240" y="1576"/>
                    <a:pt x="2225" y="1588"/>
                    <a:pt x="2207" y="1588"/>
                  </a:cubicBezTo>
                  <a:cubicBezTo>
                    <a:pt x="2189" y="1588"/>
                    <a:pt x="2175" y="1576"/>
                    <a:pt x="2175" y="1561"/>
                  </a:cubicBezTo>
                  <a:close/>
                  <a:moveTo>
                    <a:pt x="2256" y="1609"/>
                  </a:moveTo>
                  <a:cubicBezTo>
                    <a:pt x="2274" y="1609"/>
                    <a:pt x="2288" y="1621"/>
                    <a:pt x="2288" y="1636"/>
                  </a:cubicBezTo>
                  <a:cubicBezTo>
                    <a:pt x="2288" y="1651"/>
                    <a:pt x="2273" y="1664"/>
                    <a:pt x="2255" y="1664"/>
                  </a:cubicBezTo>
                  <a:cubicBezTo>
                    <a:pt x="2237" y="1664"/>
                    <a:pt x="2222" y="1651"/>
                    <a:pt x="2222" y="1636"/>
                  </a:cubicBezTo>
                  <a:cubicBezTo>
                    <a:pt x="2223" y="1621"/>
                    <a:pt x="2237" y="1609"/>
                    <a:pt x="2256" y="1609"/>
                  </a:cubicBezTo>
                  <a:close/>
                  <a:moveTo>
                    <a:pt x="2277" y="1561"/>
                  </a:moveTo>
                  <a:cubicBezTo>
                    <a:pt x="2277" y="1546"/>
                    <a:pt x="2292" y="1534"/>
                    <a:pt x="2309" y="1534"/>
                  </a:cubicBezTo>
                  <a:cubicBezTo>
                    <a:pt x="2327" y="1533"/>
                    <a:pt x="2342" y="1546"/>
                    <a:pt x="2342" y="1561"/>
                  </a:cubicBezTo>
                  <a:cubicBezTo>
                    <a:pt x="2342" y="1576"/>
                    <a:pt x="2328" y="1588"/>
                    <a:pt x="2310" y="1588"/>
                  </a:cubicBezTo>
                  <a:cubicBezTo>
                    <a:pt x="2292" y="1588"/>
                    <a:pt x="2277" y="1576"/>
                    <a:pt x="2277" y="1561"/>
                  </a:cubicBezTo>
                  <a:close/>
                  <a:moveTo>
                    <a:pt x="2358" y="1608"/>
                  </a:moveTo>
                  <a:cubicBezTo>
                    <a:pt x="2376" y="1608"/>
                    <a:pt x="2391" y="1620"/>
                    <a:pt x="2392" y="1635"/>
                  </a:cubicBezTo>
                  <a:cubicBezTo>
                    <a:pt x="2392" y="1650"/>
                    <a:pt x="2377" y="1663"/>
                    <a:pt x="2359" y="1663"/>
                  </a:cubicBezTo>
                  <a:cubicBezTo>
                    <a:pt x="2341" y="1663"/>
                    <a:pt x="2326" y="1651"/>
                    <a:pt x="2326" y="1636"/>
                  </a:cubicBezTo>
                  <a:cubicBezTo>
                    <a:pt x="2326" y="1621"/>
                    <a:pt x="2340" y="1608"/>
                    <a:pt x="2358" y="1608"/>
                  </a:cubicBezTo>
                  <a:close/>
                  <a:moveTo>
                    <a:pt x="2379" y="1560"/>
                  </a:moveTo>
                  <a:cubicBezTo>
                    <a:pt x="2379" y="1545"/>
                    <a:pt x="2393" y="1533"/>
                    <a:pt x="2411" y="1533"/>
                  </a:cubicBezTo>
                  <a:cubicBezTo>
                    <a:pt x="2429" y="1532"/>
                    <a:pt x="2444" y="1544"/>
                    <a:pt x="2444" y="1559"/>
                  </a:cubicBezTo>
                  <a:cubicBezTo>
                    <a:pt x="2445" y="1574"/>
                    <a:pt x="2430" y="1587"/>
                    <a:pt x="2412" y="1587"/>
                  </a:cubicBezTo>
                  <a:cubicBezTo>
                    <a:pt x="2394" y="1587"/>
                    <a:pt x="2379" y="1575"/>
                    <a:pt x="2379" y="1560"/>
                  </a:cubicBezTo>
                  <a:close/>
                  <a:moveTo>
                    <a:pt x="2461" y="1607"/>
                  </a:moveTo>
                  <a:cubicBezTo>
                    <a:pt x="2479" y="1607"/>
                    <a:pt x="2494" y="1619"/>
                    <a:pt x="2495" y="1634"/>
                  </a:cubicBezTo>
                  <a:cubicBezTo>
                    <a:pt x="2495" y="1649"/>
                    <a:pt x="2481" y="1661"/>
                    <a:pt x="2462" y="1661"/>
                  </a:cubicBezTo>
                  <a:cubicBezTo>
                    <a:pt x="2444" y="1662"/>
                    <a:pt x="2429" y="1650"/>
                    <a:pt x="2429" y="1635"/>
                  </a:cubicBezTo>
                  <a:cubicBezTo>
                    <a:pt x="2429" y="1620"/>
                    <a:pt x="2443" y="1607"/>
                    <a:pt x="2461" y="1607"/>
                  </a:cubicBezTo>
                  <a:close/>
                  <a:moveTo>
                    <a:pt x="2481" y="1559"/>
                  </a:moveTo>
                  <a:cubicBezTo>
                    <a:pt x="2481" y="1544"/>
                    <a:pt x="2495" y="1531"/>
                    <a:pt x="2513" y="1531"/>
                  </a:cubicBezTo>
                  <a:cubicBezTo>
                    <a:pt x="2531" y="1531"/>
                    <a:pt x="2546" y="1542"/>
                    <a:pt x="2546" y="1557"/>
                  </a:cubicBezTo>
                  <a:cubicBezTo>
                    <a:pt x="2547" y="1572"/>
                    <a:pt x="2533" y="1585"/>
                    <a:pt x="2515" y="1585"/>
                  </a:cubicBezTo>
                  <a:cubicBezTo>
                    <a:pt x="2497" y="1586"/>
                    <a:pt x="2482" y="1574"/>
                    <a:pt x="2481" y="1559"/>
                  </a:cubicBezTo>
                  <a:close/>
                  <a:moveTo>
                    <a:pt x="2564" y="1605"/>
                  </a:moveTo>
                  <a:cubicBezTo>
                    <a:pt x="2582" y="1604"/>
                    <a:pt x="2597" y="1616"/>
                    <a:pt x="2598" y="1631"/>
                  </a:cubicBezTo>
                  <a:cubicBezTo>
                    <a:pt x="2599" y="1646"/>
                    <a:pt x="2584" y="1659"/>
                    <a:pt x="2566" y="1659"/>
                  </a:cubicBezTo>
                  <a:cubicBezTo>
                    <a:pt x="2548" y="1660"/>
                    <a:pt x="2533" y="1648"/>
                    <a:pt x="2532" y="1633"/>
                  </a:cubicBezTo>
                  <a:cubicBezTo>
                    <a:pt x="2532" y="1618"/>
                    <a:pt x="2546" y="1605"/>
                    <a:pt x="2564" y="1605"/>
                  </a:cubicBezTo>
                  <a:close/>
                  <a:moveTo>
                    <a:pt x="2583" y="1557"/>
                  </a:moveTo>
                  <a:cubicBezTo>
                    <a:pt x="2583" y="1542"/>
                    <a:pt x="2597" y="1529"/>
                    <a:pt x="2614" y="1528"/>
                  </a:cubicBezTo>
                  <a:cubicBezTo>
                    <a:pt x="2632" y="1528"/>
                    <a:pt x="2648" y="1540"/>
                    <a:pt x="2648" y="1555"/>
                  </a:cubicBezTo>
                  <a:cubicBezTo>
                    <a:pt x="2649" y="1570"/>
                    <a:pt x="2635" y="1582"/>
                    <a:pt x="2617" y="1583"/>
                  </a:cubicBezTo>
                  <a:cubicBezTo>
                    <a:pt x="2599" y="1583"/>
                    <a:pt x="2584" y="1572"/>
                    <a:pt x="2583" y="1557"/>
                  </a:cubicBezTo>
                  <a:close/>
                  <a:moveTo>
                    <a:pt x="2667" y="1602"/>
                  </a:moveTo>
                  <a:cubicBezTo>
                    <a:pt x="2685" y="1601"/>
                    <a:pt x="2700" y="1613"/>
                    <a:pt x="2701" y="1628"/>
                  </a:cubicBezTo>
                  <a:cubicBezTo>
                    <a:pt x="2702" y="1643"/>
                    <a:pt x="2688" y="1656"/>
                    <a:pt x="2670" y="1656"/>
                  </a:cubicBezTo>
                  <a:cubicBezTo>
                    <a:pt x="2651" y="1657"/>
                    <a:pt x="2636" y="1645"/>
                    <a:pt x="2635" y="1630"/>
                  </a:cubicBezTo>
                  <a:cubicBezTo>
                    <a:pt x="2635" y="1615"/>
                    <a:pt x="2649" y="1603"/>
                    <a:pt x="2667" y="1602"/>
                  </a:cubicBezTo>
                  <a:close/>
                  <a:moveTo>
                    <a:pt x="2685" y="1554"/>
                  </a:moveTo>
                  <a:cubicBezTo>
                    <a:pt x="2684" y="1539"/>
                    <a:pt x="2698" y="1526"/>
                    <a:pt x="2716" y="1525"/>
                  </a:cubicBezTo>
                  <a:cubicBezTo>
                    <a:pt x="2734" y="1525"/>
                    <a:pt x="2749" y="1536"/>
                    <a:pt x="2750" y="1551"/>
                  </a:cubicBezTo>
                  <a:cubicBezTo>
                    <a:pt x="2751" y="1566"/>
                    <a:pt x="2738" y="1579"/>
                    <a:pt x="2720" y="1580"/>
                  </a:cubicBezTo>
                  <a:cubicBezTo>
                    <a:pt x="2701" y="1580"/>
                    <a:pt x="2686" y="1569"/>
                    <a:pt x="2685" y="1554"/>
                  </a:cubicBezTo>
                  <a:close/>
                  <a:moveTo>
                    <a:pt x="2769" y="1598"/>
                  </a:moveTo>
                  <a:cubicBezTo>
                    <a:pt x="2788" y="1598"/>
                    <a:pt x="2803" y="1609"/>
                    <a:pt x="2804" y="1624"/>
                  </a:cubicBezTo>
                  <a:cubicBezTo>
                    <a:pt x="2805" y="1639"/>
                    <a:pt x="2792" y="1652"/>
                    <a:pt x="2773" y="1653"/>
                  </a:cubicBezTo>
                  <a:cubicBezTo>
                    <a:pt x="2755" y="1653"/>
                    <a:pt x="2739" y="1642"/>
                    <a:pt x="2738" y="1627"/>
                  </a:cubicBezTo>
                  <a:cubicBezTo>
                    <a:pt x="2737" y="1612"/>
                    <a:pt x="2751" y="1599"/>
                    <a:pt x="2769" y="1598"/>
                  </a:cubicBezTo>
                  <a:close/>
                  <a:moveTo>
                    <a:pt x="2818" y="1522"/>
                  </a:moveTo>
                  <a:cubicBezTo>
                    <a:pt x="2836" y="1521"/>
                    <a:pt x="2851" y="1532"/>
                    <a:pt x="2852" y="1547"/>
                  </a:cubicBezTo>
                  <a:cubicBezTo>
                    <a:pt x="2854" y="1562"/>
                    <a:pt x="2840" y="1575"/>
                    <a:pt x="2822" y="1576"/>
                  </a:cubicBezTo>
                  <a:cubicBezTo>
                    <a:pt x="2804" y="1577"/>
                    <a:pt x="2788" y="1565"/>
                    <a:pt x="2787" y="1550"/>
                  </a:cubicBezTo>
                  <a:cubicBezTo>
                    <a:pt x="2786" y="1535"/>
                    <a:pt x="2800" y="1522"/>
                    <a:pt x="2818" y="1522"/>
                  </a:cubicBezTo>
                  <a:close/>
                  <a:moveTo>
                    <a:pt x="2872" y="1594"/>
                  </a:moveTo>
                  <a:cubicBezTo>
                    <a:pt x="2890" y="1593"/>
                    <a:pt x="2906" y="1605"/>
                    <a:pt x="2907" y="1620"/>
                  </a:cubicBezTo>
                  <a:cubicBezTo>
                    <a:pt x="2909" y="1635"/>
                    <a:pt x="2895" y="1647"/>
                    <a:pt x="2877" y="1648"/>
                  </a:cubicBezTo>
                  <a:cubicBezTo>
                    <a:pt x="2859" y="1649"/>
                    <a:pt x="2843" y="1638"/>
                    <a:pt x="2842" y="1623"/>
                  </a:cubicBezTo>
                  <a:cubicBezTo>
                    <a:pt x="2840" y="1608"/>
                    <a:pt x="2854" y="1595"/>
                    <a:pt x="2872" y="1594"/>
                  </a:cubicBezTo>
                  <a:close/>
                  <a:moveTo>
                    <a:pt x="2934" y="1669"/>
                  </a:moveTo>
                  <a:cubicBezTo>
                    <a:pt x="2952" y="1668"/>
                    <a:pt x="2968" y="1679"/>
                    <a:pt x="2969" y="1694"/>
                  </a:cubicBezTo>
                  <a:cubicBezTo>
                    <a:pt x="2971" y="1709"/>
                    <a:pt x="2957" y="1722"/>
                    <a:pt x="2939" y="1723"/>
                  </a:cubicBezTo>
                  <a:cubicBezTo>
                    <a:pt x="2920" y="1724"/>
                    <a:pt x="2904" y="1712"/>
                    <a:pt x="2903" y="1697"/>
                  </a:cubicBezTo>
                  <a:cubicBezTo>
                    <a:pt x="2902" y="1683"/>
                    <a:pt x="2915" y="1670"/>
                    <a:pt x="2934" y="1669"/>
                  </a:cubicBezTo>
                  <a:close/>
                  <a:moveTo>
                    <a:pt x="2990" y="1741"/>
                  </a:moveTo>
                  <a:cubicBezTo>
                    <a:pt x="3009" y="1740"/>
                    <a:pt x="3025" y="1751"/>
                    <a:pt x="3027" y="1766"/>
                  </a:cubicBezTo>
                  <a:cubicBezTo>
                    <a:pt x="3028" y="1781"/>
                    <a:pt x="3015" y="1794"/>
                    <a:pt x="2996" y="1795"/>
                  </a:cubicBezTo>
                  <a:cubicBezTo>
                    <a:pt x="2977" y="1796"/>
                    <a:pt x="2961" y="1785"/>
                    <a:pt x="2959" y="1770"/>
                  </a:cubicBezTo>
                  <a:cubicBezTo>
                    <a:pt x="2958" y="1755"/>
                    <a:pt x="2972" y="1742"/>
                    <a:pt x="2990" y="1741"/>
                  </a:cubicBezTo>
                  <a:close/>
                  <a:moveTo>
                    <a:pt x="2975" y="1589"/>
                  </a:moveTo>
                  <a:cubicBezTo>
                    <a:pt x="2993" y="1588"/>
                    <a:pt x="3009" y="1599"/>
                    <a:pt x="3011" y="1614"/>
                  </a:cubicBezTo>
                  <a:cubicBezTo>
                    <a:pt x="3012" y="1629"/>
                    <a:pt x="2999" y="1642"/>
                    <a:pt x="2980" y="1643"/>
                  </a:cubicBezTo>
                  <a:cubicBezTo>
                    <a:pt x="2962" y="1644"/>
                    <a:pt x="2946" y="1633"/>
                    <a:pt x="2945" y="1618"/>
                  </a:cubicBezTo>
                  <a:cubicBezTo>
                    <a:pt x="2943" y="1603"/>
                    <a:pt x="2957" y="1590"/>
                    <a:pt x="2975" y="1589"/>
                  </a:cubicBezTo>
                  <a:close/>
                  <a:moveTo>
                    <a:pt x="3037" y="1663"/>
                  </a:moveTo>
                  <a:cubicBezTo>
                    <a:pt x="3056" y="1662"/>
                    <a:pt x="3072" y="1673"/>
                    <a:pt x="3074" y="1688"/>
                  </a:cubicBezTo>
                  <a:cubicBezTo>
                    <a:pt x="3075" y="1703"/>
                    <a:pt x="3062" y="1716"/>
                    <a:pt x="3043" y="1717"/>
                  </a:cubicBezTo>
                  <a:cubicBezTo>
                    <a:pt x="3025" y="1718"/>
                    <a:pt x="3009" y="1707"/>
                    <a:pt x="3007" y="1692"/>
                  </a:cubicBezTo>
                  <a:cubicBezTo>
                    <a:pt x="3006" y="1677"/>
                    <a:pt x="3019" y="1664"/>
                    <a:pt x="3037" y="1663"/>
                  </a:cubicBezTo>
                  <a:close/>
                  <a:moveTo>
                    <a:pt x="3095" y="1735"/>
                  </a:moveTo>
                  <a:cubicBezTo>
                    <a:pt x="3114" y="1734"/>
                    <a:pt x="3130" y="1745"/>
                    <a:pt x="3132" y="1760"/>
                  </a:cubicBezTo>
                  <a:cubicBezTo>
                    <a:pt x="3134" y="1775"/>
                    <a:pt x="3120" y="1788"/>
                    <a:pt x="3102" y="1789"/>
                  </a:cubicBezTo>
                  <a:cubicBezTo>
                    <a:pt x="3083" y="1790"/>
                    <a:pt x="3067" y="1779"/>
                    <a:pt x="3065" y="1764"/>
                  </a:cubicBezTo>
                  <a:cubicBezTo>
                    <a:pt x="3063" y="1749"/>
                    <a:pt x="3077" y="1736"/>
                    <a:pt x="3095" y="1735"/>
                  </a:cubicBezTo>
                  <a:close/>
                  <a:moveTo>
                    <a:pt x="3078" y="1583"/>
                  </a:moveTo>
                  <a:cubicBezTo>
                    <a:pt x="3096" y="1582"/>
                    <a:pt x="3112" y="1593"/>
                    <a:pt x="3114" y="1608"/>
                  </a:cubicBezTo>
                  <a:cubicBezTo>
                    <a:pt x="3116" y="1623"/>
                    <a:pt x="3102" y="1636"/>
                    <a:pt x="3084" y="1637"/>
                  </a:cubicBezTo>
                  <a:cubicBezTo>
                    <a:pt x="3066" y="1638"/>
                    <a:pt x="3050" y="1627"/>
                    <a:pt x="3048" y="1612"/>
                  </a:cubicBezTo>
                  <a:cubicBezTo>
                    <a:pt x="3046" y="1597"/>
                    <a:pt x="3060" y="1584"/>
                    <a:pt x="3078" y="1583"/>
                  </a:cubicBezTo>
                  <a:close/>
                  <a:moveTo>
                    <a:pt x="3141" y="1657"/>
                  </a:moveTo>
                  <a:cubicBezTo>
                    <a:pt x="3160" y="1656"/>
                    <a:pt x="3176" y="1667"/>
                    <a:pt x="3178" y="1682"/>
                  </a:cubicBezTo>
                  <a:cubicBezTo>
                    <a:pt x="3180" y="1697"/>
                    <a:pt x="3167" y="1710"/>
                    <a:pt x="3148" y="1711"/>
                  </a:cubicBezTo>
                  <a:cubicBezTo>
                    <a:pt x="3130" y="1712"/>
                    <a:pt x="3113" y="1701"/>
                    <a:pt x="3111" y="1686"/>
                  </a:cubicBezTo>
                  <a:cubicBezTo>
                    <a:pt x="3110" y="1671"/>
                    <a:pt x="3123" y="1658"/>
                    <a:pt x="3141" y="1657"/>
                  </a:cubicBezTo>
                  <a:close/>
                  <a:moveTo>
                    <a:pt x="3200" y="1728"/>
                  </a:moveTo>
                  <a:cubicBezTo>
                    <a:pt x="3219" y="1727"/>
                    <a:pt x="3236" y="1738"/>
                    <a:pt x="3238" y="1753"/>
                  </a:cubicBezTo>
                  <a:cubicBezTo>
                    <a:pt x="3240" y="1767"/>
                    <a:pt x="3226" y="1781"/>
                    <a:pt x="3208" y="1782"/>
                  </a:cubicBezTo>
                  <a:cubicBezTo>
                    <a:pt x="3189" y="1783"/>
                    <a:pt x="3172" y="1772"/>
                    <a:pt x="3170" y="1757"/>
                  </a:cubicBezTo>
                  <a:cubicBezTo>
                    <a:pt x="3168" y="1742"/>
                    <a:pt x="3182" y="1729"/>
                    <a:pt x="3200" y="1728"/>
                  </a:cubicBezTo>
                  <a:close/>
                  <a:moveTo>
                    <a:pt x="3266" y="1801"/>
                  </a:moveTo>
                  <a:cubicBezTo>
                    <a:pt x="3285" y="1799"/>
                    <a:pt x="3302" y="1810"/>
                    <a:pt x="3304" y="1825"/>
                  </a:cubicBezTo>
                  <a:cubicBezTo>
                    <a:pt x="3306" y="1840"/>
                    <a:pt x="3293" y="1853"/>
                    <a:pt x="3274" y="1855"/>
                  </a:cubicBezTo>
                  <a:cubicBezTo>
                    <a:pt x="3255" y="1856"/>
                    <a:pt x="3238" y="1845"/>
                    <a:pt x="3236" y="1830"/>
                  </a:cubicBezTo>
                  <a:cubicBezTo>
                    <a:pt x="3234" y="1815"/>
                    <a:pt x="3248" y="1802"/>
                    <a:pt x="3266" y="1801"/>
                  </a:cubicBezTo>
                  <a:close/>
                  <a:moveTo>
                    <a:pt x="3245" y="1650"/>
                  </a:moveTo>
                  <a:cubicBezTo>
                    <a:pt x="3263" y="1649"/>
                    <a:pt x="3280" y="1659"/>
                    <a:pt x="3282" y="1674"/>
                  </a:cubicBezTo>
                  <a:cubicBezTo>
                    <a:pt x="3284" y="1689"/>
                    <a:pt x="3271" y="1702"/>
                    <a:pt x="3253" y="1704"/>
                  </a:cubicBezTo>
                  <a:cubicBezTo>
                    <a:pt x="3234" y="1705"/>
                    <a:pt x="3218" y="1694"/>
                    <a:pt x="3216" y="1679"/>
                  </a:cubicBezTo>
                  <a:cubicBezTo>
                    <a:pt x="3214" y="1664"/>
                    <a:pt x="3227" y="1651"/>
                    <a:pt x="3245" y="1650"/>
                  </a:cubicBezTo>
                  <a:close/>
                  <a:moveTo>
                    <a:pt x="3305" y="1720"/>
                  </a:moveTo>
                  <a:cubicBezTo>
                    <a:pt x="3324" y="1719"/>
                    <a:pt x="3341" y="1730"/>
                    <a:pt x="3343" y="1745"/>
                  </a:cubicBezTo>
                  <a:cubicBezTo>
                    <a:pt x="3345" y="1760"/>
                    <a:pt x="3332" y="1773"/>
                    <a:pt x="3313" y="1774"/>
                  </a:cubicBezTo>
                  <a:cubicBezTo>
                    <a:pt x="3295" y="1776"/>
                    <a:pt x="3278" y="1765"/>
                    <a:pt x="3276" y="1750"/>
                  </a:cubicBezTo>
                  <a:cubicBezTo>
                    <a:pt x="3274" y="1735"/>
                    <a:pt x="3287" y="1722"/>
                    <a:pt x="3305" y="1720"/>
                  </a:cubicBezTo>
                  <a:close/>
                  <a:moveTo>
                    <a:pt x="3373" y="1793"/>
                  </a:moveTo>
                  <a:cubicBezTo>
                    <a:pt x="3391" y="1791"/>
                    <a:pt x="3408" y="1802"/>
                    <a:pt x="3411" y="1817"/>
                  </a:cubicBezTo>
                  <a:cubicBezTo>
                    <a:pt x="3413" y="1832"/>
                    <a:pt x="3400" y="1845"/>
                    <a:pt x="3381" y="1846"/>
                  </a:cubicBezTo>
                  <a:cubicBezTo>
                    <a:pt x="3362" y="1848"/>
                    <a:pt x="3345" y="1837"/>
                    <a:pt x="3343" y="1822"/>
                  </a:cubicBezTo>
                  <a:cubicBezTo>
                    <a:pt x="3341" y="1807"/>
                    <a:pt x="3354" y="1794"/>
                    <a:pt x="3373" y="1793"/>
                  </a:cubicBezTo>
                  <a:close/>
                  <a:moveTo>
                    <a:pt x="3435" y="1863"/>
                  </a:moveTo>
                  <a:cubicBezTo>
                    <a:pt x="3454" y="1861"/>
                    <a:pt x="3471" y="1872"/>
                    <a:pt x="3474" y="1886"/>
                  </a:cubicBezTo>
                  <a:cubicBezTo>
                    <a:pt x="3476" y="1901"/>
                    <a:pt x="3463" y="1915"/>
                    <a:pt x="3444" y="1916"/>
                  </a:cubicBezTo>
                  <a:cubicBezTo>
                    <a:pt x="3425" y="1918"/>
                    <a:pt x="3407" y="1907"/>
                    <a:pt x="3405" y="1892"/>
                  </a:cubicBezTo>
                  <a:cubicBezTo>
                    <a:pt x="3403" y="1877"/>
                    <a:pt x="3416" y="1864"/>
                    <a:pt x="3435" y="1863"/>
                  </a:cubicBezTo>
                  <a:close/>
                  <a:moveTo>
                    <a:pt x="3405" y="1997"/>
                  </a:moveTo>
                  <a:cubicBezTo>
                    <a:pt x="3385" y="1999"/>
                    <a:pt x="3368" y="1988"/>
                    <a:pt x="3366" y="1973"/>
                  </a:cubicBezTo>
                  <a:cubicBezTo>
                    <a:pt x="3363" y="1958"/>
                    <a:pt x="3377" y="1945"/>
                    <a:pt x="3396" y="1943"/>
                  </a:cubicBezTo>
                  <a:cubicBezTo>
                    <a:pt x="3415" y="1942"/>
                    <a:pt x="3433" y="1953"/>
                    <a:pt x="3435" y="1967"/>
                  </a:cubicBezTo>
                  <a:cubicBezTo>
                    <a:pt x="3438" y="1982"/>
                    <a:pt x="3424" y="1996"/>
                    <a:pt x="3405" y="1997"/>
                  </a:cubicBezTo>
                  <a:close/>
                  <a:moveTo>
                    <a:pt x="3336" y="1925"/>
                  </a:moveTo>
                  <a:cubicBezTo>
                    <a:pt x="3317" y="1926"/>
                    <a:pt x="3300" y="1916"/>
                    <a:pt x="3297" y="1901"/>
                  </a:cubicBezTo>
                  <a:cubicBezTo>
                    <a:pt x="3295" y="1886"/>
                    <a:pt x="3309" y="1873"/>
                    <a:pt x="3328" y="1871"/>
                  </a:cubicBezTo>
                  <a:cubicBezTo>
                    <a:pt x="3347" y="1870"/>
                    <a:pt x="3364" y="1881"/>
                    <a:pt x="3366" y="1895"/>
                  </a:cubicBezTo>
                  <a:cubicBezTo>
                    <a:pt x="3368" y="1910"/>
                    <a:pt x="3355" y="1924"/>
                    <a:pt x="3336" y="1925"/>
                  </a:cubicBezTo>
                  <a:close/>
                  <a:moveTo>
                    <a:pt x="3295" y="2006"/>
                  </a:moveTo>
                  <a:cubicBezTo>
                    <a:pt x="3276" y="2007"/>
                    <a:pt x="3259" y="1996"/>
                    <a:pt x="3257" y="1981"/>
                  </a:cubicBezTo>
                  <a:cubicBezTo>
                    <a:pt x="3255" y="1966"/>
                    <a:pt x="3269" y="1953"/>
                    <a:pt x="3288" y="1952"/>
                  </a:cubicBezTo>
                  <a:cubicBezTo>
                    <a:pt x="3307" y="1950"/>
                    <a:pt x="3324" y="1961"/>
                    <a:pt x="3326" y="1976"/>
                  </a:cubicBezTo>
                  <a:cubicBezTo>
                    <a:pt x="3329" y="1991"/>
                    <a:pt x="3315" y="2004"/>
                    <a:pt x="3295" y="2006"/>
                  </a:cubicBezTo>
                  <a:close/>
                  <a:moveTo>
                    <a:pt x="3228" y="1933"/>
                  </a:moveTo>
                  <a:cubicBezTo>
                    <a:pt x="3209" y="1934"/>
                    <a:pt x="3192" y="1923"/>
                    <a:pt x="3190" y="1908"/>
                  </a:cubicBezTo>
                  <a:cubicBezTo>
                    <a:pt x="3188" y="1893"/>
                    <a:pt x="3202" y="1880"/>
                    <a:pt x="3220" y="1879"/>
                  </a:cubicBezTo>
                  <a:cubicBezTo>
                    <a:pt x="3239" y="1878"/>
                    <a:pt x="3256" y="1889"/>
                    <a:pt x="3258" y="1904"/>
                  </a:cubicBezTo>
                  <a:cubicBezTo>
                    <a:pt x="3260" y="1918"/>
                    <a:pt x="3247" y="1932"/>
                    <a:pt x="3228" y="1933"/>
                  </a:cubicBezTo>
                  <a:close/>
                  <a:moveTo>
                    <a:pt x="3167" y="1862"/>
                  </a:moveTo>
                  <a:cubicBezTo>
                    <a:pt x="3148" y="1863"/>
                    <a:pt x="3132" y="1852"/>
                    <a:pt x="3130" y="1837"/>
                  </a:cubicBezTo>
                  <a:cubicBezTo>
                    <a:pt x="3128" y="1822"/>
                    <a:pt x="3142" y="1809"/>
                    <a:pt x="3160" y="1808"/>
                  </a:cubicBezTo>
                  <a:cubicBezTo>
                    <a:pt x="3179" y="1807"/>
                    <a:pt x="3196" y="1818"/>
                    <a:pt x="3198" y="1833"/>
                  </a:cubicBezTo>
                  <a:cubicBezTo>
                    <a:pt x="3200" y="1848"/>
                    <a:pt x="3186" y="1861"/>
                    <a:pt x="3167" y="1862"/>
                  </a:cubicBezTo>
                  <a:close/>
                  <a:moveTo>
                    <a:pt x="3120" y="1940"/>
                  </a:moveTo>
                  <a:cubicBezTo>
                    <a:pt x="3100" y="1941"/>
                    <a:pt x="3084" y="1930"/>
                    <a:pt x="3082" y="1915"/>
                  </a:cubicBezTo>
                  <a:cubicBezTo>
                    <a:pt x="3080" y="1900"/>
                    <a:pt x="3094" y="1887"/>
                    <a:pt x="3113" y="1886"/>
                  </a:cubicBezTo>
                  <a:cubicBezTo>
                    <a:pt x="3132" y="1885"/>
                    <a:pt x="3149" y="1896"/>
                    <a:pt x="3151" y="1911"/>
                  </a:cubicBezTo>
                  <a:cubicBezTo>
                    <a:pt x="3153" y="1926"/>
                    <a:pt x="3139" y="1939"/>
                    <a:pt x="3120" y="1940"/>
                  </a:cubicBezTo>
                  <a:close/>
                  <a:moveTo>
                    <a:pt x="3060" y="1869"/>
                  </a:moveTo>
                  <a:cubicBezTo>
                    <a:pt x="3041" y="1870"/>
                    <a:pt x="3025" y="1859"/>
                    <a:pt x="3023" y="1844"/>
                  </a:cubicBezTo>
                  <a:cubicBezTo>
                    <a:pt x="3022" y="1829"/>
                    <a:pt x="3035" y="1816"/>
                    <a:pt x="3054" y="1815"/>
                  </a:cubicBezTo>
                  <a:cubicBezTo>
                    <a:pt x="3073" y="1814"/>
                    <a:pt x="3089" y="1825"/>
                    <a:pt x="3091" y="1840"/>
                  </a:cubicBezTo>
                  <a:cubicBezTo>
                    <a:pt x="3093" y="1855"/>
                    <a:pt x="3079" y="1868"/>
                    <a:pt x="3060" y="1869"/>
                  </a:cubicBezTo>
                  <a:close/>
                  <a:moveTo>
                    <a:pt x="3011" y="1947"/>
                  </a:moveTo>
                  <a:cubicBezTo>
                    <a:pt x="2992" y="1948"/>
                    <a:pt x="2976" y="1936"/>
                    <a:pt x="2974" y="1921"/>
                  </a:cubicBezTo>
                  <a:cubicBezTo>
                    <a:pt x="2973" y="1906"/>
                    <a:pt x="2987" y="1894"/>
                    <a:pt x="3006" y="1892"/>
                  </a:cubicBezTo>
                  <a:cubicBezTo>
                    <a:pt x="3025" y="1891"/>
                    <a:pt x="3041" y="1903"/>
                    <a:pt x="3043" y="1918"/>
                  </a:cubicBezTo>
                  <a:cubicBezTo>
                    <a:pt x="3045" y="1933"/>
                    <a:pt x="3030" y="1946"/>
                    <a:pt x="3011" y="1947"/>
                  </a:cubicBezTo>
                  <a:close/>
                  <a:moveTo>
                    <a:pt x="2953" y="1875"/>
                  </a:moveTo>
                  <a:cubicBezTo>
                    <a:pt x="2934" y="1876"/>
                    <a:pt x="2918" y="1864"/>
                    <a:pt x="2916" y="1849"/>
                  </a:cubicBezTo>
                  <a:cubicBezTo>
                    <a:pt x="2915" y="1834"/>
                    <a:pt x="2929" y="1822"/>
                    <a:pt x="2948" y="1821"/>
                  </a:cubicBezTo>
                  <a:cubicBezTo>
                    <a:pt x="2967" y="1820"/>
                    <a:pt x="2983" y="1831"/>
                    <a:pt x="2985" y="1846"/>
                  </a:cubicBezTo>
                  <a:cubicBezTo>
                    <a:pt x="2986" y="1861"/>
                    <a:pt x="2972" y="1874"/>
                    <a:pt x="2953" y="1875"/>
                  </a:cubicBezTo>
                  <a:close/>
                  <a:moveTo>
                    <a:pt x="2903" y="1952"/>
                  </a:moveTo>
                  <a:cubicBezTo>
                    <a:pt x="2884" y="1953"/>
                    <a:pt x="2868" y="1942"/>
                    <a:pt x="2866" y="1927"/>
                  </a:cubicBezTo>
                  <a:cubicBezTo>
                    <a:pt x="2865" y="1912"/>
                    <a:pt x="2880" y="1899"/>
                    <a:pt x="2898" y="1898"/>
                  </a:cubicBezTo>
                  <a:cubicBezTo>
                    <a:pt x="2917" y="1897"/>
                    <a:pt x="2934" y="1908"/>
                    <a:pt x="2935" y="1923"/>
                  </a:cubicBezTo>
                  <a:cubicBezTo>
                    <a:pt x="2937" y="1938"/>
                    <a:pt x="2922" y="1951"/>
                    <a:pt x="2903" y="1952"/>
                  </a:cubicBezTo>
                  <a:close/>
                  <a:moveTo>
                    <a:pt x="2846" y="1880"/>
                  </a:moveTo>
                  <a:cubicBezTo>
                    <a:pt x="2827" y="1881"/>
                    <a:pt x="2811" y="1869"/>
                    <a:pt x="2810" y="1854"/>
                  </a:cubicBezTo>
                  <a:cubicBezTo>
                    <a:pt x="2809" y="1839"/>
                    <a:pt x="2823" y="1827"/>
                    <a:pt x="2842" y="1826"/>
                  </a:cubicBezTo>
                  <a:cubicBezTo>
                    <a:pt x="2860" y="1825"/>
                    <a:pt x="2877" y="1836"/>
                    <a:pt x="2878" y="1851"/>
                  </a:cubicBezTo>
                  <a:cubicBezTo>
                    <a:pt x="2879" y="1866"/>
                    <a:pt x="2865" y="1879"/>
                    <a:pt x="2846" y="1880"/>
                  </a:cubicBezTo>
                  <a:close/>
                  <a:moveTo>
                    <a:pt x="2795" y="1957"/>
                  </a:moveTo>
                  <a:cubicBezTo>
                    <a:pt x="2776" y="1958"/>
                    <a:pt x="2760" y="1946"/>
                    <a:pt x="2759" y="1931"/>
                  </a:cubicBezTo>
                  <a:cubicBezTo>
                    <a:pt x="2758" y="1916"/>
                    <a:pt x="2772" y="1904"/>
                    <a:pt x="2791" y="1903"/>
                  </a:cubicBezTo>
                  <a:cubicBezTo>
                    <a:pt x="2810" y="1902"/>
                    <a:pt x="2826" y="1914"/>
                    <a:pt x="2827" y="1929"/>
                  </a:cubicBezTo>
                  <a:cubicBezTo>
                    <a:pt x="2829" y="1944"/>
                    <a:pt x="2814" y="1956"/>
                    <a:pt x="2795" y="1957"/>
                  </a:cubicBezTo>
                  <a:close/>
                  <a:moveTo>
                    <a:pt x="2739" y="1884"/>
                  </a:moveTo>
                  <a:cubicBezTo>
                    <a:pt x="2720" y="1885"/>
                    <a:pt x="2704" y="1873"/>
                    <a:pt x="2703" y="1858"/>
                  </a:cubicBezTo>
                  <a:cubicBezTo>
                    <a:pt x="2702" y="1843"/>
                    <a:pt x="2717" y="1831"/>
                    <a:pt x="2735" y="1830"/>
                  </a:cubicBezTo>
                  <a:cubicBezTo>
                    <a:pt x="2754" y="1829"/>
                    <a:pt x="2770" y="1841"/>
                    <a:pt x="2771" y="1856"/>
                  </a:cubicBezTo>
                  <a:cubicBezTo>
                    <a:pt x="2772" y="1871"/>
                    <a:pt x="2758" y="1884"/>
                    <a:pt x="2739" y="1884"/>
                  </a:cubicBezTo>
                  <a:close/>
                  <a:moveTo>
                    <a:pt x="2720" y="1933"/>
                  </a:moveTo>
                  <a:cubicBezTo>
                    <a:pt x="2720" y="1948"/>
                    <a:pt x="2706" y="1961"/>
                    <a:pt x="2687" y="1961"/>
                  </a:cubicBezTo>
                  <a:cubicBezTo>
                    <a:pt x="2668" y="1962"/>
                    <a:pt x="2651" y="1950"/>
                    <a:pt x="2651" y="1935"/>
                  </a:cubicBezTo>
                  <a:cubicBezTo>
                    <a:pt x="2650" y="1920"/>
                    <a:pt x="2665" y="1907"/>
                    <a:pt x="2684" y="1907"/>
                  </a:cubicBezTo>
                  <a:cubicBezTo>
                    <a:pt x="2703" y="1906"/>
                    <a:pt x="2719" y="1918"/>
                    <a:pt x="2720" y="1933"/>
                  </a:cubicBezTo>
                  <a:close/>
                  <a:moveTo>
                    <a:pt x="2632" y="1888"/>
                  </a:moveTo>
                  <a:cubicBezTo>
                    <a:pt x="2613" y="1889"/>
                    <a:pt x="2597" y="1877"/>
                    <a:pt x="2596" y="1862"/>
                  </a:cubicBezTo>
                  <a:cubicBezTo>
                    <a:pt x="2596" y="1847"/>
                    <a:pt x="2610" y="1834"/>
                    <a:pt x="2629" y="1834"/>
                  </a:cubicBezTo>
                  <a:cubicBezTo>
                    <a:pt x="2648" y="1833"/>
                    <a:pt x="2664" y="1845"/>
                    <a:pt x="2664" y="1860"/>
                  </a:cubicBezTo>
                  <a:cubicBezTo>
                    <a:pt x="2665" y="1875"/>
                    <a:pt x="2651" y="1887"/>
                    <a:pt x="2632" y="1888"/>
                  </a:cubicBezTo>
                  <a:close/>
                  <a:moveTo>
                    <a:pt x="2612" y="1936"/>
                  </a:moveTo>
                  <a:cubicBezTo>
                    <a:pt x="2612" y="1951"/>
                    <a:pt x="2597" y="1964"/>
                    <a:pt x="2578" y="1965"/>
                  </a:cubicBezTo>
                  <a:cubicBezTo>
                    <a:pt x="2559" y="1965"/>
                    <a:pt x="2543" y="1953"/>
                    <a:pt x="2543" y="1938"/>
                  </a:cubicBezTo>
                  <a:cubicBezTo>
                    <a:pt x="2542" y="1923"/>
                    <a:pt x="2557" y="1911"/>
                    <a:pt x="2576" y="1910"/>
                  </a:cubicBezTo>
                  <a:cubicBezTo>
                    <a:pt x="2595" y="1910"/>
                    <a:pt x="2611" y="1921"/>
                    <a:pt x="2612" y="1936"/>
                  </a:cubicBezTo>
                  <a:close/>
                  <a:moveTo>
                    <a:pt x="2525" y="1891"/>
                  </a:moveTo>
                  <a:cubicBezTo>
                    <a:pt x="2506" y="1891"/>
                    <a:pt x="2490" y="1879"/>
                    <a:pt x="2490" y="1864"/>
                  </a:cubicBezTo>
                  <a:cubicBezTo>
                    <a:pt x="2489" y="1849"/>
                    <a:pt x="2504" y="1837"/>
                    <a:pt x="2523" y="1836"/>
                  </a:cubicBezTo>
                  <a:cubicBezTo>
                    <a:pt x="2542" y="1836"/>
                    <a:pt x="2557" y="1848"/>
                    <a:pt x="2558" y="1863"/>
                  </a:cubicBezTo>
                  <a:cubicBezTo>
                    <a:pt x="2558" y="1878"/>
                    <a:pt x="2543" y="1890"/>
                    <a:pt x="2525" y="1891"/>
                  </a:cubicBezTo>
                  <a:close/>
                  <a:moveTo>
                    <a:pt x="2504" y="1939"/>
                  </a:moveTo>
                  <a:cubicBezTo>
                    <a:pt x="2504" y="1954"/>
                    <a:pt x="2489" y="1967"/>
                    <a:pt x="2470" y="1967"/>
                  </a:cubicBezTo>
                  <a:cubicBezTo>
                    <a:pt x="2451" y="1968"/>
                    <a:pt x="2435" y="1956"/>
                    <a:pt x="2435" y="1941"/>
                  </a:cubicBezTo>
                  <a:cubicBezTo>
                    <a:pt x="2435" y="1925"/>
                    <a:pt x="2450" y="1913"/>
                    <a:pt x="2469" y="1913"/>
                  </a:cubicBezTo>
                  <a:cubicBezTo>
                    <a:pt x="2488" y="1912"/>
                    <a:pt x="2503" y="1924"/>
                    <a:pt x="2504" y="1939"/>
                  </a:cubicBezTo>
                  <a:close/>
                  <a:moveTo>
                    <a:pt x="2417" y="1893"/>
                  </a:moveTo>
                  <a:cubicBezTo>
                    <a:pt x="2399" y="1893"/>
                    <a:pt x="2383" y="1881"/>
                    <a:pt x="2383" y="1866"/>
                  </a:cubicBezTo>
                  <a:cubicBezTo>
                    <a:pt x="2383" y="1851"/>
                    <a:pt x="2398" y="1839"/>
                    <a:pt x="2416" y="1838"/>
                  </a:cubicBezTo>
                  <a:cubicBezTo>
                    <a:pt x="2435" y="1838"/>
                    <a:pt x="2451" y="1850"/>
                    <a:pt x="2451" y="1865"/>
                  </a:cubicBezTo>
                  <a:cubicBezTo>
                    <a:pt x="2451" y="1880"/>
                    <a:pt x="2436" y="1893"/>
                    <a:pt x="2417" y="1893"/>
                  </a:cubicBezTo>
                  <a:close/>
                  <a:moveTo>
                    <a:pt x="2396" y="1941"/>
                  </a:moveTo>
                  <a:cubicBezTo>
                    <a:pt x="2396" y="1956"/>
                    <a:pt x="2381" y="1969"/>
                    <a:pt x="2362" y="1969"/>
                  </a:cubicBezTo>
                  <a:cubicBezTo>
                    <a:pt x="2343" y="1969"/>
                    <a:pt x="2327" y="1957"/>
                    <a:pt x="2327" y="1942"/>
                  </a:cubicBezTo>
                  <a:cubicBezTo>
                    <a:pt x="2327" y="1927"/>
                    <a:pt x="2342" y="1915"/>
                    <a:pt x="2361" y="1914"/>
                  </a:cubicBezTo>
                  <a:cubicBezTo>
                    <a:pt x="2380" y="1914"/>
                    <a:pt x="2396" y="1926"/>
                    <a:pt x="2396" y="1941"/>
                  </a:cubicBezTo>
                  <a:close/>
                  <a:moveTo>
                    <a:pt x="2310" y="1894"/>
                  </a:moveTo>
                  <a:cubicBezTo>
                    <a:pt x="2291" y="1895"/>
                    <a:pt x="2276" y="1882"/>
                    <a:pt x="2276" y="1867"/>
                  </a:cubicBezTo>
                  <a:cubicBezTo>
                    <a:pt x="2276" y="1852"/>
                    <a:pt x="2291" y="1840"/>
                    <a:pt x="2310" y="1840"/>
                  </a:cubicBezTo>
                  <a:cubicBezTo>
                    <a:pt x="2329" y="1840"/>
                    <a:pt x="2344" y="1852"/>
                    <a:pt x="2344" y="1867"/>
                  </a:cubicBezTo>
                  <a:cubicBezTo>
                    <a:pt x="2344" y="1882"/>
                    <a:pt x="2329" y="1894"/>
                    <a:pt x="2310" y="1894"/>
                  </a:cubicBezTo>
                  <a:close/>
                  <a:moveTo>
                    <a:pt x="2288" y="1942"/>
                  </a:moveTo>
                  <a:cubicBezTo>
                    <a:pt x="2288" y="1958"/>
                    <a:pt x="2272" y="1970"/>
                    <a:pt x="2253" y="1970"/>
                  </a:cubicBezTo>
                  <a:cubicBezTo>
                    <a:pt x="2234" y="1970"/>
                    <a:pt x="2219" y="1958"/>
                    <a:pt x="2219" y="1943"/>
                  </a:cubicBezTo>
                  <a:cubicBezTo>
                    <a:pt x="2219" y="1928"/>
                    <a:pt x="2235" y="1915"/>
                    <a:pt x="2254" y="1915"/>
                  </a:cubicBezTo>
                  <a:cubicBezTo>
                    <a:pt x="2273" y="1915"/>
                    <a:pt x="2288" y="1927"/>
                    <a:pt x="2288" y="1942"/>
                  </a:cubicBezTo>
                  <a:close/>
                  <a:moveTo>
                    <a:pt x="2203" y="1895"/>
                  </a:moveTo>
                  <a:cubicBezTo>
                    <a:pt x="2184" y="1895"/>
                    <a:pt x="2169" y="1883"/>
                    <a:pt x="2169" y="1868"/>
                  </a:cubicBezTo>
                  <a:cubicBezTo>
                    <a:pt x="2170" y="1852"/>
                    <a:pt x="2185" y="1840"/>
                    <a:pt x="2204" y="1840"/>
                  </a:cubicBezTo>
                  <a:cubicBezTo>
                    <a:pt x="2223" y="1840"/>
                    <a:pt x="2238" y="1852"/>
                    <a:pt x="2237" y="1867"/>
                  </a:cubicBezTo>
                  <a:cubicBezTo>
                    <a:pt x="2237" y="1883"/>
                    <a:pt x="2222" y="1895"/>
                    <a:pt x="2203" y="1895"/>
                  </a:cubicBezTo>
                  <a:close/>
                  <a:moveTo>
                    <a:pt x="2180" y="1943"/>
                  </a:moveTo>
                  <a:cubicBezTo>
                    <a:pt x="2180" y="1958"/>
                    <a:pt x="2164" y="1970"/>
                    <a:pt x="2145" y="1970"/>
                  </a:cubicBezTo>
                  <a:cubicBezTo>
                    <a:pt x="2126" y="1970"/>
                    <a:pt x="2111" y="1958"/>
                    <a:pt x="2111" y="1943"/>
                  </a:cubicBezTo>
                  <a:cubicBezTo>
                    <a:pt x="2112" y="1928"/>
                    <a:pt x="2127" y="1915"/>
                    <a:pt x="2146" y="1916"/>
                  </a:cubicBezTo>
                  <a:cubicBezTo>
                    <a:pt x="2165" y="1916"/>
                    <a:pt x="2180" y="1928"/>
                    <a:pt x="2180" y="1943"/>
                  </a:cubicBezTo>
                  <a:close/>
                  <a:moveTo>
                    <a:pt x="2096" y="1895"/>
                  </a:moveTo>
                  <a:cubicBezTo>
                    <a:pt x="2077" y="1895"/>
                    <a:pt x="2062" y="1882"/>
                    <a:pt x="2063" y="1867"/>
                  </a:cubicBezTo>
                  <a:cubicBezTo>
                    <a:pt x="2063" y="1852"/>
                    <a:pt x="2079" y="1840"/>
                    <a:pt x="2097" y="1840"/>
                  </a:cubicBezTo>
                  <a:cubicBezTo>
                    <a:pt x="2116" y="1840"/>
                    <a:pt x="2131" y="1852"/>
                    <a:pt x="2131" y="1868"/>
                  </a:cubicBezTo>
                  <a:cubicBezTo>
                    <a:pt x="2130" y="1883"/>
                    <a:pt x="2115" y="1895"/>
                    <a:pt x="2096" y="1895"/>
                  </a:cubicBezTo>
                  <a:close/>
                  <a:moveTo>
                    <a:pt x="2072" y="1943"/>
                  </a:moveTo>
                  <a:cubicBezTo>
                    <a:pt x="2072" y="1958"/>
                    <a:pt x="2056" y="1970"/>
                    <a:pt x="2037" y="1970"/>
                  </a:cubicBezTo>
                  <a:cubicBezTo>
                    <a:pt x="2018" y="1970"/>
                    <a:pt x="2003" y="1957"/>
                    <a:pt x="2003" y="1942"/>
                  </a:cubicBezTo>
                  <a:cubicBezTo>
                    <a:pt x="2004" y="1927"/>
                    <a:pt x="2020" y="1915"/>
                    <a:pt x="2039" y="1915"/>
                  </a:cubicBezTo>
                  <a:cubicBezTo>
                    <a:pt x="2058" y="1915"/>
                    <a:pt x="2073" y="1927"/>
                    <a:pt x="2072" y="1943"/>
                  </a:cubicBezTo>
                  <a:close/>
                  <a:moveTo>
                    <a:pt x="1989" y="1894"/>
                  </a:moveTo>
                  <a:cubicBezTo>
                    <a:pt x="1970" y="1894"/>
                    <a:pt x="1955" y="1881"/>
                    <a:pt x="1956" y="1866"/>
                  </a:cubicBezTo>
                  <a:cubicBezTo>
                    <a:pt x="1956" y="1851"/>
                    <a:pt x="1972" y="1839"/>
                    <a:pt x="1991" y="1839"/>
                  </a:cubicBezTo>
                  <a:cubicBezTo>
                    <a:pt x="2010" y="1839"/>
                    <a:pt x="2024" y="1852"/>
                    <a:pt x="2024" y="1867"/>
                  </a:cubicBezTo>
                  <a:cubicBezTo>
                    <a:pt x="2023" y="1882"/>
                    <a:pt x="2008" y="1894"/>
                    <a:pt x="1989" y="1894"/>
                  </a:cubicBezTo>
                  <a:close/>
                  <a:moveTo>
                    <a:pt x="1964" y="1942"/>
                  </a:moveTo>
                  <a:cubicBezTo>
                    <a:pt x="1963" y="1957"/>
                    <a:pt x="1947" y="1969"/>
                    <a:pt x="1928" y="1968"/>
                  </a:cubicBezTo>
                  <a:cubicBezTo>
                    <a:pt x="1909" y="1968"/>
                    <a:pt x="1894" y="1956"/>
                    <a:pt x="1895" y="1940"/>
                  </a:cubicBezTo>
                  <a:cubicBezTo>
                    <a:pt x="1896" y="1925"/>
                    <a:pt x="1912" y="1913"/>
                    <a:pt x="1931" y="1914"/>
                  </a:cubicBezTo>
                  <a:cubicBezTo>
                    <a:pt x="1950" y="1914"/>
                    <a:pt x="1965" y="1926"/>
                    <a:pt x="1964" y="1942"/>
                  </a:cubicBezTo>
                  <a:close/>
                  <a:moveTo>
                    <a:pt x="1881" y="1892"/>
                  </a:moveTo>
                  <a:cubicBezTo>
                    <a:pt x="1863" y="1892"/>
                    <a:pt x="1848" y="1879"/>
                    <a:pt x="1849" y="1864"/>
                  </a:cubicBezTo>
                  <a:cubicBezTo>
                    <a:pt x="1850" y="1849"/>
                    <a:pt x="1866" y="1837"/>
                    <a:pt x="1885" y="1837"/>
                  </a:cubicBezTo>
                  <a:cubicBezTo>
                    <a:pt x="1903" y="1838"/>
                    <a:pt x="1918" y="1850"/>
                    <a:pt x="1917" y="1865"/>
                  </a:cubicBezTo>
                  <a:cubicBezTo>
                    <a:pt x="1916" y="1880"/>
                    <a:pt x="1900" y="1892"/>
                    <a:pt x="1881" y="1892"/>
                  </a:cubicBezTo>
                  <a:close/>
                  <a:moveTo>
                    <a:pt x="1856" y="1940"/>
                  </a:moveTo>
                  <a:cubicBezTo>
                    <a:pt x="1855" y="1955"/>
                    <a:pt x="1839" y="1967"/>
                    <a:pt x="1820" y="1966"/>
                  </a:cubicBezTo>
                  <a:cubicBezTo>
                    <a:pt x="1801" y="1966"/>
                    <a:pt x="1786" y="1953"/>
                    <a:pt x="1787" y="1938"/>
                  </a:cubicBezTo>
                  <a:cubicBezTo>
                    <a:pt x="1788" y="1923"/>
                    <a:pt x="1805" y="1911"/>
                    <a:pt x="1824" y="1912"/>
                  </a:cubicBezTo>
                  <a:cubicBezTo>
                    <a:pt x="1843" y="1912"/>
                    <a:pt x="1857" y="1925"/>
                    <a:pt x="1856" y="1940"/>
                  </a:cubicBezTo>
                  <a:close/>
                  <a:moveTo>
                    <a:pt x="1774" y="1890"/>
                  </a:moveTo>
                  <a:cubicBezTo>
                    <a:pt x="1755" y="1889"/>
                    <a:pt x="1741" y="1876"/>
                    <a:pt x="1742" y="1861"/>
                  </a:cubicBezTo>
                  <a:cubicBezTo>
                    <a:pt x="1743" y="1846"/>
                    <a:pt x="1760" y="1834"/>
                    <a:pt x="1778" y="1835"/>
                  </a:cubicBezTo>
                  <a:cubicBezTo>
                    <a:pt x="1797" y="1835"/>
                    <a:pt x="1811" y="1848"/>
                    <a:pt x="1810" y="1863"/>
                  </a:cubicBezTo>
                  <a:cubicBezTo>
                    <a:pt x="1809" y="1878"/>
                    <a:pt x="1793" y="1890"/>
                    <a:pt x="1774" y="1890"/>
                  </a:cubicBezTo>
                  <a:close/>
                  <a:moveTo>
                    <a:pt x="1748" y="1937"/>
                  </a:moveTo>
                  <a:cubicBezTo>
                    <a:pt x="1747" y="1952"/>
                    <a:pt x="1731" y="1964"/>
                    <a:pt x="1712" y="1964"/>
                  </a:cubicBezTo>
                  <a:cubicBezTo>
                    <a:pt x="1693" y="1963"/>
                    <a:pt x="1678" y="1950"/>
                    <a:pt x="1679" y="1935"/>
                  </a:cubicBezTo>
                  <a:cubicBezTo>
                    <a:pt x="1681" y="1920"/>
                    <a:pt x="1697" y="1908"/>
                    <a:pt x="1716" y="1909"/>
                  </a:cubicBezTo>
                  <a:cubicBezTo>
                    <a:pt x="1735" y="1909"/>
                    <a:pt x="1749" y="1922"/>
                    <a:pt x="1748" y="1937"/>
                  </a:cubicBezTo>
                  <a:close/>
                  <a:moveTo>
                    <a:pt x="1667" y="1886"/>
                  </a:moveTo>
                  <a:cubicBezTo>
                    <a:pt x="1648" y="1886"/>
                    <a:pt x="1634" y="1873"/>
                    <a:pt x="1635" y="1858"/>
                  </a:cubicBezTo>
                  <a:cubicBezTo>
                    <a:pt x="1637" y="1843"/>
                    <a:pt x="1653" y="1831"/>
                    <a:pt x="1672" y="1832"/>
                  </a:cubicBezTo>
                  <a:cubicBezTo>
                    <a:pt x="1691" y="1832"/>
                    <a:pt x="1705" y="1845"/>
                    <a:pt x="1704" y="1860"/>
                  </a:cubicBezTo>
                  <a:cubicBezTo>
                    <a:pt x="1702" y="1875"/>
                    <a:pt x="1686" y="1887"/>
                    <a:pt x="1667" y="1886"/>
                  </a:cubicBezTo>
                  <a:close/>
                  <a:moveTo>
                    <a:pt x="1640" y="1934"/>
                  </a:moveTo>
                  <a:cubicBezTo>
                    <a:pt x="1639" y="1949"/>
                    <a:pt x="1622" y="1961"/>
                    <a:pt x="1603" y="1960"/>
                  </a:cubicBezTo>
                  <a:cubicBezTo>
                    <a:pt x="1584" y="1959"/>
                    <a:pt x="1570" y="1946"/>
                    <a:pt x="1572" y="1931"/>
                  </a:cubicBezTo>
                  <a:cubicBezTo>
                    <a:pt x="1573" y="1916"/>
                    <a:pt x="1590" y="1904"/>
                    <a:pt x="1609" y="1905"/>
                  </a:cubicBezTo>
                  <a:cubicBezTo>
                    <a:pt x="1628" y="1906"/>
                    <a:pt x="1642" y="1919"/>
                    <a:pt x="1640" y="1934"/>
                  </a:cubicBezTo>
                  <a:close/>
                  <a:moveTo>
                    <a:pt x="1560" y="1882"/>
                  </a:moveTo>
                  <a:cubicBezTo>
                    <a:pt x="1541" y="1882"/>
                    <a:pt x="1527" y="1869"/>
                    <a:pt x="1529" y="1853"/>
                  </a:cubicBezTo>
                  <a:cubicBezTo>
                    <a:pt x="1530" y="1838"/>
                    <a:pt x="1547" y="1827"/>
                    <a:pt x="1566" y="1827"/>
                  </a:cubicBezTo>
                  <a:cubicBezTo>
                    <a:pt x="1584" y="1828"/>
                    <a:pt x="1598" y="1841"/>
                    <a:pt x="1597" y="1856"/>
                  </a:cubicBezTo>
                  <a:cubicBezTo>
                    <a:pt x="1595" y="1871"/>
                    <a:pt x="1579" y="1883"/>
                    <a:pt x="1560" y="1882"/>
                  </a:cubicBezTo>
                  <a:close/>
                  <a:moveTo>
                    <a:pt x="1533" y="1930"/>
                  </a:moveTo>
                  <a:cubicBezTo>
                    <a:pt x="1531" y="1945"/>
                    <a:pt x="1514" y="1956"/>
                    <a:pt x="1495" y="1956"/>
                  </a:cubicBezTo>
                  <a:cubicBezTo>
                    <a:pt x="1476" y="1955"/>
                    <a:pt x="1462" y="1942"/>
                    <a:pt x="1464" y="1927"/>
                  </a:cubicBezTo>
                  <a:cubicBezTo>
                    <a:pt x="1465" y="1911"/>
                    <a:pt x="1482" y="1900"/>
                    <a:pt x="1501" y="1901"/>
                  </a:cubicBezTo>
                  <a:cubicBezTo>
                    <a:pt x="1520" y="1901"/>
                    <a:pt x="1534" y="1914"/>
                    <a:pt x="1533" y="1930"/>
                  </a:cubicBezTo>
                  <a:close/>
                  <a:moveTo>
                    <a:pt x="1453" y="1878"/>
                  </a:moveTo>
                  <a:cubicBezTo>
                    <a:pt x="1434" y="1877"/>
                    <a:pt x="1420" y="1864"/>
                    <a:pt x="1422" y="1848"/>
                  </a:cubicBezTo>
                  <a:cubicBezTo>
                    <a:pt x="1424" y="1833"/>
                    <a:pt x="1441" y="1822"/>
                    <a:pt x="1459" y="1823"/>
                  </a:cubicBezTo>
                  <a:cubicBezTo>
                    <a:pt x="1478" y="1824"/>
                    <a:pt x="1492" y="1837"/>
                    <a:pt x="1490" y="1852"/>
                  </a:cubicBezTo>
                  <a:cubicBezTo>
                    <a:pt x="1488" y="1867"/>
                    <a:pt x="1472" y="1879"/>
                    <a:pt x="1453" y="1878"/>
                  </a:cubicBezTo>
                  <a:close/>
                  <a:moveTo>
                    <a:pt x="1425" y="1925"/>
                  </a:moveTo>
                  <a:cubicBezTo>
                    <a:pt x="1423" y="1940"/>
                    <a:pt x="1406" y="1951"/>
                    <a:pt x="1387" y="1950"/>
                  </a:cubicBezTo>
                  <a:cubicBezTo>
                    <a:pt x="1368" y="1949"/>
                    <a:pt x="1354" y="1936"/>
                    <a:pt x="1356" y="1921"/>
                  </a:cubicBezTo>
                  <a:cubicBezTo>
                    <a:pt x="1358" y="1906"/>
                    <a:pt x="1375" y="1894"/>
                    <a:pt x="1394" y="1895"/>
                  </a:cubicBezTo>
                  <a:cubicBezTo>
                    <a:pt x="1413" y="1896"/>
                    <a:pt x="1427" y="1909"/>
                    <a:pt x="1425" y="1925"/>
                  </a:cubicBezTo>
                  <a:close/>
                  <a:moveTo>
                    <a:pt x="1346" y="1872"/>
                  </a:moveTo>
                  <a:cubicBezTo>
                    <a:pt x="1327" y="1871"/>
                    <a:pt x="1313" y="1858"/>
                    <a:pt x="1315" y="1843"/>
                  </a:cubicBezTo>
                  <a:cubicBezTo>
                    <a:pt x="1317" y="1828"/>
                    <a:pt x="1334" y="1816"/>
                    <a:pt x="1353" y="1817"/>
                  </a:cubicBezTo>
                  <a:cubicBezTo>
                    <a:pt x="1372" y="1818"/>
                    <a:pt x="1385" y="1831"/>
                    <a:pt x="1383" y="1846"/>
                  </a:cubicBezTo>
                  <a:cubicBezTo>
                    <a:pt x="1381" y="1862"/>
                    <a:pt x="1365" y="1873"/>
                    <a:pt x="1346" y="1872"/>
                  </a:cubicBezTo>
                  <a:close/>
                  <a:moveTo>
                    <a:pt x="1317" y="1919"/>
                  </a:moveTo>
                  <a:cubicBezTo>
                    <a:pt x="1315" y="1934"/>
                    <a:pt x="1298" y="1946"/>
                    <a:pt x="1278" y="1944"/>
                  </a:cubicBezTo>
                  <a:cubicBezTo>
                    <a:pt x="1259" y="1943"/>
                    <a:pt x="1246" y="1930"/>
                    <a:pt x="1248" y="1915"/>
                  </a:cubicBezTo>
                  <a:cubicBezTo>
                    <a:pt x="1250" y="1900"/>
                    <a:pt x="1267" y="1888"/>
                    <a:pt x="1286" y="1890"/>
                  </a:cubicBezTo>
                  <a:cubicBezTo>
                    <a:pt x="1305" y="1891"/>
                    <a:pt x="1319" y="1904"/>
                    <a:pt x="1317" y="1919"/>
                  </a:cubicBezTo>
                  <a:close/>
                  <a:moveTo>
                    <a:pt x="1239" y="1866"/>
                  </a:moveTo>
                  <a:cubicBezTo>
                    <a:pt x="1220" y="1865"/>
                    <a:pt x="1206" y="1851"/>
                    <a:pt x="1209" y="1836"/>
                  </a:cubicBezTo>
                  <a:cubicBezTo>
                    <a:pt x="1211" y="1821"/>
                    <a:pt x="1228" y="1810"/>
                    <a:pt x="1247" y="1811"/>
                  </a:cubicBezTo>
                  <a:cubicBezTo>
                    <a:pt x="1266" y="1812"/>
                    <a:pt x="1279" y="1825"/>
                    <a:pt x="1277" y="1840"/>
                  </a:cubicBezTo>
                  <a:cubicBezTo>
                    <a:pt x="1275" y="1856"/>
                    <a:pt x="1257" y="1867"/>
                    <a:pt x="1239" y="1866"/>
                  </a:cubicBezTo>
                  <a:close/>
                  <a:moveTo>
                    <a:pt x="1209" y="1912"/>
                  </a:moveTo>
                  <a:cubicBezTo>
                    <a:pt x="1207" y="1928"/>
                    <a:pt x="1189" y="1939"/>
                    <a:pt x="1170" y="1938"/>
                  </a:cubicBezTo>
                  <a:cubicBezTo>
                    <a:pt x="1151" y="1936"/>
                    <a:pt x="1138" y="1923"/>
                    <a:pt x="1140" y="1908"/>
                  </a:cubicBezTo>
                  <a:cubicBezTo>
                    <a:pt x="1143" y="1893"/>
                    <a:pt x="1160" y="1882"/>
                    <a:pt x="1179" y="1883"/>
                  </a:cubicBezTo>
                  <a:cubicBezTo>
                    <a:pt x="1198" y="1884"/>
                    <a:pt x="1211" y="1897"/>
                    <a:pt x="1209" y="1912"/>
                  </a:cubicBezTo>
                  <a:close/>
                  <a:moveTo>
                    <a:pt x="1165" y="1754"/>
                  </a:moveTo>
                  <a:cubicBezTo>
                    <a:pt x="1168" y="1739"/>
                    <a:pt x="1185" y="1728"/>
                    <a:pt x="1203" y="1729"/>
                  </a:cubicBezTo>
                  <a:cubicBezTo>
                    <a:pt x="1222" y="1730"/>
                    <a:pt x="1235" y="1743"/>
                    <a:pt x="1233" y="1759"/>
                  </a:cubicBezTo>
                  <a:cubicBezTo>
                    <a:pt x="1230" y="1774"/>
                    <a:pt x="1213" y="1785"/>
                    <a:pt x="1195" y="1784"/>
                  </a:cubicBezTo>
                  <a:cubicBezTo>
                    <a:pt x="1176" y="1783"/>
                    <a:pt x="1163" y="1769"/>
                    <a:pt x="1165" y="1754"/>
                  </a:cubicBezTo>
                  <a:close/>
                  <a:moveTo>
                    <a:pt x="1233" y="1682"/>
                  </a:moveTo>
                  <a:cubicBezTo>
                    <a:pt x="1235" y="1667"/>
                    <a:pt x="1252" y="1656"/>
                    <a:pt x="1270" y="1657"/>
                  </a:cubicBezTo>
                  <a:cubicBezTo>
                    <a:pt x="1288" y="1658"/>
                    <a:pt x="1301" y="1671"/>
                    <a:pt x="1299" y="1687"/>
                  </a:cubicBezTo>
                  <a:cubicBezTo>
                    <a:pt x="1297" y="1702"/>
                    <a:pt x="1280" y="1713"/>
                    <a:pt x="1262" y="1712"/>
                  </a:cubicBezTo>
                  <a:cubicBezTo>
                    <a:pt x="1243" y="1711"/>
                    <a:pt x="1230" y="1697"/>
                    <a:pt x="1233" y="1682"/>
                  </a:cubicBezTo>
                  <a:close/>
                  <a:moveTo>
                    <a:pt x="1294" y="1607"/>
                  </a:moveTo>
                  <a:cubicBezTo>
                    <a:pt x="1296" y="1592"/>
                    <a:pt x="1312" y="1581"/>
                    <a:pt x="1330" y="1582"/>
                  </a:cubicBezTo>
                  <a:cubicBezTo>
                    <a:pt x="1349" y="1583"/>
                    <a:pt x="1362" y="1596"/>
                    <a:pt x="1359" y="1611"/>
                  </a:cubicBezTo>
                  <a:cubicBezTo>
                    <a:pt x="1357" y="1626"/>
                    <a:pt x="1341" y="1638"/>
                    <a:pt x="1323" y="1637"/>
                  </a:cubicBezTo>
                  <a:cubicBezTo>
                    <a:pt x="1304" y="1636"/>
                    <a:pt x="1291" y="1622"/>
                    <a:pt x="1294" y="1607"/>
                  </a:cubicBezTo>
                  <a:close/>
                  <a:moveTo>
                    <a:pt x="1358" y="1535"/>
                  </a:moveTo>
                  <a:cubicBezTo>
                    <a:pt x="1361" y="1520"/>
                    <a:pt x="1377" y="1508"/>
                    <a:pt x="1395" y="1509"/>
                  </a:cubicBezTo>
                  <a:cubicBezTo>
                    <a:pt x="1413" y="1511"/>
                    <a:pt x="1426" y="1524"/>
                    <a:pt x="1424" y="1539"/>
                  </a:cubicBezTo>
                  <a:cubicBezTo>
                    <a:pt x="1422" y="1554"/>
                    <a:pt x="1405" y="1565"/>
                    <a:pt x="1387" y="1564"/>
                  </a:cubicBezTo>
                  <a:cubicBezTo>
                    <a:pt x="1369" y="1563"/>
                    <a:pt x="1356" y="1550"/>
                    <a:pt x="1358" y="1535"/>
                  </a:cubicBezTo>
                  <a:close/>
                  <a:moveTo>
                    <a:pt x="1417" y="1460"/>
                  </a:moveTo>
                  <a:cubicBezTo>
                    <a:pt x="1419" y="1444"/>
                    <a:pt x="1435" y="1433"/>
                    <a:pt x="1453" y="1434"/>
                  </a:cubicBezTo>
                  <a:cubicBezTo>
                    <a:pt x="1471" y="1435"/>
                    <a:pt x="1483" y="1448"/>
                    <a:pt x="1482" y="1463"/>
                  </a:cubicBezTo>
                  <a:cubicBezTo>
                    <a:pt x="1480" y="1478"/>
                    <a:pt x="1464" y="1490"/>
                    <a:pt x="1446" y="1489"/>
                  </a:cubicBezTo>
                  <a:cubicBezTo>
                    <a:pt x="1428" y="1488"/>
                    <a:pt x="1415" y="1475"/>
                    <a:pt x="1417" y="1460"/>
                  </a:cubicBezTo>
                  <a:close/>
                  <a:moveTo>
                    <a:pt x="1496" y="1515"/>
                  </a:moveTo>
                  <a:cubicBezTo>
                    <a:pt x="1514" y="1516"/>
                    <a:pt x="1527" y="1529"/>
                    <a:pt x="1526" y="1544"/>
                  </a:cubicBezTo>
                  <a:cubicBezTo>
                    <a:pt x="1524" y="1559"/>
                    <a:pt x="1508" y="1571"/>
                    <a:pt x="1490" y="1570"/>
                  </a:cubicBezTo>
                  <a:cubicBezTo>
                    <a:pt x="1472" y="1569"/>
                    <a:pt x="1459" y="1556"/>
                    <a:pt x="1460" y="1541"/>
                  </a:cubicBezTo>
                  <a:cubicBezTo>
                    <a:pt x="1462" y="1526"/>
                    <a:pt x="1478" y="1514"/>
                    <a:pt x="1496" y="1515"/>
                  </a:cubicBezTo>
                  <a:close/>
                  <a:moveTo>
                    <a:pt x="1518" y="1465"/>
                  </a:moveTo>
                  <a:cubicBezTo>
                    <a:pt x="1520" y="1450"/>
                    <a:pt x="1536" y="1438"/>
                    <a:pt x="1553" y="1439"/>
                  </a:cubicBezTo>
                  <a:cubicBezTo>
                    <a:pt x="1571" y="1440"/>
                    <a:pt x="1584" y="1453"/>
                    <a:pt x="1582" y="1468"/>
                  </a:cubicBezTo>
                  <a:cubicBezTo>
                    <a:pt x="1581" y="1483"/>
                    <a:pt x="1565" y="1495"/>
                    <a:pt x="1547" y="1494"/>
                  </a:cubicBezTo>
                  <a:cubicBezTo>
                    <a:pt x="1529" y="1493"/>
                    <a:pt x="1516" y="1480"/>
                    <a:pt x="1518" y="1465"/>
                  </a:cubicBezTo>
                  <a:close/>
                  <a:moveTo>
                    <a:pt x="1598" y="1520"/>
                  </a:moveTo>
                  <a:cubicBezTo>
                    <a:pt x="1616" y="1521"/>
                    <a:pt x="1629" y="1534"/>
                    <a:pt x="1628" y="1549"/>
                  </a:cubicBezTo>
                  <a:cubicBezTo>
                    <a:pt x="1626" y="1564"/>
                    <a:pt x="1610" y="1576"/>
                    <a:pt x="1592" y="1575"/>
                  </a:cubicBezTo>
                  <a:cubicBezTo>
                    <a:pt x="1574" y="1574"/>
                    <a:pt x="1561" y="1561"/>
                    <a:pt x="1562" y="1546"/>
                  </a:cubicBezTo>
                  <a:cubicBezTo>
                    <a:pt x="1564" y="1531"/>
                    <a:pt x="1580" y="1519"/>
                    <a:pt x="1598" y="1520"/>
                  </a:cubicBezTo>
                  <a:close/>
                  <a:moveTo>
                    <a:pt x="1619" y="1470"/>
                  </a:moveTo>
                  <a:cubicBezTo>
                    <a:pt x="1620" y="1455"/>
                    <a:pt x="1636" y="1443"/>
                    <a:pt x="1654" y="1444"/>
                  </a:cubicBezTo>
                  <a:cubicBezTo>
                    <a:pt x="1671" y="1444"/>
                    <a:pt x="1685" y="1457"/>
                    <a:pt x="1683" y="1472"/>
                  </a:cubicBezTo>
                  <a:cubicBezTo>
                    <a:pt x="1682" y="1488"/>
                    <a:pt x="1666" y="1499"/>
                    <a:pt x="1648" y="1499"/>
                  </a:cubicBezTo>
                  <a:cubicBezTo>
                    <a:pt x="1630" y="1498"/>
                    <a:pt x="1617" y="1485"/>
                    <a:pt x="1619" y="1470"/>
                  </a:cubicBezTo>
                  <a:close/>
                  <a:moveTo>
                    <a:pt x="1700" y="1524"/>
                  </a:moveTo>
                  <a:cubicBezTo>
                    <a:pt x="1717" y="1525"/>
                    <a:pt x="1731" y="1537"/>
                    <a:pt x="1730" y="1553"/>
                  </a:cubicBezTo>
                  <a:cubicBezTo>
                    <a:pt x="1728" y="1568"/>
                    <a:pt x="1713" y="1580"/>
                    <a:pt x="1695" y="1579"/>
                  </a:cubicBezTo>
                  <a:cubicBezTo>
                    <a:pt x="1677" y="1578"/>
                    <a:pt x="1663" y="1565"/>
                    <a:pt x="1665" y="1550"/>
                  </a:cubicBezTo>
                  <a:cubicBezTo>
                    <a:pt x="1666" y="1535"/>
                    <a:pt x="1682" y="1523"/>
                    <a:pt x="1700" y="1524"/>
                  </a:cubicBezTo>
                  <a:close/>
                  <a:moveTo>
                    <a:pt x="1720" y="1474"/>
                  </a:moveTo>
                  <a:cubicBezTo>
                    <a:pt x="1721" y="1459"/>
                    <a:pt x="1736" y="1447"/>
                    <a:pt x="1754" y="1447"/>
                  </a:cubicBezTo>
                  <a:cubicBezTo>
                    <a:pt x="1772" y="1448"/>
                    <a:pt x="1785" y="1461"/>
                    <a:pt x="1784" y="1476"/>
                  </a:cubicBezTo>
                  <a:cubicBezTo>
                    <a:pt x="1783" y="1491"/>
                    <a:pt x="1767" y="1503"/>
                    <a:pt x="1750" y="1502"/>
                  </a:cubicBezTo>
                  <a:cubicBezTo>
                    <a:pt x="1732" y="1502"/>
                    <a:pt x="1718" y="1489"/>
                    <a:pt x="1720" y="1474"/>
                  </a:cubicBezTo>
                  <a:close/>
                  <a:moveTo>
                    <a:pt x="1801" y="1527"/>
                  </a:moveTo>
                  <a:cubicBezTo>
                    <a:pt x="1819" y="1528"/>
                    <a:pt x="1833" y="1541"/>
                    <a:pt x="1832" y="1556"/>
                  </a:cubicBezTo>
                  <a:cubicBezTo>
                    <a:pt x="1831" y="1571"/>
                    <a:pt x="1815" y="1583"/>
                    <a:pt x="1797" y="1582"/>
                  </a:cubicBezTo>
                  <a:cubicBezTo>
                    <a:pt x="1779" y="1582"/>
                    <a:pt x="1765" y="1569"/>
                    <a:pt x="1767" y="1554"/>
                  </a:cubicBezTo>
                  <a:cubicBezTo>
                    <a:pt x="1768" y="1539"/>
                    <a:pt x="1783" y="1527"/>
                    <a:pt x="1801" y="1527"/>
                  </a:cubicBezTo>
                  <a:close/>
                  <a:moveTo>
                    <a:pt x="1821" y="1477"/>
                  </a:moveTo>
                  <a:cubicBezTo>
                    <a:pt x="1822" y="1462"/>
                    <a:pt x="1837" y="1450"/>
                    <a:pt x="1855" y="1451"/>
                  </a:cubicBezTo>
                  <a:cubicBezTo>
                    <a:pt x="1872" y="1451"/>
                    <a:pt x="1886" y="1464"/>
                    <a:pt x="1885" y="1479"/>
                  </a:cubicBezTo>
                  <a:cubicBezTo>
                    <a:pt x="1884" y="1494"/>
                    <a:pt x="1869" y="1506"/>
                    <a:pt x="1851" y="1505"/>
                  </a:cubicBezTo>
                  <a:cubicBezTo>
                    <a:pt x="1833" y="1505"/>
                    <a:pt x="1819" y="1492"/>
                    <a:pt x="1821" y="1477"/>
                  </a:cubicBezTo>
                  <a:close/>
                  <a:moveTo>
                    <a:pt x="1903" y="1530"/>
                  </a:moveTo>
                  <a:cubicBezTo>
                    <a:pt x="1921" y="1530"/>
                    <a:pt x="1935" y="1543"/>
                    <a:pt x="1934" y="1558"/>
                  </a:cubicBezTo>
                  <a:cubicBezTo>
                    <a:pt x="1933" y="1573"/>
                    <a:pt x="1918" y="1585"/>
                    <a:pt x="1900" y="1585"/>
                  </a:cubicBezTo>
                  <a:cubicBezTo>
                    <a:pt x="1882" y="1584"/>
                    <a:pt x="1868" y="1572"/>
                    <a:pt x="1869" y="1557"/>
                  </a:cubicBezTo>
                  <a:cubicBezTo>
                    <a:pt x="1870" y="1542"/>
                    <a:pt x="1885" y="1530"/>
                    <a:pt x="1903" y="1530"/>
                  </a:cubicBezTo>
                  <a:close/>
                  <a:moveTo>
                    <a:pt x="1921" y="1480"/>
                  </a:moveTo>
                  <a:cubicBezTo>
                    <a:pt x="1922" y="1465"/>
                    <a:pt x="1937" y="1453"/>
                    <a:pt x="1955" y="1453"/>
                  </a:cubicBezTo>
                  <a:cubicBezTo>
                    <a:pt x="1973" y="1453"/>
                    <a:pt x="1986" y="1466"/>
                    <a:pt x="1986" y="1481"/>
                  </a:cubicBezTo>
                  <a:cubicBezTo>
                    <a:pt x="1985" y="1496"/>
                    <a:pt x="1970" y="1508"/>
                    <a:pt x="1952" y="1508"/>
                  </a:cubicBezTo>
                  <a:cubicBezTo>
                    <a:pt x="1934" y="1507"/>
                    <a:pt x="1921" y="1495"/>
                    <a:pt x="1921" y="1480"/>
                  </a:cubicBezTo>
                  <a:close/>
                  <a:moveTo>
                    <a:pt x="2004" y="1532"/>
                  </a:moveTo>
                  <a:cubicBezTo>
                    <a:pt x="2022" y="1532"/>
                    <a:pt x="2036" y="1545"/>
                    <a:pt x="2036" y="1560"/>
                  </a:cubicBezTo>
                  <a:cubicBezTo>
                    <a:pt x="2035" y="1575"/>
                    <a:pt x="2020" y="1587"/>
                    <a:pt x="2002" y="1587"/>
                  </a:cubicBezTo>
                  <a:cubicBezTo>
                    <a:pt x="1984" y="1587"/>
                    <a:pt x="1970" y="1574"/>
                    <a:pt x="1971" y="1559"/>
                  </a:cubicBezTo>
                  <a:cubicBezTo>
                    <a:pt x="1971" y="1544"/>
                    <a:pt x="1987" y="1532"/>
                    <a:pt x="2004" y="1532"/>
                  </a:cubicBezTo>
                  <a:close/>
                  <a:moveTo>
                    <a:pt x="2022" y="1482"/>
                  </a:moveTo>
                  <a:cubicBezTo>
                    <a:pt x="2023" y="1466"/>
                    <a:pt x="2038" y="1454"/>
                    <a:pt x="2055" y="1455"/>
                  </a:cubicBezTo>
                  <a:cubicBezTo>
                    <a:pt x="2073" y="1455"/>
                    <a:pt x="2087" y="1467"/>
                    <a:pt x="2087" y="1482"/>
                  </a:cubicBezTo>
                  <a:cubicBezTo>
                    <a:pt x="2086" y="1497"/>
                    <a:pt x="2071" y="1510"/>
                    <a:pt x="2053" y="1509"/>
                  </a:cubicBezTo>
                  <a:cubicBezTo>
                    <a:pt x="2036" y="1509"/>
                    <a:pt x="2022" y="1497"/>
                    <a:pt x="2022" y="1482"/>
                  </a:cubicBezTo>
                  <a:close/>
                  <a:moveTo>
                    <a:pt x="2106" y="1533"/>
                  </a:moveTo>
                  <a:cubicBezTo>
                    <a:pt x="2124" y="1533"/>
                    <a:pt x="2138" y="1546"/>
                    <a:pt x="2138" y="1561"/>
                  </a:cubicBezTo>
                  <a:cubicBezTo>
                    <a:pt x="2138" y="1576"/>
                    <a:pt x="2123" y="1588"/>
                    <a:pt x="2105" y="1588"/>
                  </a:cubicBezTo>
                  <a:cubicBezTo>
                    <a:pt x="2087" y="1588"/>
                    <a:pt x="2072" y="1575"/>
                    <a:pt x="2073" y="1560"/>
                  </a:cubicBezTo>
                  <a:cubicBezTo>
                    <a:pt x="2073" y="1545"/>
                    <a:pt x="2088" y="1533"/>
                    <a:pt x="2106" y="1533"/>
                  </a:cubicBezTo>
                  <a:close/>
                  <a:moveTo>
                    <a:pt x="2123" y="1483"/>
                  </a:moveTo>
                  <a:cubicBezTo>
                    <a:pt x="2124" y="1468"/>
                    <a:pt x="2138" y="1455"/>
                    <a:pt x="2156" y="1456"/>
                  </a:cubicBezTo>
                  <a:cubicBezTo>
                    <a:pt x="2174" y="1456"/>
                    <a:pt x="2188" y="1468"/>
                    <a:pt x="2188" y="1483"/>
                  </a:cubicBezTo>
                  <a:cubicBezTo>
                    <a:pt x="2187" y="1498"/>
                    <a:pt x="2173" y="1510"/>
                    <a:pt x="2155" y="1510"/>
                  </a:cubicBezTo>
                  <a:cubicBezTo>
                    <a:pt x="2137" y="1510"/>
                    <a:pt x="2123" y="1498"/>
                    <a:pt x="2123" y="1483"/>
                  </a:cubicBezTo>
                  <a:close/>
                  <a:moveTo>
                    <a:pt x="2178" y="1408"/>
                  </a:moveTo>
                  <a:cubicBezTo>
                    <a:pt x="2178" y="1393"/>
                    <a:pt x="2192" y="1380"/>
                    <a:pt x="2210" y="1381"/>
                  </a:cubicBezTo>
                  <a:cubicBezTo>
                    <a:pt x="2227" y="1381"/>
                    <a:pt x="2241" y="1393"/>
                    <a:pt x="2241" y="1408"/>
                  </a:cubicBezTo>
                  <a:cubicBezTo>
                    <a:pt x="2241" y="1423"/>
                    <a:pt x="2227" y="1435"/>
                    <a:pt x="2209" y="1435"/>
                  </a:cubicBezTo>
                  <a:cubicBezTo>
                    <a:pt x="2191" y="1435"/>
                    <a:pt x="2177" y="1423"/>
                    <a:pt x="2178" y="1408"/>
                  </a:cubicBezTo>
                  <a:close/>
                  <a:moveTo>
                    <a:pt x="2256" y="1456"/>
                  </a:moveTo>
                  <a:cubicBezTo>
                    <a:pt x="2274" y="1456"/>
                    <a:pt x="2288" y="1468"/>
                    <a:pt x="2288" y="1483"/>
                  </a:cubicBezTo>
                  <a:cubicBezTo>
                    <a:pt x="2288" y="1498"/>
                    <a:pt x="2274" y="1510"/>
                    <a:pt x="2256" y="1510"/>
                  </a:cubicBezTo>
                  <a:cubicBezTo>
                    <a:pt x="2238" y="1510"/>
                    <a:pt x="2224" y="1498"/>
                    <a:pt x="2224" y="1483"/>
                  </a:cubicBezTo>
                  <a:cubicBezTo>
                    <a:pt x="2224" y="1468"/>
                    <a:pt x="2239" y="1456"/>
                    <a:pt x="2256" y="1456"/>
                  </a:cubicBezTo>
                  <a:close/>
                  <a:moveTo>
                    <a:pt x="2277" y="1408"/>
                  </a:moveTo>
                  <a:cubicBezTo>
                    <a:pt x="2277" y="1393"/>
                    <a:pt x="2292" y="1381"/>
                    <a:pt x="2309" y="1380"/>
                  </a:cubicBezTo>
                  <a:cubicBezTo>
                    <a:pt x="2327" y="1380"/>
                    <a:pt x="2341" y="1392"/>
                    <a:pt x="2341" y="1408"/>
                  </a:cubicBezTo>
                  <a:cubicBezTo>
                    <a:pt x="2341" y="1423"/>
                    <a:pt x="2327" y="1435"/>
                    <a:pt x="2309" y="1435"/>
                  </a:cubicBezTo>
                  <a:cubicBezTo>
                    <a:pt x="2292" y="1435"/>
                    <a:pt x="2277" y="1423"/>
                    <a:pt x="2277" y="1408"/>
                  </a:cubicBezTo>
                  <a:close/>
                  <a:moveTo>
                    <a:pt x="2357" y="1455"/>
                  </a:moveTo>
                  <a:cubicBezTo>
                    <a:pt x="2375" y="1455"/>
                    <a:pt x="2389" y="1467"/>
                    <a:pt x="2389" y="1482"/>
                  </a:cubicBezTo>
                  <a:cubicBezTo>
                    <a:pt x="2390" y="1497"/>
                    <a:pt x="2375" y="1510"/>
                    <a:pt x="2357" y="1510"/>
                  </a:cubicBezTo>
                  <a:cubicBezTo>
                    <a:pt x="2340" y="1510"/>
                    <a:pt x="2325" y="1498"/>
                    <a:pt x="2325" y="1483"/>
                  </a:cubicBezTo>
                  <a:cubicBezTo>
                    <a:pt x="2325" y="1468"/>
                    <a:pt x="2339" y="1455"/>
                    <a:pt x="2357" y="1455"/>
                  </a:cubicBezTo>
                  <a:close/>
                  <a:moveTo>
                    <a:pt x="2377" y="1407"/>
                  </a:moveTo>
                  <a:cubicBezTo>
                    <a:pt x="2377" y="1392"/>
                    <a:pt x="2391" y="1380"/>
                    <a:pt x="2408" y="1380"/>
                  </a:cubicBezTo>
                  <a:cubicBezTo>
                    <a:pt x="2426" y="1379"/>
                    <a:pt x="2440" y="1391"/>
                    <a:pt x="2441" y="1407"/>
                  </a:cubicBezTo>
                  <a:cubicBezTo>
                    <a:pt x="2441" y="1422"/>
                    <a:pt x="2427" y="1434"/>
                    <a:pt x="2409" y="1434"/>
                  </a:cubicBezTo>
                  <a:cubicBezTo>
                    <a:pt x="2392" y="1434"/>
                    <a:pt x="2377" y="1422"/>
                    <a:pt x="2377" y="1407"/>
                  </a:cubicBezTo>
                  <a:close/>
                  <a:moveTo>
                    <a:pt x="2457" y="1454"/>
                  </a:moveTo>
                  <a:cubicBezTo>
                    <a:pt x="2475" y="1454"/>
                    <a:pt x="2490" y="1466"/>
                    <a:pt x="2490" y="1481"/>
                  </a:cubicBezTo>
                  <a:cubicBezTo>
                    <a:pt x="2491" y="1496"/>
                    <a:pt x="2477" y="1508"/>
                    <a:pt x="2459" y="1509"/>
                  </a:cubicBezTo>
                  <a:cubicBezTo>
                    <a:pt x="2441" y="1509"/>
                    <a:pt x="2426" y="1497"/>
                    <a:pt x="2426" y="1482"/>
                  </a:cubicBezTo>
                  <a:cubicBezTo>
                    <a:pt x="2426" y="1467"/>
                    <a:pt x="2440" y="1454"/>
                    <a:pt x="2457" y="1454"/>
                  </a:cubicBezTo>
                  <a:close/>
                  <a:moveTo>
                    <a:pt x="2477" y="1406"/>
                  </a:moveTo>
                  <a:cubicBezTo>
                    <a:pt x="2476" y="1391"/>
                    <a:pt x="2490" y="1378"/>
                    <a:pt x="2508" y="1378"/>
                  </a:cubicBezTo>
                  <a:cubicBezTo>
                    <a:pt x="2525" y="1378"/>
                    <a:pt x="2540" y="1390"/>
                    <a:pt x="2541" y="1405"/>
                  </a:cubicBezTo>
                  <a:cubicBezTo>
                    <a:pt x="2541" y="1420"/>
                    <a:pt x="2527" y="1432"/>
                    <a:pt x="2510" y="1433"/>
                  </a:cubicBezTo>
                  <a:cubicBezTo>
                    <a:pt x="2492" y="1433"/>
                    <a:pt x="2477" y="1421"/>
                    <a:pt x="2477" y="1406"/>
                  </a:cubicBezTo>
                  <a:close/>
                  <a:moveTo>
                    <a:pt x="2558" y="1452"/>
                  </a:moveTo>
                  <a:cubicBezTo>
                    <a:pt x="2576" y="1452"/>
                    <a:pt x="2590" y="1464"/>
                    <a:pt x="2591" y="1479"/>
                  </a:cubicBezTo>
                  <a:cubicBezTo>
                    <a:pt x="2592" y="1494"/>
                    <a:pt x="2578" y="1506"/>
                    <a:pt x="2560" y="1507"/>
                  </a:cubicBezTo>
                  <a:cubicBezTo>
                    <a:pt x="2542" y="1507"/>
                    <a:pt x="2527" y="1495"/>
                    <a:pt x="2527" y="1480"/>
                  </a:cubicBezTo>
                  <a:cubicBezTo>
                    <a:pt x="2526" y="1465"/>
                    <a:pt x="2540" y="1453"/>
                    <a:pt x="2558" y="1452"/>
                  </a:cubicBezTo>
                  <a:close/>
                  <a:moveTo>
                    <a:pt x="2577" y="1404"/>
                  </a:moveTo>
                  <a:cubicBezTo>
                    <a:pt x="2576" y="1389"/>
                    <a:pt x="2590" y="1376"/>
                    <a:pt x="2607" y="1376"/>
                  </a:cubicBezTo>
                  <a:cubicBezTo>
                    <a:pt x="2625" y="1375"/>
                    <a:pt x="2639" y="1387"/>
                    <a:pt x="2640" y="1402"/>
                  </a:cubicBezTo>
                  <a:cubicBezTo>
                    <a:pt x="2641" y="1417"/>
                    <a:pt x="2627" y="1430"/>
                    <a:pt x="2610" y="1430"/>
                  </a:cubicBezTo>
                  <a:cubicBezTo>
                    <a:pt x="2592" y="1431"/>
                    <a:pt x="2577" y="1419"/>
                    <a:pt x="2577" y="1404"/>
                  </a:cubicBezTo>
                  <a:close/>
                  <a:moveTo>
                    <a:pt x="2658" y="1450"/>
                  </a:moveTo>
                  <a:cubicBezTo>
                    <a:pt x="2676" y="1449"/>
                    <a:pt x="2691" y="1461"/>
                    <a:pt x="2692" y="1476"/>
                  </a:cubicBezTo>
                  <a:cubicBezTo>
                    <a:pt x="2693" y="1491"/>
                    <a:pt x="2679" y="1503"/>
                    <a:pt x="2661" y="1504"/>
                  </a:cubicBezTo>
                  <a:cubicBezTo>
                    <a:pt x="2643" y="1504"/>
                    <a:pt x="2628" y="1493"/>
                    <a:pt x="2628" y="1478"/>
                  </a:cubicBezTo>
                  <a:cubicBezTo>
                    <a:pt x="2627" y="1463"/>
                    <a:pt x="2641" y="1450"/>
                    <a:pt x="2658" y="1450"/>
                  </a:cubicBezTo>
                  <a:close/>
                  <a:moveTo>
                    <a:pt x="2676" y="1401"/>
                  </a:moveTo>
                  <a:cubicBezTo>
                    <a:pt x="2675" y="1386"/>
                    <a:pt x="2689" y="1374"/>
                    <a:pt x="2706" y="1373"/>
                  </a:cubicBezTo>
                  <a:cubicBezTo>
                    <a:pt x="2724" y="1372"/>
                    <a:pt x="2739" y="1384"/>
                    <a:pt x="2740" y="1399"/>
                  </a:cubicBezTo>
                  <a:cubicBezTo>
                    <a:pt x="2741" y="1414"/>
                    <a:pt x="2728" y="1427"/>
                    <a:pt x="2710" y="1427"/>
                  </a:cubicBezTo>
                  <a:cubicBezTo>
                    <a:pt x="2692" y="1428"/>
                    <a:pt x="2677" y="1416"/>
                    <a:pt x="2676" y="1401"/>
                  </a:cubicBezTo>
                  <a:close/>
                  <a:moveTo>
                    <a:pt x="2759" y="1446"/>
                  </a:moveTo>
                  <a:cubicBezTo>
                    <a:pt x="2776" y="1446"/>
                    <a:pt x="2792" y="1457"/>
                    <a:pt x="2793" y="1472"/>
                  </a:cubicBezTo>
                  <a:cubicBezTo>
                    <a:pt x="2794" y="1487"/>
                    <a:pt x="2780" y="1500"/>
                    <a:pt x="2763" y="1501"/>
                  </a:cubicBezTo>
                  <a:cubicBezTo>
                    <a:pt x="2745" y="1501"/>
                    <a:pt x="2729" y="1490"/>
                    <a:pt x="2728" y="1475"/>
                  </a:cubicBezTo>
                  <a:cubicBezTo>
                    <a:pt x="2727" y="1459"/>
                    <a:pt x="2741" y="1447"/>
                    <a:pt x="2759" y="1446"/>
                  </a:cubicBezTo>
                  <a:close/>
                  <a:moveTo>
                    <a:pt x="2806" y="1369"/>
                  </a:moveTo>
                  <a:cubicBezTo>
                    <a:pt x="2823" y="1369"/>
                    <a:pt x="2838" y="1380"/>
                    <a:pt x="2840" y="1395"/>
                  </a:cubicBezTo>
                  <a:cubicBezTo>
                    <a:pt x="2841" y="1410"/>
                    <a:pt x="2828" y="1423"/>
                    <a:pt x="2810" y="1424"/>
                  </a:cubicBezTo>
                  <a:cubicBezTo>
                    <a:pt x="2792" y="1424"/>
                    <a:pt x="2777" y="1413"/>
                    <a:pt x="2776" y="1398"/>
                  </a:cubicBezTo>
                  <a:cubicBezTo>
                    <a:pt x="2775" y="1383"/>
                    <a:pt x="2788" y="1370"/>
                    <a:pt x="2806" y="1369"/>
                  </a:cubicBezTo>
                  <a:close/>
                  <a:moveTo>
                    <a:pt x="2859" y="1442"/>
                  </a:moveTo>
                  <a:cubicBezTo>
                    <a:pt x="2877" y="1441"/>
                    <a:pt x="2892" y="1453"/>
                    <a:pt x="2894" y="1468"/>
                  </a:cubicBezTo>
                  <a:cubicBezTo>
                    <a:pt x="2895" y="1483"/>
                    <a:pt x="2882" y="1496"/>
                    <a:pt x="2864" y="1496"/>
                  </a:cubicBezTo>
                  <a:cubicBezTo>
                    <a:pt x="2846" y="1497"/>
                    <a:pt x="2830" y="1486"/>
                    <a:pt x="2829" y="1471"/>
                  </a:cubicBezTo>
                  <a:cubicBezTo>
                    <a:pt x="2828" y="1456"/>
                    <a:pt x="2841" y="1443"/>
                    <a:pt x="2859" y="1442"/>
                  </a:cubicBezTo>
                  <a:close/>
                  <a:moveTo>
                    <a:pt x="2919" y="1517"/>
                  </a:moveTo>
                  <a:cubicBezTo>
                    <a:pt x="2937" y="1516"/>
                    <a:pt x="2953" y="1527"/>
                    <a:pt x="2954" y="1542"/>
                  </a:cubicBezTo>
                  <a:cubicBezTo>
                    <a:pt x="2956" y="1557"/>
                    <a:pt x="2942" y="1570"/>
                    <a:pt x="2924" y="1571"/>
                  </a:cubicBezTo>
                  <a:cubicBezTo>
                    <a:pt x="2906" y="1572"/>
                    <a:pt x="2891" y="1561"/>
                    <a:pt x="2889" y="1546"/>
                  </a:cubicBezTo>
                  <a:cubicBezTo>
                    <a:pt x="2888" y="1531"/>
                    <a:pt x="2901" y="1518"/>
                    <a:pt x="2919" y="1517"/>
                  </a:cubicBezTo>
                  <a:close/>
                  <a:moveTo>
                    <a:pt x="2960" y="1437"/>
                  </a:moveTo>
                  <a:cubicBezTo>
                    <a:pt x="2977" y="1436"/>
                    <a:pt x="2993" y="1448"/>
                    <a:pt x="2994" y="1463"/>
                  </a:cubicBezTo>
                  <a:cubicBezTo>
                    <a:pt x="2996" y="1478"/>
                    <a:pt x="2983" y="1491"/>
                    <a:pt x="2965" y="1491"/>
                  </a:cubicBezTo>
                  <a:cubicBezTo>
                    <a:pt x="2947" y="1492"/>
                    <a:pt x="2932" y="1481"/>
                    <a:pt x="2930" y="1466"/>
                  </a:cubicBezTo>
                  <a:cubicBezTo>
                    <a:pt x="2929" y="1451"/>
                    <a:pt x="2942" y="1438"/>
                    <a:pt x="2960" y="1437"/>
                  </a:cubicBezTo>
                  <a:close/>
                  <a:moveTo>
                    <a:pt x="3021" y="1512"/>
                  </a:moveTo>
                  <a:cubicBezTo>
                    <a:pt x="3039" y="1511"/>
                    <a:pt x="3055" y="1522"/>
                    <a:pt x="3056" y="1537"/>
                  </a:cubicBezTo>
                  <a:cubicBezTo>
                    <a:pt x="3058" y="1552"/>
                    <a:pt x="3045" y="1565"/>
                    <a:pt x="3027" y="1566"/>
                  </a:cubicBezTo>
                  <a:cubicBezTo>
                    <a:pt x="3009" y="1567"/>
                    <a:pt x="2993" y="1555"/>
                    <a:pt x="2991" y="1540"/>
                  </a:cubicBezTo>
                  <a:cubicBezTo>
                    <a:pt x="2990" y="1526"/>
                    <a:pt x="3003" y="1513"/>
                    <a:pt x="3021" y="1512"/>
                  </a:cubicBezTo>
                  <a:close/>
                  <a:moveTo>
                    <a:pt x="3060" y="1432"/>
                  </a:moveTo>
                  <a:cubicBezTo>
                    <a:pt x="3078" y="1431"/>
                    <a:pt x="3093" y="1442"/>
                    <a:pt x="3095" y="1457"/>
                  </a:cubicBezTo>
                  <a:cubicBezTo>
                    <a:pt x="3097" y="1472"/>
                    <a:pt x="3084" y="1485"/>
                    <a:pt x="3066" y="1486"/>
                  </a:cubicBezTo>
                  <a:cubicBezTo>
                    <a:pt x="3048" y="1487"/>
                    <a:pt x="3033" y="1476"/>
                    <a:pt x="3031" y="1461"/>
                  </a:cubicBezTo>
                  <a:cubicBezTo>
                    <a:pt x="3029" y="1446"/>
                    <a:pt x="3042" y="1433"/>
                    <a:pt x="3060" y="1432"/>
                  </a:cubicBezTo>
                  <a:close/>
                  <a:moveTo>
                    <a:pt x="3122" y="1506"/>
                  </a:moveTo>
                  <a:cubicBezTo>
                    <a:pt x="3140" y="1504"/>
                    <a:pt x="3156" y="1516"/>
                    <a:pt x="3158" y="1530"/>
                  </a:cubicBezTo>
                  <a:cubicBezTo>
                    <a:pt x="3160" y="1545"/>
                    <a:pt x="3147" y="1558"/>
                    <a:pt x="3129" y="1560"/>
                  </a:cubicBezTo>
                  <a:cubicBezTo>
                    <a:pt x="3111" y="1561"/>
                    <a:pt x="3095" y="1550"/>
                    <a:pt x="3093" y="1535"/>
                  </a:cubicBezTo>
                  <a:cubicBezTo>
                    <a:pt x="3091" y="1520"/>
                    <a:pt x="3104" y="1507"/>
                    <a:pt x="3122" y="1506"/>
                  </a:cubicBezTo>
                  <a:close/>
                  <a:moveTo>
                    <a:pt x="3180" y="1577"/>
                  </a:moveTo>
                  <a:cubicBezTo>
                    <a:pt x="3198" y="1576"/>
                    <a:pt x="3215" y="1587"/>
                    <a:pt x="3217" y="1601"/>
                  </a:cubicBezTo>
                  <a:cubicBezTo>
                    <a:pt x="3219" y="1616"/>
                    <a:pt x="3206" y="1629"/>
                    <a:pt x="3187" y="1631"/>
                  </a:cubicBezTo>
                  <a:cubicBezTo>
                    <a:pt x="3169" y="1632"/>
                    <a:pt x="3153" y="1621"/>
                    <a:pt x="3151" y="1606"/>
                  </a:cubicBezTo>
                  <a:cubicBezTo>
                    <a:pt x="3149" y="1591"/>
                    <a:pt x="3162" y="1578"/>
                    <a:pt x="3180" y="1577"/>
                  </a:cubicBezTo>
                  <a:close/>
                  <a:moveTo>
                    <a:pt x="3224" y="1499"/>
                  </a:moveTo>
                  <a:cubicBezTo>
                    <a:pt x="3242" y="1498"/>
                    <a:pt x="3258" y="1509"/>
                    <a:pt x="3260" y="1523"/>
                  </a:cubicBezTo>
                  <a:cubicBezTo>
                    <a:pt x="3262" y="1538"/>
                    <a:pt x="3249" y="1551"/>
                    <a:pt x="3231" y="1553"/>
                  </a:cubicBezTo>
                  <a:cubicBezTo>
                    <a:pt x="3213" y="1554"/>
                    <a:pt x="3197" y="1543"/>
                    <a:pt x="3195" y="1528"/>
                  </a:cubicBezTo>
                  <a:cubicBezTo>
                    <a:pt x="3193" y="1513"/>
                    <a:pt x="3206" y="1500"/>
                    <a:pt x="3224" y="1499"/>
                  </a:cubicBezTo>
                  <a:close/>
                  <a:moveTo>
                    <a:pt x="3283" y="1569"/>
                  </a:moveTo>
                  <a:cubicBezTo>
                    <a:pt x="3301" y="1568"/>
                    <a:pt x="3317" y="1579"/>
                    <a:pt x="3320" y="1594"/>
                  </a:cubicBezTo>
                  <a:cubicBezTo>
                    <a:pt x="3322" y="1609"/>
                    <a:pt x="3309" y="1622"/>
                    <a:pt x="3291" y="1623"/>
                  </a:cubicBezTo>
                  <a:cubicBezTo>
                    <a:pt x="3273" y="1625"/>
                    <a:pt x="3256" y="1614"/>
                    <a:pt x="3254" y="1599"/>
                  </a:cubicBezTo>
                  <a:cubicBezTo>
                    <a:pt x="3252" y="1584"/>
                    <a:pt x="3265" y="1571"/>
                    <a:pt x="3283" y="1569"/>
                  </a:cubicBezTo>
                  <a:close/>
                  <a:moveTo>
                    <a:pt x="3349" y="1642"/>
                  </a:moveTo>
                  <a:cubicBezTo>
                    <a:pt x="3367" y="1641"/>
                    <a:pt x="3384" y="1651"/>
                    <a:pt x="3386" y="1666"/>
                  </a:cubicBezTo>
                  <a:cubicBezTo>
                    <a:pt x="3389" y="1681"/>
                    <a:pt x="3376" y="1694"/>
                    <a:pt x="3357" y="1696"/>
                  </a:cubicBezTo>
                  <a:cubicBezTo>
                    <a:pt x="3339" y="1697"/>
                    <a:pt x="3322" y="1686"/>
                    <a:pt x="3320" y="1672"/>
                  </a:cubicBezTo>
                  <a:cubicBezTo>
                    <a:pt x="3318" y="1657"/>
                    <a:pt x="3331" y="1643"/>
                    <a:pt x="3349" y="1642"/>
                  </a:cubicBezTo>
                  <a:close/>
                  <a:moveTo>
                    <a:pt x="3410" y="1712"/>
                  </a:moveTo>
                  <a:cubicBezTo>
                    <a:pt x="3429" y="1710"/>
                    <a:pt x="3446" y="1721"/>
                    <a:pt x="3448" y="1736"/>
                  </a:cubicBezTo>
                  <a:cubicBezTo>
                    <a:pt x="3451" y="1751"/>
                    <a:pt x="3438" y="1764"/>
                    <a:pt x="3419" y="1766"/>
                  </a:cubicBezTo>
                  <a:cubicBezTo>
                    <a:pt x="3400" y="1767"/>
                    <a:pt x="3383" y="1756"/>
                    <a:pt x="3381" y="1742"/>
                  </a:cubicBezTo>
                  <a:cubicBezTo>
                    <a:pt x="3379" y="1727"/>
                    <a:pt x="3392" y="1714"/>
                    <a:pt x="3410" y="1712"/>
                  </a:cubicBezTo>
                  <a:close/>
                  <a:moveTo>
                    <a:pt x="3453" y="1634"/>
                  </a:moveTo>
                  <a:cubicBezTo>
                    <a:pt x="3471" y="1632"/>
                    <a:pt x="3488" y="1643"/>
                    <a:pt x="3491" y="1657"/>
                  </a:cubicBezTo>
                  <a:cubicBezTo>
                    <a:pt x="3493" y="1672"/>
                    <a:pt x="3480" y="1686"/>
                    <a:pt x="3462" y="1687"/>
                  </a:cubicBezTo>
                  <a:cubicBezTo>
                    <a:pt x="3443" y="1689"/>
                    <a:pt x="3427" y="1678"/>
                    <a:pt x="3424" y="1663"/>
                  </a:cubicBezTo>
                  <a:cubicBezTo>
                    <a:pt x="3422" y="1648"/>
                    <a:pt x="3434" y="1635"/>
                    <a:pt x="3453" y="1634"/>
                  </a:cubicBezTo>
                  <a:close/>
                  <a:moveTo>
                    <a:pt x="3517" y="1808"/>
                  </a:moveTo>
                  <a:cubicBezTo>
                    <a:pt x="3520" y="1822"/>
                    <a:pt x="3507" y="1836"/>
                    <a:pt x="3488" y="1837"/>
                  </a:cubicBezTo>
                  <a:cubicBezTo>
                    <a:pt x="3469" y="1839"/>
                    <a:pt x="3452" y="1828"/>
                    <a:pt x="3449" y="1814"/>
                  </a:cubicBezTo>
                  <a:cubicBezTo>
                    <a:pt x="3447" y="1799"/>
                    <a:pt x="3460" y="1785"/>
                    <a:pt x="3479" y="1784"/>
                  </a:cubicBezTo>
                  <a:cubicBezTo>
                    <a:pt x="3497" y="1782"/>
                    <a:pt x="3515" y="1793"/>
                    <a:pt x="3517" y="1808"/>
                  </a:cubicBezTo>
                  <a:close/>
                  <a:moveTo>
                    <a:pt x="3505" y="1934"/>
                  </a:moveTo>
                  <a:cubicBezTo>
                    <a:pt x="3524" y="1932"/>
                    <a:pt x="3541" y="1943"/>
                    <a:pt x="3544" y="1958"/>
                  </a:cubicBezTo>
                  <a:cubicBezTo>
                    <a:pt x="3547" y="1973"/>
                    <a:pt x="3533" y="1986"/>
                    <a:pt x="3514" y="1988"/>
                  </a:cubicBezTo>
                  <a:cubicBezTo>
                    <a:pt x="3495" y="1990"/>
                    <a:pt x="3477" y="1979"/>
                    <a:pt x="3475" y="1964"/>
                  </a:cubicBezTo>
                  <a:cubicBezTo>
                    <a:pt x="3472" y="1949"/>
                    <a:pt x="3485" y="1936"/>
                    <a:pt x="3505" y="1934"/>
                  </a:cubicBezTo>
                  <a:close/>
                  <a:moveTo>
                    <a:pt x="3542" y="1853"/>
                  </a:moveTo>
                  <a:cubicBezTo>
                    <a:pt x="3561" y="1851"/>
                    <a:pt x="3579" y="1862"/>
                    <a:pt x="3581" y="1877"/>
                  </a:cubicBezTo>
                  <a:cubicBezTo>
                    <a:pt x="3584" y="1892"/>
                    <a:pt x="3571" y="1905"/>
                    <a:pt x="3552" y="1907"/>
                  </a:cubicBezTo>
                  <a:cubicBezTo>
                    <a:pt x="3533" y="1908"/>
                    <a:pt x="3515" y="1898"/>
                    <a:pt x="3513" y="1883"/>
                  </a:cubicBezTo>
                  <a:cubicBezTo>
                    <a:pt x="3510" y="1868"/>
                    <a:pt x="3523" y="1855"/>
                    <a:pt x="3542" y="1853"/>
                  </a:cubicBezTo>
                  <a:close/>
                  <a:moveTo>
                    <a:pt x="3585" y="1774"/>
                  </a:moveTo>
                  <a:cubicBezTo>
                    <a:pt x="3603" y="1772"/>
                    <a:pt x="3621" y="1783"/>
                    <a:pt x="3624" y="1798"/>
                  </a:cubicBezTo>
                  <a:cubicBezTo>
                    <a:pt x="3626" y="1812"/>
                    <a:pt x="3614" y="1826"/>
                    <a:pt x="3595" y="1828"/>
                  </a:cubicBezTo>
                  <a:cubicBezTo>
                    <a:pt x="3576" y="1830"/>
                    <a:pt x="3558" y="1819"/>
                    <a:pt x="3556" y="1804"/>
                  </a:cubicBezTo>
                  <a:cubicBezTo>
                    <a:pt x="3553" y="1789"/>
                    <a:pt x="3566" y="1776"/>
                    <a:pt x="3585" y="1774"/>
                  </a:cubicBezTo>
                  <a:close/>
                  <a:moveTo>
                    <a:pt x="3649" y="1843"/>
                  </a:moveTo>
                  <a:cubicBezTo>
                    <a:pt x="3668" y="1841"/>
                    <a:pt x="3686" y="1852"/>
                    <a:pt x="3689" y="1866"/>
                  </a:cubicBezTo>
                  <a:cubicBezTo>
                    <a:pt x="3692" y="1881"/>
                    <a:pt x="3679" y="1895"/>
                    <a:pt x="3660" y="1896"/>
                  </a:cubicBezTo>
                  <a:cubicBezTo>
                    <a:pt x="3641" y="1898"/>
                    <a:pt x="3623" y="1888"/>
                    <a:pt x="3620" y="1873"/>
                  </a:cubicBezTo>
                  <a:cubicBezTo>
                    <a:pt x="3617" y="1858"/>
                    <a:pt x="3630" y="1845"/>
                    <a:pt x="3649" y="1843"/>
                  </a:cubicBezTo>
                  <a:close/>
                  <a:moveTo>
                    <a:pt x="3691" y="1764"/>
                  </a:moveTo>
                  <a:cubicBezTo>
                    <a:pt x="3709" y="1762"/>
                    <a:pt x="3727" y="1772"/>
                    <a:pt x="3730" y="1787"/>
                  </a:cubicBezTo>
                  <a:cubicBezTo>
                    <a:pt x="3733" y="1802"/>
                    <a:pt x="3720" y="1815"/>
                    <a:pt x="3701" y="1817"/>
                  </a:cubicBezTo>
                  <a:cubicBezTo>
                    <a:pt x="3683" y="1819"/>
                    <a:pt x="3665" y="1809"/>
                    <a:pt x="3662" y="1794"/>
                  </a:cubicBezTo>
                  <a:cubicBezTo>
                    <a:pt x="3659" y="1779"/>
                    <a:pt x="3672" y="1766"/>
                    <a:pt x="3691" y="1764"/>
                  </a:cubicBezTo>
                  <a:close/>
                  <a:moveTo>
                    <a:pt x="3689" y="2046"/>
                  </a:moveTo>
                  <a:cubicBezTo>
                    <a:pt x="3670" y="2048"/>
                    <a:pt x="3652" y="2038"/>
                    <a:pt x="3649" y="2023"/>
                  </a:cubicBezTo>
                  <a:cubicBezTo>
                    <a:pt x="3646" y="2008"/>
                    <a:pt x="3659" y="1995"/>
                    <a:pt x="3679" y="1993"/>
                  </a:cubicBezTo>
                  <a:cubicBezTo>
                    <a:pt x="3698" y="1991"/>
                    <a:pt x="3716" y="2001"/>
                    <a:pt x="3719" y="2016"/>
                  </a:cubicBezTo>
                  <a:cubicBezTo>
                    <a:pt x="3722" y="2031"/>
                    <a:pt x="3709" y="2044"/>
                    <a:pt x="3689" y="2046"/>
                  </a:cubicBezTo>
                  <a:close/>
                  <a:moveTo>
                    <a:pt x="3623" y="1978"/>
                  </a:moveTo>
                  <a:cubicBezTo>
                    <a:pt x="3604" y="1980"/>
                    <a:pt x="3586" y="1969"/>
                    <a:pt x="3583" y="1954"/>
                  </a:cubicBezTo>
                  <a:cubicBezTo>
                    <a:pt x="3581" y="1939"/>
                    <a:pt x="3594" y="1926"/>
                    <a:pt x="3613" y="1924"/>
                  </a:cubicBezTo>
                  <a:cubicBezTo>
                    <a:pt x="3632" y="1922"/>
                    <a:pt x="3650" y="1933"/>
                    <a:pt x="3653" y="1948"/>
                  </a:cubicBezTo>
                  <a:cubicBezTo>
                    <a:pt x="3656" y="1962"/>
                    <a:pt x="3642" y="1976"/>
                    <a:pt x="3623" y="1978"/>
                  </a:cubicBezTo>
                  <a:close/>
                  <a:moveTo>
                    <a:pt x="3579" y="2057"/>
                  </a:moveTo>
                  <a:cubicBezTo>
                    <a:pt x="3559" y="2059"/>
                    <a:pt x="3542" y="2048"/>
                    <a:pt x="3539" y="2033"/>
                  </a:cubicBezTo>
                  <a:cubicBezTo>
                    <a:pt x="3536" y="2018"/>
                    <a:pt x="3550" y="2005"/>
                    <a:pt x="3569" y="2003"/>
                  </a:cubicBezTo>
                  <a:cubicBezTo>
                    <a:pt x="3588" y="2002"/>
                    <a:pt x="3606" y="2012"/>
                    <a:pt x="3609" y="2027"/>
                  </a:cubicBezTo>
                  <a:cubicBezTo>
                    <a:pt x="3612" y="2042"/>
                    <a:pt x="3598" y="2055"/>
                    <a:pt x="3579" y="2057"/>
                  </a:cubicBezTo>
                  <a:close/>
                  <a:moveTo>
                    <a:pt x="3540" y="2138"/>
                  </a:moveTo>
                  <a:cubicBezTo>
                    <a:pt x="3520" y="2140"/>
                    <a:pt x="3502" y="2129"/>
                    <a:pt x="3500" y="2114"/>
                  </a:cubicBezTo>
                  <a:cubicBezTo>
                    <a:pt x="3497" y="2100"/>
                    <a:pt x="3511" y="2086"/>
                    <a:pt x="3531" y="2085"/>
                  </a:cubicBezTo>
                  <a:cubicBezTo>
                    <a:pt x="3550" y="2083"/>
                    <a:pt x="3568" y="2093"/>
                    <a:pt x="3571" y="2108"/>
                  </a:cubicBezTo>
                  <a:cubicBezTo>
                    <a:pt x="3573" y="2123"/>
                    <a:pt x="3559" y="2136"/>
                    <a:pt x="3540" y="2138"/>
                  </a:cubicBezTo>
                  <a:close/>
                  <a:moveTo>
                    <a:pt x="3469" y="2067"/>
                  </a:moveTo>
                  <a:cubicBezTo>
                    <a:pt x="3449" y="2068"/>
                    <a:pt x="3431" y="2058"/>
                    <a:pt x="3429" y="2043"/>
                  </a:cubicBezTo>
                  <a:cubicBezTo>
                    <a:pt x="3427" y="2028"/>
                    <a:pt x="3440" y="2015"/>
                    <a:pt x="3460" y="2013"/>
                  </a:cubicBezTo>
                  <a:cubicBezTo>
                    <a:pt x="3479" y="2011"/>
                    <a:pt x="3497" y="2022"/>
                    <a:pt x="3499" y="2037"/>
                  </a:cubicBezTo>
                  <a:cubicBezTo>
                    <a:pt x="3502" y="2052"/>
                    <a:pt x="3488" y="2065"/>
                    <a:pt x="3469" y="2067"/>
                  </a:cubicBezTo>
                  <a:close/>
                  <a:moveTo>
                    <a:pt x="3428" y="2148"/>
                  </a:moveTo>
                  <a:cubicBezTo>
                    <a:pt x="3409" y="2149"/>
                    <a:pt x="3391" y="2139"/>
                    <a:pt x="3389" y="2124"/>
                  </a:cubicBezTo>
                  <a:cubicBezTo>
                    <a:pt x="3386" y="2109"/>
                    <a:pt x="3400" y="2096"/>
                    <a:pt x="3420" y="2094"/>
                  </a:cubicBezTo>
                  <a:cubicBezTo>
                    <a:pt x="3439" y="2092"/>
                    <a:pt x="3457" y="2103"/>
                    <a:pt x="3460" y="2118"/>
                  </a:cubicBezTo>
                  <a:cubicBezTo>
                    <a:pt x="3462" y="2133"/>
                    <a:pt x="3448" y="2146"/>
                    <a:pt x="3428" y="2148"/>
                  </a:cubicBezTo>
                  <a:close/>
                  <a:moveTo>
                    <a:pt x="3358" y="2076"/>
                  </a:moveTo>
                  <a:cubicBezTo>
                    <a:pt x="3339" y="2077"/>
                    <a:pt x="3321" y="2067"/>
                    <a:pt x="3319" y="2052"/>
                  </a:cubicBezTo>
                  <a:cubicBezTo>
                    <a:pt x="3317" y="2037"/>
                    <a:pt x="3331" y="2024"/>
                    <a:pt x="3350" y="2022"/>
                  </a:cubicBezTo>
                  <a:cubicBezTo>
                    <a:pt x="3369" y="2021"/>
                    <a:pt x="3387" y="2031"/>
                    <a:pt x="3389" y="2046"/>
                  </a:cubicBezTo>
                  <a:cubicBezTo>
                    <a:pt x="3392" y="2061"/>
                    <a:pt x="3378" y="2074"/>
                    <a:pt x="3358" y="2076"/>
                  </a:cubicBezTo>
                  <a:close/>
                  <a:moveTo>
                    <a:pt x="3317" y="2157"/>
                  </a:moveTo>
                  <a:cubicBezTo>
                    <a:pt x="3297" y="2158"/>
                    <a:pt x="3279" y="2147"/>
                    <a:pt x="3277" y="2132"/>
                  </a:cubicBezTo>
                  <a:cubicBezTo>
                    <a:pt x="3275" y="2117"/>
                    <a:pt x="3290" y="2104"/>
                    <a:pt x="3309" y="2103"/>
                  </a:cubicBezTo>
                  <a:cubicBezTo>
                    <a:pt x="3329" y="2101"/>
                    <a:pt x="3346" y="2112"/>
                    <a:pt x="3348" y="2127"/>
                  </a:cubicBezTo>
                  <a:cubicBezTo>
                    <a:pt x="3351" y="2142"/>
                    <a:pt x="3336" y="2155"/>
                    <a:pt x="3317" y="2157"/>
                  </a:cubicBezTo>
                  <a:close/>
                  <a:moveTo>
                    <a:pt x="3248" y="2084"/>
                  </a:moveTo>
                  <a:cubicBezTo>
                    <a:pt x="3228" y="2086"/>
                    <a:pt x="3211" y="2075"/>
                    <a:pt x="3209" y="2060"/>
                  </a:cubicBezTo>
                  <a:cubicBezTo>
                    <a:pt x="3207" y="2045"/>
                    <a:pt x="3221" y="2032"/>
                    <a:pt x="3241" y="2030"/>
                  </a:cubicBezTo>
                  <a:cubicBezTo>
                    <a:pt x="3260" y="2029"/>
                    <a:pt x="3277" y="2040"/>
                    <a:pt x="3279" y="2055"/>
                  </a:cubicBezTo>
                  <a:cubicBezTo>
                    <a:pt x="3281" y="2069"/>
                    <a:pt x="3267" y="2083"/>
                    <a:pt x="3248" y="2084"/>
                  </a:cubicBezTo>
                  <a:close/>
                  <a:moveTo>
                    <a:pt x="3186" y="2013"/>
                  </a:moveTo>
                  <a:cubicBezTo>
                    <a:pt x="3167" y="2015"/>
                    <a:pt x="3150" y="2004"/>
                    <a:pt x="3148" y="1989"/>
                  </a:cubicBezTo>
                  <a:cubicBezTo>
                    <a:pt x="3146" y="1974"/>
                    <a:pt x="3160" y="1961"/>
                    <a:pt x="3179" y="1959"/>
                  </a:cubicBezTo>
                  <a:cubicBezTo>
                    <a:pt x="3198" y="1958"/>
                    <a:pt x="3216" y="1969"/>
                    <a:pt x="3217" y="1984"/>
                  </a:cubicBezTo>
                  <a:cubicBezTo>
                    <a:pt x="3219" y="1999"/>
                    <a:pt x="3205" y="2012"/>
                    <a:pt x="3186" y="2013"/>
                  </a:cubicBezTo>
                  <a:close/>
                  <a:moveTo>
                    <a:pt x="3137" y="2092"/>
                  </a:moveTo>
                  <a:cubicBezTo>
                    <a:pt x="3118" y="2093"/>
                    <a:pt x="3101" y="2082"/>
                    <a:pt x="3099" y="2067"/>
                  </a:cubicBezTo>
                  <a:cubicBezTo>
                    <a:pt x="3097" y="2052"/>
                    <a:pt x="3112" y="2039"/>
                    <a:pt x="3131" y="2038"/>
                  </a:cubicBezTo>
                  <a:cubicBezTo>
                    <a:pt x="3150" y="2036"/>
                    <a:pt x="3167" y="2047"/>
                    <a:pt x="3169" y="2062"/>
                  </a:cubicBezTo>
                  <a:cubicBezTo>
                    <a:pt x="3171" y="2077"/>
                    <a:pt x="3157" y="2090"/>
                    <a:pt x="3137" y="2092"/>
                  </a:cubicBezTo>
                  <a:close/>
                  <a:moveTo>
                    <a:pt x="3077" y="2020"/>
                  </a:moveTo>
                  <a:cubicBezTo>
                    <a:pt x="3058" y="2022"/>
                    <a:pt x="3041" y="2010"/>
                    <a:pt x="3039" y="1995"/>
                  </a:cubicBezTo>
                  <a:cubicBezTo>
                    <a:pt x="3037" y="1980"/>
                    <a:pt x="3052" y="1967"/>
                    <a:pt x="3071" y="1966"/>
                  </a:cubicBezTo>
                  <a:cubicBezTo>
                    <a:pt x="3090" y="1965"/>
                    <a:pt x="3107" y="1976"/>
                    <a:pt x="3109" y="1991"/>
                  </a:cubicBezTo>
                  <a:cubicBezTo>
                    <a:pt x="3110" y="2006"/>
                    <a:pt x="3096" y="2019"/>
                    <a:pt x="3077" y="2020"/>
                  </a:cubicBezTo>
                  <a:close/>
                  <a:moveTo>
                    <a:pt x="3027" y="2098"/>
                  </a:moveTo>
                  <a:cubicBezTo>
                    <a:pt x="3007" y="2099"/>
                    <a:pt x="2990" y="2088"/>
                    <a:pt x="2989" y="2073"/>
                  </a:cubicBezTo>
                  <a:cubicBezTo>
                    <a:pt x="2987" y="2058"/>
                    <a:pt x="3002" y="2045"/>
                    <a:pt x="3021" y="2044"/>
                  </a:cubicBezTo>
                  <a:cubicBezTo>
                    <a:pt x="3041" y="2043"/>
                    <a:pt x="3058" y="2054"/>
                    <a:pt x="3059" y="2069"/>
                  </a:cubicBezTo>
                  <a:cubicBezTo>
                    <a:pt x="3061" y="2084"/>
                    <a:pt x="3046" y="2097"/>
                    <a:pt x="3027" y="2098"/>
                  </a:cubicBezTo>
                  <a:close/>
                  <a:moveTo>
                    <a:pt x="2967" y="2027"/>
                  </a:moveTo>
                  <a:cubicBezTo>
                    <a:pt x="2948" y="2028"/>
                    <a:pt x="2931" y="2016"/>
                    <a:pt x="2930" y="2001"/>
                  </a:cubicBezTo>
                  <a:cubicBezTo>
                    <a:pt x="2929" y="1986"/>
                    <a:pt x="2943" y="1973"/>
                    <a:pt x="2962" y="1972"/>
                  </a:cubicBezTo>
                  <a:cubicBezTo>
                    <a:pt x="2981" y="1971"/>
                    <a:pt x="2998" y="1983"/>
                    <a:pt x="3000" y="1998"/>
                  </a:cubicBezTo>
                  <a:cubicBezTo>
                    <a:pt x="3001" y="2013"/>
                    <a:pt x="2987" y="2026"/>
                    <a:pt x="2967" y="2027"/>
                  </a:cubicBezTo>
                  <a:close/>
                  <a:moveTo>
                    <a:pt x="2916" y="2104"/>
                  </a:moveTo>
                  <a:cubicBezTo>
                    <a:pt x="2897" y="2105"/>
                    <a:pt x="2880" y="2094"/>
                    <a:pt x="2879" y="2079"/>
                  </a:cubicBezTo>
                  <a:cubicBezTo>
                    <a:pt x="2878" y="2064"/>
                    <a:pt x="2892" y="2051"/>
                    <a:pt x="2912" y="2050"/>
                  </a:cubicBezTo>
                  <a:cubicBezTo>
                    <a:pt x="2931" y="2049"/>
                    <a:pt x="2948" y="2060"/>
                    <a:pt x="2949" y="2075"/>
                  </a:cubicBezTo>
                  <a:cubicBezTo>
                    <a:pt x="2950" y="2090"/>
                    <a:pt x="2936" y="2103"/>
                    <a:pt x="2916" y="2104"/>
                  </a:cubicBezTo>
                  <a:close/>
                  <a:moveTo>
                    <a:pt x="2858" y="2032"/>
                  </a:moveTo>
                  <a:cubicBezTo>
                    <a:pt x="2839" y="2033"/>
                    <a:pt x="2822" y="2021"/>
                    <a:pt x="2821" y="2006"/>
                  </a:cubicBezTo>
                  <a:cubicBezTo>
                    <a:pt x="2820" y="1991"/>
                    <a:pt x="2835" y="1979"/>
                    <a:pt x="2854" y="1978"/>
                  </a:cubicBezTo>
                  <a:cubicBezTo>
                    <a:pt x="2873" y="1977"/>
                    <a:pt x="2889" y="1988"/>
                    <a:pt x="2891" y="2003"/>
                  </a:cubicBezTo>
                  <a:cubicBezTo>
                    <a:pt x="2892" y="2018"/>
                    <a:pt x="2877" y="2031"/>
                    <a:pt x="2858" y="2032"/>
                  </a:cubicBezTo>
                  <a:close/>
                  <a:moveTo>
                    <a:pt x="2806" y="2109"/>
                  </a:moveTo>
                  <a:cubicBezTo>
                    <a:pt x="2786" y="2110"/>
                    <a:pt x="2770" y="2099"/>
                    <a:pt x="2769" y="2084"/>
                  </a:cubicBezTo>
                  <a:cubicBezTo>
                    <a:pt x="2768" y="2069"/>
                    <a:pt x="2782" y="2056"/>
                    <a:pt x="2802" y="2055"/>
                  </a:cubicBezTo>
                  <a:cubicBezTo>
                    <a:pt x="2821" y="2054"/>
                    <a:pt x="2838" y="2066"/>
                    <a:pt x="2839" y="2081"/>
                  </a:cubicBezTo>
                  <a:cubicBezTo>
                    <a:pt x="2840" y="2096"/>
                    <a:pt x="2825" y="2109"/>
                    <a:pt x="2806" y="2109"/>
                  </a:cubicBezTo>
                  <a:close/>
                  <a:moveTo>
                    <a:pt x="2749" y="2037"/>
                  </a:moveTo>
                  <a:cubicBezTo>
                    <a:pt x="2729" y="2037"/>
                    <a:pt x="2713" y="2026"/>
                    <a:pt x="2712" y="2011"/>
                  </a:cubicBezTo>
                  <a:cubicBezTo>
                    <a:pt x="2711" y="1996"/>
                    <a:pt x="2726" y="1983"/>
                    <a:pt x="2745" y="1982"/>
                  </a:cubicBezTo>
                  <a:cubicBezTo>
                    <a:pt x="2764" y="1982"/>
                    <a:pt x="2781" y="1993"/>
                    <a:pt x="2782" y="2008"/>
                  </a:cubicBezTo>
                  <a:cubicBezTo>
                    <a:pt x="2783" y="2023"/>
                    <a:pt x="2768" y="2036"/>
                    <a:pt x="2749" y="2037"/>
                  </a:cubicBezTo>
                  <a:close/>
                  <a:moveTo>
                    <a:pt x="2729" y="2085"/>
                  </a:moveTo>
                  <a:cubicBezTo>
                    <a:pt x="2730" y="2100"/>
                    <a:pt x="2715" y="2113"/>
                    <a:pt x="2695" y="2114"/>
                  </a:cubicBezTo>
                  <a:cubicBezTo>
                    <a:pt x="2676" y="2114"/>
                    <a:pt x="2659" y="2103"/>
                    <a:pt x="2658" y="2088"/>
                  </a:cubicBezTo>
                  <a:cubicBezTo>
                    <a:pt x="2658" y="2073"/>
                    <a:pt x="2673" y="2060"/>
                    <a:pt x="2692" y="2059"/>
                  </a:cubicBezTo>
                  <a:cubicBezTo>
                    <a:pt x="2711" y="2059"/>
                    <a:pt x="2728" y="2070"/>
                    <a:pt x="2729" y="2085"/>
                  </a:cubicBezTo>
                  <a:close/>
                  <a:moveTo>
                    <a:pt x="2639" y="2041"/>
                  </a:moveTo>
                  <a:cubicBezTo>
                    <a:pt x="2620" y="2041"/>
                    <a:pt x="2604" y="2029"/>
                    <a:pt x="2603" y="2014"/>
                  </a:cubicBezTo>
                  <a:cubicBezTo>
                    <a:pt x="2602" y="1999"/>
                    <a:pt x="2617" y="1987"/>
                    <a:pt x="2636" y="1986"/>
                  </a:cubicBezTo>
                  <a:cubicBezTo>
                    <a:pt x="2656" y="1986"/>
                    <a:pt x="2672" y="1997"/>
                    <a:pt x="2673" y="2012"/>
                  </a:cubicBezTo>
                  <a:cubicBezTo>
                    <a:pt x="2673" y="2027"/>
                    <a:pt x="2658" y="2040"/>
                    <a:pt x="2639" y="2041"/>
                  </a:cubicBezTo>
                  <a:close/>
                  <a:moveTo>
                    <a:pt x="2619" y="2089"/>
                  </a:moveTo>
                  <a:cubicBezTo>
                    <a:pt x="2619" y="2104"/>
                    <a:pt x="2604" y="2117"/>
                    <a:pt x="2584" y="2117"/>
                  </a:cubicBezTo>
                  <a:cubicBezTo>
                    <a:pt x="2565" y="2118"/>
                    <a:pt x="2549" y="2106"/>
                    <a:pt x="2548" y="2091"/>
                  </a:cubicBezTo>
                  <a:cubicBezTo>
                    <a:pt x="2548" y="2076"/>
                    <a:pt x="2563" y="2063"/>
                    <a:pt x="2582" y="2063"/>
                  </a:cubicBezTo>
                  <a:cubicBezTo>
                    <a:pt x="2602" y="2062"/>
                    <a:pt x="2618" y="2074"/>
                    <a:pt x="2619" y="2089"/>
                  </a:cubicBezTo>
                  <a:close/>
                  <a:moveTo>
                    <a:pt x="2530" y="2044"/>
                  </a:moveTo>
                  <a:cubicBezTo>
                    <a:pt x="2510" y="2044"/>
                    <a:pt x="2494" y="2032"/>
                    <a:pt x="2494" y="2017"/>
                  </a:cubicBezTo>
                  <a:cubicBezTo>
                    <a:pt x="2493" y="2002"/>
                    <a:pt x="2509" y="1990"/>
                    <a:pt x="2528" y="1989"/>
                  </a:cubicBezTo>
                  <a:cubicBezTo>
                    <a:pt x="2547" y="1989"/>
                    <a:pt x="2563" y="2000"/>
                    <a:pt x="2563" y="2015"/>
                  </a:cubicBezTo>
                  <a:cubicBezTo>
                    <a:pt x="2564" y="2031"/>
                    <a:pt x="2549" y="2043"/>
                    <a:pt x="2530" y="2044"/>
                  </a:cubicBezTo>
                  <a:close/>
                  <a:moveTo>
                    <a:pt x="2508" y="2092"/>
                  </a:moveTo>
                  <a:cubicBezTo>
                    <a:pt x="2509" y="2107"/>
                    <a:pt x="2493" y="2120"/>
                    <a:pt x="2474" y="2120"/>
                  </a:cubicBezTo>
                  <a:cubicBezTo>
                    <a:pt x="2454" y="2120"/>
                    <a:pt x="2438" y="2109"/>
                    <a:pt x="2438" y="2093"/>
                  </a:cubicBezTo>
                  <a:cubicBezTo>
                    <a:pt x="2438" y="2078"/>
                    <a:pt x="2453" y="2066"/>
                    <a:pt x="2472" y="2065"/>
                  </a:cubicBezTo>
                  <a:cubicBezTo>
                    <a:pt x="2492" y="2065"/>
                    <a:pt x="2508" y="2077"/>
                    <a:pt x="2508" y="2092"/>
                  </a:cubicBezTo>
                  <a:close/>
                  <a:moveTo>
                    <a:pt x="2420" y="2046"/>
                  </a:moveTo>
                  <a:cubicBezTo>
                    <a:pt x="2401" y="2046"/>
                    <a:pt x="2385" y="2034"/>
                    <a:pt x="2385" y="2019"/>
                  </a:cubicBezTo>
                  <a:cubicBezTo>
                    <a:pt x="2385" y="2004"/>
                    <a:pt x="2400" y="1992"/>
                    <a:pt x="2419" y="1991"/>
                  </a:cubicBezTo>
                  <a:cubicBezTo>
                    <a:pt x="2438" y="1991"/>
                    <a:pt x="2454" y="2003"/>
                    <a:pt x="2454" y="2018"/>
                  </a:cubicBezTo>
                  <a:cubicBezTo>
                    <a:pt x="2455" y="2033"/>
                    <a:pt x="2439" y="2046"/>
                    <a:pt x="2420" y="2046"/>
                  </a:cubicBezTo>
                  <a:close/>
                  <a:moveTo>
                    <a:pt x="2398" y="2094"/>
                  </a:moveTo>
                  <a:cubicBezTo>
                    <a:pt x="2398" y="2109"/>
                    <a:pt x="2383" y="2122"/>
                    <a:pt x="2363" y="2122"/>
                  </a:cubicBezTo>
                  <a:cubicBezTo>
                    <a:pt x="2344" y="2122"/>
                    <a:pt x="2328" y="2110"/>
                    <a:pt x="2328" y="2095"/>
                  </a:cubicBezTo>
                  <a:cubicBezTo>
                    <a:pt x="2328" y="2080"/>
                    <a:pt x="2343" y="2068"/>
                    <a:pt x="2363" y="2067"/>
                  </a:cubicBezTo>
                  <a:cubicBezTo>
                    <a:pt x="2382" y="2067"/>
                    <a:pt x="2398" y="2079"/>
                    <a:pt x="2398" y="2094"/>
                  </a:cubicBezTo>
                  <a:close/>
                  <a:moveTo>
                    <a:pt x="2311" y="2047"/>
                  </a:moveTo>
                  <a:cubicBezTo>
                    <a:pt x="2291" y="2048"/>
                    <a:pt x="2276" y="2036"/>
                    <a:pt x="2276" y="2020"/>
                  </a:cubicBezTo>
                  <a:cubicBezTo>
                    <a:pt x="2276" y="2005"/>
                    <a:pt x="2291" y="1993"/>
                    <a:pt x="2310" y="1993"/>
                  </a:cubicBezTo>
                  <a:cubicBezTo>
                    <a:pt x="2330" y="1993"/>
                    <a:pt x="2345" y="2005"/>
                    <a:pt x="2345" y="2020"/>
                  </a:cubicBezTo>
                  <a:cubicBezTo>
                    <a:pt x="2345" y="2035"/>
                    <a:pt x="2330" y="2047"/>
                    <a:pt x="2311" y="2047"/>
                  </a:cubicBezTo>
                  <a:close/>
                  <a:moveTo>
                    <a:pt x="2288" y="2096"/>
                  </a:moveTo>
                  <a:cubicBezTo>
                    <a:pt x="2288" y="2111"/>
                    <a:pt x="2272" y="2123"/>
                    <a:pt x="2252" y="2123"/>
                  </a:cubicBezTo>
                  <a:cubicBezTo>
                    <a:pt x="2233" y="2123"/>
                    <a:pt x="2217" y="2111"/>
                    <a:pt x="2217" y="2096"/>
                  </a:cubicBezTo>
                  <a:cubicBezTo>
                    <a:pt x="2218" y="2081"/>
                    <a:pt x="2233" y="2069"/>
                    <a:pt x="2253" y="2069"/>
                  </a:cubicBezTo>
                  <a:cubicBezTo>
                    <a:pt x="2272" y="2068"/>
                    <a:pt x="2288" y="2080"/>
                    <a:pt x="2288" y="2096"/>
                  </a:cubicBezTo>
                  <a:close/>
                  <a:moveTo>
                    <a:pt x="2201" y="2048"/>
                  </a:moveTo>
                  <a:cubicBezTo>
                    <a:pt x="2182" y="2048"/>
                    <a:pt x="2166" y="2036"/>
                    <a:pt x="2167" y="2021"/>
                  </a:cubicBezTo>
                  <a:cubicBezTo>
                    <a:pt x="2167" y="2006"/>
                    <a:pt x="2183" y="1994"/>
                    <a:pt x="2202" y="1993"/>
                  </a:cubicBezTo>
                  <a:cubicBezTo>
                    <a:pt x="2221" y="1993"/>
                    <a:pt x="2236" y="2006"/>
                    <a:pt x="2236" y="2021"/>
                  </a:cubicBezTo>
                  <a:cubicBezTo>
                    <a:pt x="2236" y="2036"/>
                    <a:pt x="2220" y="2048"/>
                    <a:pt x="2201" y="2048"/>
                  </a:cubicBezTo>
                  <a:close/>
                  <a:moveTo>
                    <a:pt x="2177" y="2096"/>
                  </a:moveTo>
                  <a:cubicBezTo>
                    <a:pt x="2177" y="2111"/>
                    <a:pt x="2161" y="2124"/>
                    <a:pt x="2142" y="2124"/>
                  </a:cubicBezTo>
                  <a:cubicBezTo>
                    <a:pt x="2122" y="2124"/>
                    <a:pt x="2107" y="2111"/>
                    <a:pt x="2107" y="2096"/>
                  </a:cubicBezTo>
                  <a:cubicBezTo>
                    <a:pt x="2108" y="2081"/>
                    <a:pt x="2124" y="2069"/>
                    <a:pt x="2143" y="2069"/>
                  </a:cubicBezTo>
                  <a:cubicBezTo>
                    <a:pt x="2162" y="2069"/>
                    <a:pt x="2178" y="2081"/>
                    <a:pt x="2177" y="2096"/>
                  </a:cubicBezTo>
                  <a:close/>
                  <a:moveTo>
                    <a:pt x="2091" y="2048"/>
                  </a:moveTo>
                  <a:cubicBezTo>
                    <a:pt x="2072" y="2048"/>
                    <a:pt x="2057" y="2036"/>
                    <a:pt x="2057" y="2021"/>
                  </a:cubicBezTo>
                  <a:cubicBezTo>
                    <a:pt x="2058" y="2005"/>
                    <a:pt x="2074" y="1993"/>
                    <a:pt x="2093" y="1993"/>
                  </a:cubicBezTo>
                  <a:cubicBezTo>
                    <a:pt x="2112" y="1993"/>
                    <a:pt x="2127" y="2006"/>
                    <a:pt x="2127" y="2021"/>
                  </a:cubicBezTo>
                  <a:cubicBezTo>
                    <a:pt x="2127" y="2036"/>
                    <a:pt x="2111" y="2048"/>
                    <a:pt x="2091" y="2048"/>
                  </a:cubicBezTo>
                  <a:close/>
                  <a:moveTo>
                    <a:pt x="2067" y="2096"/>
                  </a:moveTo>
                  <a:cubicBezTo>
                    <a:pt x="2067" y="2111"/>
                    <a:pt x="2051" y="2123"/>
                    <a:pt x="2031" y="2123"/>
                  </a:cubicBezTo>
                  <a:cubicBezTo>
                    <a:pt x="2011" y="2123"/>
                    <a:pt x="1996" y="2111"/>
                    <a:pt x="1997" y="2095"/>
                  </a:cubicBezTo>
                  <a:cubicBezTo>
                    <a:pt x="1997" y="2080"/>
                    <a:pt x="2014" y="2068"/>
                    <a:pt x="2033" y="2068"/>
                  </a:cubicBezTo>
                  <a:cubicBezTo>
                    <a:pt x="2052" y="2069"/>
                    <a:pt x="2068" y="2081"/>
                    <a:pt x="2067" y="2096"/>
                  </a:cubicBezTo>
                  <a:close/>
                  <a:moveTo>
                    <a:pt x="1982" y="2047"/>
                  </a:moveTo>
                  <a:cubicBezTo>
                    <a:pt x="1963" y="2047"/>
                    <a:pt x="1948" y="2035"/>
                    <a:pt x="1948" y="2019"/>
                  </a:cubicBezTo>
                  <a:cubicBezTo>
                    <a:pt x="1949" y="2004"/>
                    <a:pt x="1965" y="1992"/>
                    <a:pt x="1984" y="1993"/>
                  </a:cubicBezTo>
                  <a:cubicBezTo>
                    <a:pt x="2003" y="1993"/>
                    <a:pt x="2019" y="2005"/>
                    <a:pt x="2018" y="2020"/>
                  </a:cubicBezTo>
                  <a:cubicBezTo>
                    <a:pt x="2017" y="2035"/>
                    <a:pt x="2001" y="2048"/>
                    <a:pt x="1982" y="2047"/>
                  </a:cubicBezTo>
                  <a:close/>
                  <a:moveTo>
                    <a:pt x="1957" y="2095"/>
                  </a:moveTo>
                  <a:cubicBezTo>
                    <a:pt x="1956" y="2110"/>
                    <a:pt x="1940" y="2122"/>
                    <a:pt x="1920" y="2122"/>
                  </a:cubicBezTo>
                  <a:cubicBezTo>
                    <a:pt x="1901" y="2122"/>
                    <a:pt x="1886" y="2109"/>
                    <a:pt x="1887" y="2094"/>
                  </a:cubicBezTo>
                  <a:cubicBezTo>
                    <a:pt x="1887" y="2079"/>
                    <a:pt x="1904" y="2067"/>
                    <a:pt x="1923" y="2067"/>
                  </a:cubicBezTo>
                  <a:cubicBezTo>
                    <a:pt x="1943" y="2067"/>
                    <a:pt x="1958" y="2080"/>
                    <a:pt x="1957" y="2095"/>
                  </a:cubicBezTo>
                  <a:close/>
                  <a:moveTo>
                    <a:pt x="1872" y="2046"/>
                  </a:moveTo>
                  <a:cubicBezTo>
                    <a:pt x="1853" y="2045"/>
                    <a:pt x="1838" y="2033"/>
                    <a:pt x="1839" y="2018"/>
                  </a:cubicBezTo>
                  <a:cubicBezTo>
                    <a:pt x="1840" y="2002"/>
                    <a:pt x="1856" y="1991"/>
                    <a:pt x="1876" y="1991"/>
                  </a:cubicBezTo>
                  <a:cubicBezTo>
                    <a:pt x="1895" y="1991"/>
                    <a:pt x="1910" y="2004"/>
                    <a:pt x="1909" y="2019"/>
                  </a:cubicBezTo>
                  <a:cubicBezTo>
                    <a:pt x="1908" y="2034"/>
                    <a:pt x="1892" y="2046"/>
                    <a:pt x="1872" y="2046"/>
                  </a:cubicBezTo>
                  <a:close/>
                  <a:moveTo>
                    <a:pt x="1847" y="2093"/>
                  </a:moveTo>
                  <a:cubicBezTo>
                    <a:pt x="1846" y="2108"/>
                    <a:pt x="1829" y="2120"/>
                    <a:pt x="1810" y="2120"/>
                  </a:cubicBezTo>
                  <a:cubicBezTo>
                    <a:pt x="1790" y="2120"/>
                    <a:pt x="1775" y="2107"/>
                    <a:pt x="1776" y="2092"/>
                  </a:cubicBezTo>
                  <a:cubicBezTo>
                    <a:pt x="1777" y="2077"/>
                    <a:pt x="1794" y="2065"/>
                    <a:pt x="1813" y="2065"/>
                  </a:cubicBezTo>
                  <a:cubicBezTo>
                    <a:pt x="1833" y="2066"/>
                    <a:pt x="1848" y="2078"/>
                    <a:pt x="1847" y="2093"/>
                  </a:cubicBezTo>
                  <a:close/>
                  <a:moveTo>
                    <a:pt x="1763" y="2043"/>
                  </a:moveTo>
                  <a:cubicBezTo>
                    <a:pt x="1744" y="2043"/>
                    <a:pt x="1729" y="2030"/>
                    <a:pt x="1730" y="2015"/>
                  </a:cubicBezTo>
                  <a:cubicBezTo>
                    <a:pt x="1731" y="2000"/>
                    <a:pt x="1748" y="1988"/>
                    <a:pt x="1767" y="1988"/>
                  </a:cubicBezTo>
                  <a:cubicBezTo>
                    <a:pt x="1786" y="1989"/>
                    <a:pt x="1801" y="2002"/>
                    <a:pt x="1800" y="2017"/>
                  </a:cubicBezTo>
                  <a:cubicBezTo>
                    <a:pt x="1799" y="2032"/>
                    <a:pt x="1782" y="2044"/>
                    <a:pt x="1763" y="2043"/>
                  </a:cubicBezTo>
                  <a:close/>
                  <a:moveTo>
                    <a:pt x="1736" y="2091"/>
                  </a:moveTo>
                  <a:cubicBezTo>
                    <a:pt x="1735" y="2106"/>
                    <a:pt x="1718" y="2118"/>
                    <a:pt x="1699" y="2117"/>
                  </a:cubicBezTo>
                  <a:cubicBezTo>
                    <a:pt x="1679" y="2117"/>
                    <a:pt x="1665" y="2104"/>
                    <a:pt x="1666" y="2089"/>
                  </a:cubicBezTo>
                  <a:cubicBezTo>
                    <a:pt x="1667" y="2074"/>
                    <a:pt x="1684" y="2062"/>
                    <a:pt x="1703" y="2062"/>
                  </a:cubicBezTo>
                  <a:cubicBezTo>
                    <a:pt x="1723" y="2063"/>
                    <a:pt x="1738" y="2076"/>
                    <a:pt x="1736" y="2091"/>
                  </a:cubicBezTo>
                  <a:close/>
                  <a:moveTo>
                    <a:pt x="1653" y="2040"/>
                  </a:moveTo>
                  <a:cubicBezTo>
                    <a:pt x="1634" y="2039"/>
                    <a:pt x="1620" y="2027"/>
                    <a:pt x="1621" y="2012"/>
                  </a:cubicBezTo>
                  <a:cubicBezTo>
                    <a:pt x="1622" y="1996"/>
                    <a:pt x="1639" y="1985"/>
                    <a:pt x="1658" y="1985"/>
                  </a:cubicBezTo>
                  <a:cubicBezTo>
                    <a:pt x="1677" y="1986"/>
                    <a:pt x="1692" y="1999"/>
                    <a:pt x="1691" y="2014"/>
                  </a:cubicBezTo>
                  <a:cubicBezTo>
                    <a:pt x="1689" y="2029"/>
                    <a:pt x="1673" y="2041"/>
                    <a:pt x="1653" y="2040"/>
                  </a:cubicBezTo>
                  <a:close/>
                  <a:moveTo>
                    <a:pt x="1626" y="2087"/>
                  </a:moveTo>
                  <a:cubicBezTo>
                    <a:pt x="1625" y="2103"/>
                    <a:pt x="1608" y="2114"/>
                    <a:pt x="1588" y="2114"/>
                  </a:cubicBezTo>
                  <a:cubicBezTo>
                    <a:pt x="1569" y="2113"/>
                    <a:pt x="1554" y="2100"/>
                    <a:pt x="1556" y="2085"/>
                  </a:cubicBezTo>
                  <a:cubicBezTo>
                    <a:pt x="1557" y="2070"/>
                    <a:pt x="1574" y="2058"/>
                    <a:pt x="1594" y="2059"/>
                  </a:cubicBezTo>
                  <a:cubicBezTo>
                    <a:pt x="1613" y="2059"/>
                    <a:pt x="1628" y="2072"/>
                    <a:pt x="1626" y="2087"/>
                  </a:cubicBezTo>
                  <a:close/>
                  <a:moveTo>
                    <a:pt x="1544" y="2036"/>
                  </a:moveTo>
                  <a:cubicBezTo>
                    <a:pt x="1524" y="2035"/>
                    <a:pt x="1510" y="2022"/>
                    <a:pt x="1512" y="2007"/>
                  </a:cubicBezTo>
                  <a:cubicBezTo>
                    <a:pt x="1514" y="1992"/>
                    <a:pt x="1530" y="1981"/>
                    <a:pt x="1550" y="1981"/>
                  </a:cubicBezTo>
                  <a:cubicBezTo>
                    <a:pt x="1569" y="1982"/>
                    <a:pt x="1583" y="1995"/>
                    <a:pt x="1581" y="2010"/>
                  </a:cubicBezTo>
                  <a:cubicBezTo>
                    <a:pt x="1580" y="2025"/>
                    <a:pt x="1563" y="2037"/>
                    <a:pt x="1544" y="2036"/>
                  </a:cubicBezTo>
                  <a:close/>
                  <a:moveTo>
                    <a:pt x="1516" y="2083"/>
                  </a:moveTo>
                  <a:cubicBezTo>
                    <a:pt x="1514" y="2099"/>
                    <a:pt x="1497" y="2110"/>
                    <a:pt x="1478" y="2109"/>
                  </a:cubicBezTo>
                  <a:cubicBezTo>
                    <a:pt x="1458" y="2108"/>
                    <a:pt x="1444" y="2095"/>
                    <a:pt x="1446" y="2080"/>
                  </a:cubicBezTo>
                  <a:cubicBezTo>
                    <a:pt x="1447" y="2065"/>
                    <a:pt x="1464" y="2054"/>
                    <a:pt x="1484" y="2054"/>
                  </a:cubicBezTo>
                  <a:cubicBezTo>
                    <a:pt x="1503" y="2055"/>
                    <a:pt x="1518" y="2068"/>
                    <a:pt x="1516" y="2083"/>
                  </a:cubicBezTo>
                  <a:close/>
                  <a:moveTo>
                    <a:pt x="1434" y="2031"/>
                  </a:moveTo>
                  <a:cubicBezTo>
                    <a:pt x="1415" y="2031"/>
                    <a:pt x="1401" y="2017"/>
                    <a:pt x="1403" y="2002"/>
                  </a:cubicBezTo>
                  <a:cubicBezTo>
                    <a:pt x="1405" y="1987"/>
                    <a:pt x="1422" y="1976"/>
                    <a:pt x="1441" y="1977"/>
                  </a:cubicBezTo>
                  <a:cubicBezTo>
                    <a:pt x="1460" y="1977"/>
                    <a:pt x="1474" y="1990"/>
                    <a:pt x="1472" y="2006"/>
                  </a:cubicBezTo>
                  <a:cubicBezTo>
                    <a:pt x="1471" y="2021"/>
                    <a:pt x="1454" y="2032"/>
                    <a:pt x="1434" y="2031"/>
                  </a:cubicBezTo>
                  <a:close/>
                  <a:moveTo>
                    <a:pt x="1406" y="2078"/>
                  </a:moveTo>
                  <a:cubicBezTo>
                    <a:pt x="1404" y="2094"/>
                    <a:pt x="1387" y="2105"/>
                    <a:pt x="1367" y="2104"/>
                  </a:cubicBezTo>
                  <a:cubicBezTo>
                    <a:pt x="1348" y="2103"/>
                    <a:pt x="1333" y="2090"/>
                    <a:pt x="1335" y="2075"/>
                  </a:cubicBezTo>
                  <a:cubicBezTo>
                    <a:pt x="1337" y="2060"/>
                    <a:pt x="1355" y="2048"/>
                    <a:pt x="1374" y="2049"/>
                  </a:cubicBezTo>
                  <a:cubicBezTo>
                    <a:pt x="1393" y="2050"/>
                    <a:pt x="1408" y="2063"/>
                    <a:pt x="1406" y="2078"/>
                  </a:cubicBezTo>
                  <a:close/>
                  <a:moveTo>
                    <a:pt x="1325" y="2026"/>
                  </a:moveTo>
                  <a:cubicBezTo>
                    <a:pt x="1306" y="2025"/>
                    <a:pt x="1292" y="2012"/>
                    <a:pt x="1294" y="1997"/>
                  </a:cubicBezTo>
                  <a:cubicBezTo>
                    <a:pt x="1296" y="1981"/>
                    <a:pt x="1313" y="1970"/>
                    <a:pt x="1332" y="1971"/>
                  </a:cubicBezTo>
                  <a:cubicBezTo>
                    <a:pt x="1351" y="1972"/>
                    <a:pt x="1365" y="1985"/>
                    <a:pt x="1363" y="2000"/>
                  </a:cubicBezTo>
                  <a:cubicBezTo>
                    <a:pt x="1361" y="2015"/>
                    <a:pt x="1344" y="2027"/>
                    <a:pt x="1325" y="2026"/>
                  </a:cubicBezTo>
                  <a:close/>
                  <a:moveTo>
                    <a:pt x="1295" y="2073"/>
                  </a:moveTo>
                  <a:cubicBezTo>
                    <a:pt x="1293" y="2088"/>
                    <a:pt x="1276" y="2099"/>
                    <a:pt x="1256" y="2098"/>
                  </a:cubicBezTo>
                  <a:cubicBezTo>
                    <a:pt x="1237" y="2097"/>
                    <a:pt x="1223" y="2084"/>
                    <a:pt x="1225" y="2069"/>
                  </a:cubicBezTo>
                  <a:cubicBezTo>
                    <a:pt x="1227" y="2054"/>
                    <a:pt x="1245" y="2042"/>
                    <a:pt x="1264" y="2043"/>
                  </a:cubicBezTo>
                  <a:cubicBezTo>
                    <a:pt x="1284" y="2044"/>
                    <a:pt x="1298" y="2058"/>
                    <a:pt x="1295" y="2073"/>
                  </a:cubicBezTo>
                  <a:close/>
                  <a:moveTo>
                    <a:pt x="1215" y="2020"/>
                  </a:moveTo>
                  <a:cubicBezTo>
                    <a:pt x="1196" y="2018"/>
                    <a:pt x="1182" y="2005"/>
                    <a:pt x="1185" y="1990"/>
                  </a:cubicBezTo>
                  <a:cubicBezTo>
                    <a:pt x="1187" y="1975"/>
                    <a:pt x="1205" y="1964"/>
                    <a:pt x="1224" y="1965"/>
                  </a:cubicBezTo>
                  <a:cubicBezTo>
                    <a:pt x="1243" y="1966"/>
                    <a:pt x="1257" y="1979"/>
                    <a:pt x="1254" y="1994"/>
                  </a:cubicBezTo>
                  <a:cubicBezTo>
                    <a:pt x="1252" y="2009"/>
                    <a:pt x="1235" y="2021"/>
                    <a:pt x="1215" y="2020"/>
                  </a:cubicBezTo>
                  <a:close/>
                  <a:moveTo>
                    <a:pt x="1185" y="2066"/>
                  </a:moveTo>
                  <a:cubicBezTo>
                    <a:pt x="1183" y="2081"/>
                    <a:pt x="1165" y="2093"/>
                    <a:pt x="1146" y="2092"/>
                  </a:cubicBezTo>
                  <a:cubicBezTo>
                    <a:pt x="1126" y="2090"/>
                    <a:pt x="1113" y="2077"/>
                    <a:pt x="1115" y="2062"/>
                  </a:cubicBezTo>
                  <a:cubicBezTo>
                    <a:pt x="1117" y="2047"/>
                    <a:pt x="1135" y="2035"/>
                    <a:pt x="1155" y="2037"/>
                  </a:cubicBezTo>
                  <a:cubicBezTo>
                    <a:pt x="1174" y="2038"/>
                    <a:pt x="1188" y="2051"/>
                    <a:pt x="1185" y="2066"/>
                  </a:cubicBezTo>
                  <a:close/>
                  <a:moveTo>
                    <a:pt x="1106" y="2013"/>
                  </a:moveTo>
                  <a:cubicBezTo>
                    <a:pt x="1087" y="2011"/>
                    <a:pt x="1073" y="1998"/>
                    <a:pt x="1076" y="1983"/>
                  </a:cubicBezTo>
                  <a:cubicBezTo>
                    <a:pt x="1078" y="1968"/>
                    <a:pt x="1096" y="1956"/>
                    <a:pt x="1115" y="1958"/>
                  </a:cubicBezTo>
                  <a:cubicBezTo>
                    <a:pt x="1134" y="1959"/>
                    <a:pt x="1148" y="1972"/>
                    <a:pt x="1145" y="1987"/>
                  </a:cubicBezTo>
                  <a:cubicBezTo>
                    <a:pt x="1143" y="2003"/>
                    <a:pt x="1125" y="2014"/>
                    <a:pt x="1106" y="2013"/>
                  </a:cubicBezTo>
                  <a:close/>
                  <a:moveTo>
                    <a:pt x="1062" y="1930"/>
                  </a:moveTo>
                  <a:cubicBezTo>
                    <a:pt x="1043" y="1929"/>
                    <a:pt x="1030" y="1915"/>
                    <a:pt x="1032" y="1900"/>
                  </a:cubicBezTo>
                  <a:cubicBezTo>
                    <a:pt x="1035" y="1885"/>
                    <a:pt x="1053" y="1874"/>
                    <a:pt x="1072" y="1875"/>
                  </a:cubicBezTo>
                  <a:cubicBezTo>
                    <a:pt x="1091" y="1877"/>
                    <a:pt x="1104" y="1890"/>
                    <a:pt x="1101" y="1905"/>
                  </a:cubicBezTo>
                  <a:cubicBezTo>
                    <a:pt x="1099" y="1920"/>
                    <a:pt x="1081" y="1932"/>
                    <a:pt x="1062" y="1930"/>
                  </a:cubicBezTo>
                  <a:close/>
                  <a:moveTo>
                    <a:pt x="1075" y="2059"/>
                  </a:moveTo>
                  <a:cubicBezTo>
                    <a:pt x="1073" y="2074"/>
                    <a:pt x="1055" y="2085"/>
                    <a:pt x="1035" y="2084"/>
                  </a:cubicBezTo>
                  <a:cubicBezTo>
                    <a:pt x="1016" y="2083"/>
                    <a:pt x="1002" y="2069"/>
                    <a:pt x="1005" y="2054"/>
                  </a:cubicBezTo>
                  <a:cubicBezTo>
                    <a:pt x="1008" y="2039"/>
                    <a:pt x="1025" y="2028"/>
                    <a:pt x="1045" y="2029"/>
                  </a:cubicBezTo>
                  <a:cubicBezTo>
                    <a:pt x="1064" y="2031"/>
                    <a:pt x="1078" y="2044"/>
                    <a:pt x="1075" y="2059"/>
                  </a:cubicBezTo>
                  <a:close/>
                  <a:moveTo>
                    <a:pt x="997" y="2005"/>
                  </a:moveTo>
                  <a:cubicBezTo>
                    <a:pt x="977" y="2003"/>
                    <a:pt x="964" y="1990"/>
                    <a:pt x="967" y="1975"/>
                  </a:cubicBezTo>
                  <a:cubicBezTo>
                    <a:pt x="970" y="1959"/>
                    <a:pt x="987" y="1948"/>
                    <a:pt x="1007" y="1950"/>
                  </a:cubicBezTo>
                  <a:cubicBezTo>
                    <a:pt x="1026" y="1951"/>
                    <a:pt x="1039" y="1965"/>
                    <a:pt x="1036" y="1980"/>
                  </a:cubicBezTo>
                  <a:cubicBezTo>
                    <a:pt x="1034" y="1995"/>
                    <a:pt x="1016" y="2006"/>
                    <a:pt x="997" y="2005"/>
                  </a:cubicBezTo>
                  <a:close/>
                  <a:moveTo>
                    <a:pt x="954" y="1922"/>
                  </a:moveTo>
                  <a:cubicBezTo>
                    <a:pt x="935" y="1920"/>
                    <a:pt x="922" y="1907"/>
                    <a:pt x="925" y="1892"/>
                  </a:cubicBezTo>
                  <a:cubicBezTo>
                    <a:pt x="928" y="1877"/>
                    <a:pt x="945" y="1866"/>
                    <a:pt x="964" y="1867"/>
                  </a:cubicBezTo>
                  <a:cubicBezTo>
                    <a:pt x="983" y="1869"/>
                    <a:pt x="996" y="1882"/>
                    <a:pt x="993" y="1897"/>
                  </a:cubicBezTo>
                  <a:cubicBezTo>
                    <a:pt x="991" y="1912"/>
                    <a:pt x="973" y="1924"/>
                    <a:pt x="954" y="1922"/>
                  </a:cubicBezTo>
                  <a:close/>
                  <a:moveTo>
                    <a:pt x="889" y="1812"/>
                  </a:moveTo>
                  <a:cubicBezTo>
                    <a:pt x="892" y="1797"/>
                    <a:pt x="910" y="1786"/>
                    <a:pt x="928" y="1787"/>
                  </a:cubicBezTo>
                  <a:cubicBezTo>
                    <a:pt x="947" y="1789"/>
                    <a:pt x="960" y="1803"/>
                    <a:pt x="957" y="1818"/>
                  </a:cubicBezTo>
                  <a:cubicBezTo>
                    <a:pt x="954" y="1833"/>
                    <a:pt x="936" y="1844"/>
                    <a:pt x="918" y="1842"/>
                  </a:cubicBezTo>
                  <a:cubicBezTo>
                    <a:pt x="899" y="1841"/>
                    <a:pt x="886" y="1827"/>
                    <a:pt x="889" y="1812"/>
                  </a:cubicBezTo>
                  <a:close/>
                  <a:moveTo>
                    <a:pt x="955" y="1738"/>
                  </a:moveTo>
                  <a:cubicBezTo>
                    <a:pt x="958" y="1723"/>
                    <a:pt x="975" y="1712"/>
                    <a:pt x="993" y="1713"/>
                  </a:cubicBezTo>
                  <a:cubicBezTo>
                    <a:pt x="1012" y="1715"/>
                    <a:pt x="1025" y="1728"/>
                    <a:pt x="1022" y="1743"/>
                  </a:cubicBezTo>
                  <a:cubicBezTo>
                    <a:pt x="1019" y="1759"/>
                    <a:pt x="1002" y="1770"/>
                    <a:pt x="983" y="1768"/>
                  </a:cubicBezTo>
                  <a:cubicBezTo>
                    <a:pt x="964" y="1767"/>
                    <a:pt x="952" y="1753"/>
                    <a:pt x="955" y="1738"/>
                  </a:cubicBezTo>
                  <a:close/>
                  <a:moveTo>
                    <a:pt x="1034" y="1796"/>
                  </a:moveTo>
                  <a:cubicBezTo>
                    <a:pt x="1053" y="1797"/>
                    <a:pt x="1066" y="1811"/>
                    <a:pt x="1064" y="1826"/>
                  </a:cubicBezTo>
                  <a:cubicBezTo>
                    <a:pt x="1061" y="1841"/>
                    <a:pt x="1043" y="1852"/>
                    <a:pt x="1025" y="1851"/>
                  </a:cubicBezTo>
                  <a:cubicBezTo>
                    <a:pt x="1006" y="1849"/>
                    <a:pt x="993" y="1836"/>
                    <a:pt x="995" y="1821"/>
                  </a:cubicBezTo>
                  <a:cubicBezTo>
                    <a:pt x="998" y="1806"/>
                    <a:pt x="1016" y="1795"/>
                    <a:pt x="1034" y="1796"/>
                  </a:cubicBezTo>
                  <a:close/>
                  <a:moveTo>
                    <a:pt x="1060" y="1746"/>
                  </a:moveTo>
                  <a:cubicBezTo>
                    <a:pt x="1063" y="1731"/>
                    <a:pt x="1080" y="1720"/>
                    <a:pt x="1098" y="1722"/>
                  </a:cubicBezTo>
                  <a:cubicBezTo>
                    <a:pt x="1117" y="1723"/>
                    <a:pt x="1130" y="1736"/>
                    <a:pt x="1127" y="1751"/>
                  </a:cubicBezTo>
                  <a:cubicBezTo>
                    <a:pt x="1125" y="1767"/>
                    <a:pt x="1107" y="1778"/>
                    <a:pt x="1089" y="1776"/>
                  </a:cubicBezTo>
                  <a:cubicBezTo>
                    <a:pt x="1070" y="1775"/>
                    <a:pt x="1057" y="1762"/>
                    <a:pt x="1060" y="1746"/>
                  </a:cubicBezTo>
                  <a:close/>
                  <a:moveTo>
                    <a:pt x="1141" y="1804"/>
                  </a:moveTo>
                  <a:cubicBezTo>
                    <a:pt x="1159" y="1805"/>
                    <a:pt x="1173" y="1818"/>
                    <a:pt x="1170" y="1834"/>
                  </a:cubicBezTo>
                  <a:cubicBezTo>
                    <a:pt x="1168" y="1849"/>
                    <a:pt x="1150" y="1860"/>
                    <a:pt x="1132" y="1859"/>
                  </a:cubicBezTo>
                  <a:cubicBezTo>
                    <a:pt x="1113" y="1857"/>
                    <a:pt x="1099" y="1844"/>
                    <a:pt x="1102" y="1829"/>
                  </a:cubicBezTo>
                  <a:cubicBezTo>
                    <a:pt x="1105" y="1814"/>
                    <a:pt x="1122" y="1802"/>
                    <a:pt x="1141" y="1804"/>
                  </a:cubicBezTo>
                  <a:close/>
                  <a:moveTo>
                    <a:pt x="1128" y="1675"/>
                  </a:moveTo>
                  <a:cubicBezTo>
                    <a:pt x="1131" y="1660"/>
                    <a:pt x="1148" y="1649"/>
                    <a:pt x="1166" y="1650"/>
                  </a:cubicBezTo>
                  <a:cubicBezTo>
                    <a:pt x="1184" y="1651"/>
                    <a:pt x="1197" y="1665"/>
                    <a:pt x="1195" y="1680"/>
                  </a:cubicBezTo>
                  <a:cubicBezTo>
                    <a:pt x="1192" y="1695"/>
                    <a:pt x="1176" y="1706"/>
                    <a:pt x="1157" y="1705"/>
                  </a:cubicBezTo>
                  <a:cubicBezTo>
                    <a:pt x="1139" y="1704"/>
                    <a:pt x="1126" y="1690"/>
                    <a:pt x="1128" y="1675"/>
                  </a:cubicBezTo>
                  <a:close/>
                  <a:moveTo>
                    <a:pt x="1191" y="1600"/>
                  </a:moveTo>
                  <a:cubicBezTo>
                    <a:pt x="1193" y="1585"/>
                    <a:pt x="1210" y="1574"/>
                    <a:pt x="1228" y="1575"/>
                  </a:cubicBezTo>
                  <a:cubicBezTo>
                    <a:pt x="1246" y="1576"/>
                    <a:pt x="1259" y="1590"/>
                    <a:pt x="1256" y="1605"/>
                  </a:cubicBezTo>
                  <a:cubicBezTo>
                    <a:pt x="1254" y="1620"/>
                    <a:pt x="1237" y="1631"/>
                    <a:pt x="1219" y="1630"/>
                  </a:cubicBezTo>
                  <a:cubicBezTo>
                    <a:pt x="1201" y="1629"/>
                    <a:pt x="1188" y="1615"/>
                    <a:pt x="1191" y="1600"/>
                  </a:cubicBezTo>
                  <a:close/>
                  <a:moveTo>
                    <a:pt x="1216" y="1446"/>
                  </a:moveTo>
                  <a:cubicBezTo>
                    <a:pt x="1218" y="1431"/>
                    <a:pt x="1235" y="1420"/>
                    <a:pt x="1252" y="1421"/>
                  </a:cubicBezTo>
                  <a:cubicBezTo>
                    <a:pt x="1270" y="1423"/>
                    <a:pt x="1282" y="1436"/>
                    <a:pt x="1280" y="1451"/>
                  </a:cubicBezTo>
                  <a:cubicBezTo>
                    <a:pt x="1278" y="1466"/>
                    <a:pt x="1261" y="1477"/>
                    <a:pt x="1243" y="1476"/>
                  </a:cubicBezTo>
                  <a:cubicBezTo>
                    <a:pt x="1226" y="1475"/>
                    <a:pt x="1213" y="1462"/>
                    <a:pt x="1216" y="1446"/>
                  </a:cubicBezTo>
                  <a:close/>
                  <a:moveTo>
                    <a:pt x="1293" y="1503"/>
                  </a:moveTo>
                  <a:cubicBezTo>
                    <a:pt x="1311" y="1504"/>
                    <a:pt x="1324" y="1518"/>
                    <a:pt x="1322" y="1533"/>
                  </a:cubicBezTo>
                  <a:cubicBezTo>
                    <a:pt x="1319" y="1548"/>
                    <a:pt x="1303" y="1559"/>
                    <a:pt x="1285" y="1558"/>
                  </a:cubicBezTo>
                  <a:cubicBezTo>
                    <a:pt x="1267" y="1557"/>
                    <a:pt x="1254" y="1544"/>
                    <a:pt x="1257" y="1528"/>
                  </a:cubicBezTo>
                  <a:cubicBezTo>
                    <a:pt x="1259" y="1513"/>
                    <a:pt x="1275" y="1502"/>
                    <a:pt x="1293" y="1503"/>
                  </a:cubicBezTo>
                  <a:close/>
                  <a:moveTo>
                    <a:pt x="1316" y="1453"/>
                  </a:moveTo>
                  <a:cubicBezTo>
                    <a:pt x="1319" y="1438"/>
                    <a:pt x="1335" y="1427"/>
                    <a:pt x="1353" y="1428"/>
                  </a:cubicBezTo>
                  <a:cubicBezTo>
                    <a:pt x="1370" y="1429"/>
                    <a:pt x="1383" y="1442"/>
                    <a:pt x="1381" y="1457"/>
                  </a:cubicBezTo>
                  <a:cubicBezTo>
                    <a:pt x="1379" y="1473"/>
                    <a:pt x="1362" y="1484"/>
                    <a:pt x="1345" y="1483"/>
                  </a:cubicBezTo>
                  <a:cubicBezTo>
                    <a:pt x="1327" y="1482"/>
                    <a:pt x="1314" y="1469"/>
                    <a:pt x="1316" y="1453"/>
                  </a:cubicBezTo>
                  <a:close/>
                  <a:moveTo>
                    <a:pt x="1380" y="1381"/>
                  </a:moveTo>
                  <a:cubicBezTo>
                    <a:pt x="1382" y="1366"/>
                    <a:pt x="1398" y="1355"/>
                    <a:pt x="1416" y="1356"/>
                  </a:cubicBezTo>
                  <a:cubicBezTo>
                    <a:pt x="1433" y="1357"/>
                    <a:pt x="1446" y="1370"/>
                    <a:pt x="1444" y="1385"/>
                  </a:cubicBezTo>
                  <a:cubicBezTo>
                    <a:pt x="1442" y="1400"/>
                    <a:pt x="1426" y="1412"/>
                    <a:pt x="1408" y="1411"/>
                  </a:cubicBezTo>
                  <a:cubicBezTo>
                    <a:pt x="1391" y="1409"/>
                    <a:pt x="1378" y="1396"/>
                    <a:pt x="1380" y="1381"/>
                  </a:cubicBezTo>
                  <a:close/>
                  <a:moveTo>
                    <a:pt x="1438" y="1306"/>
                  </a:moveTo>
                  <a:cubicBezTo>
                    <a:pt x="1440" y="1291"/>
                    <a:pt x="1455" y="1279"/>
                    <a:pt x="1473" y="1280"/>
                  </a:cubicBezTo>
                  <a:cubicBezTo>
                    <a:pt x="1490" y="1281"/>
                    <a:pt x="1502" y="1294"/>
                    <a:pt x="1500" y="1309"/>
                  </a:cubicBezTo>
                  <a:cubicBezTo>
                    <a:pt x="1499" y="1324"/>
                    <a:pt x="1483" y="1336"/>
                    <a:pt x="1466" y="1335"/>
                  </a:cubicBezTo>
                  <a:cubicBezTo>
                    <a:pt x="1448" y="1334"/>
                    <a:pt x="1436" y="1321"/>
                    <a:pt x="1438" y="1306"/>
                  </a:cubicBezTo>
                  <a:close/>
                  <a:moveTo>
                    <a:pt x="1515" y="1361"/>
                  </a:moveTo>
                  <a:cubicBezTo>
                    <a:pt x="1532" y="1362"/>
                    <a:pt x="1545" y="1375"/>
                    <a:pt x="1543" y="1390"/>
                  </a:cubicBezTo>
                  <a:cubicBezTo>
                    <a:pt x="1542" y="1405"/>
                    <a:pt x="1526" y="1417"/>
                    <a:pt x="1508" y="1416"/>
                  </a:cubicBezTo>
                  <a:cubicBezTo>
                    <a:pt x="1491" y="1415"/>
                    <a:pt x="1478" y="1402"/>
                    <a:pt x="1480" y="1387"/>
                  </a:cubicBezTo>
                  <a:cubicBezTo>
                    <a:pt x="1482" y="1372"/>
                    <a:pt x="1497" y="1360"/>
                    <a:pt x="1515" y="1361"/>
                  </a:cubicBezTo>
                  <a:close/>
                  <a:moveTo>
                    <a:pt x="1536" y="1311"/>
                  </a:moveTo>
                  <a:cubicBezTo>
                    <a:pt x="1538" y="1296"/>
                    <a:pt x="1553" y="1284"/>
                    <a:pt x="1571" y="1285"/>
                  </a:cubicBezTo>
                  <a:cubicBezTo>
                    <a:pt x="1588" y="1286"/>
                    <a:pt x="1601" y="1299"/>
                    <a:pt x="1599" y="1314"/>
                  </a:cubicBezTo>
                  <a:cubicBezTo>
                    <a:pt x="1597" y="1329"/>
                    <a:pt x="1582" y="1341"/>
                    <a:pt x="1564" y="1340"/>
                  </a:cubicBezTo>
                  <a:cubicBezTo>
                    <a:pt x="1547" y="1339"/>
                    <a:pt x="1534" y="1326"/>
                    <a:pt x="1536" y="1311"/>
                  </a:cubicBezTo>
                  <a:close/>
                  <a:moveTo>
                    <a:pt x="1614" y="1366"/>
                  </a:moveTo>
                  <a:cubicBezTo>
                    <a:pt x="1632" y="1367"/>
                    <a:pt x="1644" y="1380"/>
                    <a:pt x="1643" y="1395"/>
                  </a:cubicBezTo>
                  <a:cubicBezTo>
                    <a:pt x="1641" y="1410"/>
                    <a:pt x="1626" y="1422"/>
                    <a:pt x="1608" y="1421"/>
                  </a:cubicBezTo>
                  <a:cubicBezTo>
                    <a:pt x="1591" y="1420"/>
                    <a:pt x="1578" y="1407"/>
                    <a:pt x="1579" y="1392"/>
                  </a:cubicBezTo>
                  <a:cubicBezTo>
                    <a:pt x="1581" y="1377"/>
                    <a:pt x="1597" y="1365"/>
                    <a:pt x="1614" y="1366"/>
                  </a:cubicBezTo>
                  <a:close/>
                  <a:moveTo>
                    <a:pt x="1635" y="1316"/>
                  </a:moveTo>
                  <a:cubicBezTo>
                    <a:pt x="1636" y="1301"/>
                    <a:pt x="1651" y="1289"/>
                    <a:pt x="1669" y="1290"/>
                  </a:cubicBezTo>
                  <a:cubicBezTo>
                    <a:pt x="1686" y="1291"/>
                    <a:pt x="1699" y="1304"/>
                    <a:pt x="1697" y="1319"/>
                  </a:cubicBezTo>
                  <a:cubicBezTo>
                    <a:pt x="1696" y="1334"/>
                    <a:pt x="1681" y="1346"/>
                    <a:pt x="1663" y="1345"/>
                  </a:cubicBezTo>
                  <a:cubicBezTo>
                    <a:pt x="1646" y="1344"/>
                    <a:pt x="1633" y="1331"/>
                    <a:pt x="1635" y="1316"/>
                  </a:cubicBezTo>
                  <a:close/>
                  <a:moveTo>
                    <a:pt x="1713" y="1370"/>
                  </a:moveTo>
                  <a:cubicBezTo>
                    <a:pt x="1731" y="1371"/>
                    <a:pt x="1744" y="1384"/>
                    <a:pt x="1743" y="1399"/>
                  </a:cubicBezTo>
                  <a:cubicBezTo>
                    <a:pt x="1741" y="1414"/>
                    <a:pt x="1726" y="1426"/>
                    <a:pt x="1708" y="1425"/>
                  </a:cubicBezTo>
                  <a:cubicBezTo>
                    <a:pt x="1691" y="1424"/>
                    <a:pt x="1678" y="1412"/>
                    <a:pt x="1679" y="1396"/>
                  </a:cubicBezTo>
                  <a:cubicBezTo>
                    <a:pt x="1680" y="1381"/>
                    <a:pt x="1696" y="1370"/>
                    <a:pt x="1713" y="1370"/>
                  </a:cubicBezTo>
                  <a:close/>
                  <a:moveTo>
                    <a:pt x="1733" y="1320"/>
                  </a:moveTo>
                  <a:cubicBezTo>
                    <a:pt x="1734" y="1305"/>
                    <a:pt x="1749" y="1293"/>
                    <a:pt x="1767" y="1294"/>
                  </a:cubicBezTo>
                  <a:cubicBezTo>
                    <a:pt x="1784" y="1294"/>
                    <a:pt x="1797" y="1307"/>
                    <a:pt x="1796" y="1322"/>
                  </a:cubicBezTo>
                  <a:cubicBezTo>
                    <a:pt x="1795" y="1337"/>
                    <a:pt x="1780" y="1349"/>
                    <a:pt x="1762" y="1349"/>
                  </a:cubicBezTo>
                  <a:cubicBezTo>
                    <a:pt x="1745" y="1348"/>
                    <a:pt x="1732" y="1335"/>
                    <a:pt x="1733" y="1320"/>
                  </a:cubicBezTo>
                  <a:close/>
                  <a:moveTo>
                    <a:pt x="1813" y="1374"/>
                  </a:moveTo>
                  <a:cubicBezTo>
                    <a:pt x="1830" y="1374"/>
                    <a:pt x="1843" y="1387"/>
                    <a:pt x="1842" y="1402"/>
                  </a:cubicBezTo>
                  <a:cubicBezTo>
                    <a:pt x="1841" y="1417"/>
                    <a:pt x="1826" y="1429"/>
                    <a:pt x="1809" y="1429"/>
                  </a:cubicBezTo>
                  <a:cubicBezTo>
                    <a:pt x="1791" y="1428"/>
                    <a:pt x="1778" y="1415"/>
                    <a:pt x="1779" y="1400"/>
                  </a:cubicBezTo>
                  <a:cubicBezTo>
                    <a:pt x="1780" y="1385"/>
                    <a:pt x="1795" y="1373"/>
                    <a:pt x="1813" y="1374"/>
                  </a:cubicBezTo>
                  <a:close/>
                  <a:moveTo>
                    <a:pt x="1832" y="1323"/>
                  </a:moveTo>
                  <a:cubicBezTo>
                    <a:pt x="1833" y="1308"/>
                    <a:pt x="1848" y="1296"/>
                    <a:pt x="1865" y="1297"/>
                  </a:cubicBezTo>
                  <a:cubicBezTo>
                    <a:pt x="1882" y="1297"/>
                    <a:pt x="1895" y="1310"/>
                    <a:pt x="1894" y="1325"/>
                  </a:cubicBezTo>
                  <a:cubicBezTo>
                    <a:pt x="1894" y="1340"/>
                    <a:pt x="1879" y="1352"/>
                    <a:pt x="1861" y="1352"/>
                  </a:cubicBezTo>
                  <a:cubicBezTo>
                    <a:pt x="1844" y="1351"/>
                    <a:pt x="1830" y="1339"/>
                    <a:pt x="1832" y="1323"/>
                  </a:cubicBezTo>
                  <a:close/>
                  <a:moveTo>
                    <a:pt x="1912" y="1376"/>
                  </a:moveTo>
                  <a:cubicBezTo>
                    <a:pt x="1929" y="1377"/>
                    <a:pt x="1943" y="1389"/>
                    <a:pt x="1942" y="1405"/>
                  </a:cubicBezTo>
                  <a:cubicBezTo>
                    <a:pt x="1941" y="1420"/>
                    <a:pt x="1926" y="1432"/>
                    <a:pt x="1909" y="1431"/>
                  </a:cubicBezTo>
                  <a:cubicBezTo>
                    <a:pt x="1891" y="1431"/>
                    <a:pt x="1877" y="1418"/>
                    <a:pt x="1878" y="1403"/>
                  </a:cubicBezTo>
                  <a:cubicBezTo>
                    <a:pt x="1879" y="1388"/>
                    <a:pt x="1894" y="1376"/>
                    <a:pt x="1912" y="1376"/>
                  </a:cubicBezTo>
                  <a:close/>
                  <a:moveTo>
                    <a:pt x="1930" y="1326"/>
                  </a:moveTo>
                  <a:cubicBezTo>
                    <a:pt x="1931" y="1311"/>
                    <a:pt x="1946" y="1299"/>
                    <a:pt x="1963" y="1299"/>
                  </a:cubicBezTo>
                  <a:cubicBezTo>
                    <a:pt x="1980" y="1300"/>
                    <a:pt x="1994" y="1312"/>
                    <a:pt x="1993" y="1327"/>
                  </a:cubicBezTo>
                  <a:cubicBezTo>
                    <a:pt x="1992" y="1343"/>
                    <a:pt x="1978" y="1355"/>
                    <a:pt x="1960" y="1354"/>
                  </a:cubicBezTo>
                  <a:cubicBezTo>
                    <a:pt x="1943" y="1354"/>
                    <a:pt x="1929" y="1341"/>
                    <a:pt x="1930" y="1326"/>
                  </a:cubicBezTo>
                  <a:close/>
                  <a:moveTo>
                    <a:pt x="2011" y="1379"/>
                  </a:moveTo>
                  <a:cubicBezTo>
                    <a:pt x="2029" y="1379"/>
                    <a:pt x="2042" y="1391"/>
                    <a:pt x="2042" y="1406"/>
                  </a:cubicBezTo>
                  <a:cubicBezTo>
                    <a:pt x="2041" y="1422"/>
                    <a:pt x="2026" y="1434"/>
                    <a:pt x="2009" y="1433"/>
                  </a:cubicBezTo>
                  <a:cubicBezTo>
                    <a:pt x="1991" y="1433"/>
                    <a:pt x="1977" y="1420"/>
                    <a:pt x="1978" y="1405"/>
                  </a:cubicBezTo>
                  <a:cubicBezTo>
                    <a:pt x="1979" y="1390"/>
                    <a:pt x="1994" y="1378"/>
                    <a:pt x="2011" y="1379"/>
                  </a:cubicBezTo>
                  <a:close/>
                  <a:moveTo>
                    <a:pt x="2029" y="1328"/>
                  </a:moveTo>
                  <a:cubicBezTo>
                    <a:pt x="2029" y="1313"/>
                    <a:pt x="2044" y="1301"/>
                    <a:pt x="2061" y="1301"/>
                  </a:cubicBezTo>
                  <a:cubicBezTo>
                    <a:pt x="2078" y="1301"/>
                    <a:pt x="2092" y="1314"/>
                    <a:pt x="2092" y="1329"/>
                  </a:cubicBezTo>
                  <a:cubicBezTo>
                    <a:pt x="2091" y="1344"/>
                    <a:pt x="2077" y="1356"/>
                    <a:pt x="2059" y="1356"/>
                  </a:cubicBezTo>
                  <a:cubicBezTo>
                    <a:pt x="2042" y="1356"/>
                    <a:pt x="2028" y="1343"/>
                    <a:pt x="2029" y="1328"/>
                  </a:cubicBezTo>
                  <a:close/>
                  <a:moveTo>
                    <a:pt x="2111" y="1380"/>
                  </a:moveTo>
                  <a:cubicBezTo>
                    <a:pt x="2128" y="1380"/>
                    <a:pt x="2142" y="1392"/>
                    <a:pt x="2142" y="1408"/>
                  </a:cubicBezTo>
                  <a:cubicBezTo>
                    <a:pt x="2141" y="1423"/>
                    <a:pt x="2127" y="1435"/>
                    <a:pt x="2109" y="1435"/>
                  </a:cubicBezTo>
                  <a:cubicBezTo>
                    <a:pt x="2091" y="1434"/>
                    <a:pt x="2077" y="1422"/>
                    <a:pt x="2078" y="1407"/>
                  </a:cubicBezTo>
                  <a:cubicBezTo>
                    <a:pt x="2078" y="1392"/>
                    <a:pt x="2093" y="1380"/>
                    <a:pt x="2111" y="1380"/>
                  </a:cubicBezTo>
                  <a:close/>
                  <a:moveTo>
                    <a:pt x="2127" y="1329"/>
                  </a:moveTo>
                  <a:cubicBezTo>
                    <a:pt x="2128" y="1314"/>
                    <a:pt x="2142" y="1302"/>
                    <a:pt x="2159" y="1302"/>
                  </a:cubicBezTo>
                  <a:cubicBezTo>
                    <a:pt x="2177" y="1302"/>
                    <a:pt x="2190" y="1315"/>
                    <a:pt x="2190" y="1330"/>
                  </a:cubicBezTo>
                  <a:cubicBezTo>
                    <a:pt x="2190" y="1345"/>
                    <a:pt x="2175" y="1357"/>
                    <a:pt x="2158" y="1357"/>
                  </a:cubicBezTo>
                  <a:cubicBezTo>
                    <a:pt x="2141" y="1357"/>
                    <a:pt x="2127" y="1344"/>
                    <a:pt x="2127" y="1329"/>
                  </a:cubicBezTo>
                  <a:close/>
                  <a:moveTo>
                    <a:pt x="2180" y="1254"/>
                  </a:moveTo>
                  <a:cubicBezTo>
                    <a:pt x="2181" y="1239"/>
                    <a:pt x="2195" y="1227"/>
                    <a:pt x="2212" y="1227"/>
                  </a:cubicBezTo>
                  <a:cubicBezTo>
                    <a:pt x="2229" y="1227"/>
                    <a:pt x="2243" y="1240"/>
                    <a:pt x="2243" y="1255"/>
                  </a:cubicBezTo>
                  <a:cubicBezTo>
                    <a:pt x="2242" y="1270"/>
                    <a:pt x="2228" y="1282"/>
                    <a:pt x="2211" y="1282"/>
                  </a:cubicBezTo>
                  <a:cubicBezTo>
                    <a:pt x="2194" y="1282"/>
                    <a:pt x="2180" y="1270"/>
                    <a:pt x="2180" y="1254"/>
                  </a:cubicBezTo>
                  <a:close/>
                  <a:moveTo>
                    <a:pt x="2257" y="1303"/>
                  </a:moveTo>
                  <a:cubicBezTo>
                    <a:pt x="2275" y="1303"/>
                    <a:pt x="2289" y="1315"/>
                    <a:pt x="2289" y="1330"/>
                  </a:cubicBezTo>
                  <a:cubicBezTo>
                    <a:pt x="2289" y="1345"/>
                    <a:pt x="2274" y="1357"/>
                    <a:pt x="2257" y="1357"/>
                  </a:cubicBezTo>
                  <a:cubicBezTo>
                    <a:pt x="2240" y="1357"/>
                    <a:pt x="2226" y="1345"/>
                    <a:pt x="2226" y="1330"/>
                  </a:cubicBezTo>
                  <a:cubicBezTo>
                    <a:pt x="2226" y="1315"/>
                    <a:pt x="2240" y="1303"/>
                    <a:pt x="2257" y="1303"/>
                  </a:cubicBezTo>
                  <a:close/>
                  <a:moveTo>
                    <a:pt x="2278" y="1255"/>
                  </a:moveTo>
                  <a:cubicBezTo>
                    <a:pt x="2278" y="1240"/>
                    <a:pt x="2292" y="1227"/>
                    <a:pt x="2309" y="1227"/>
                  </a:cubicBezTo>
                  <a:cubicBezTo>
                    <a:pt x="2326" y="1227"/>
                    <a:pt x="2340" y="1239"/>
                    <a:pt x="2340" y="1255"/>
                  </a:cubicBezTo>
                  <a:cubicBezTo>
                    <a:pt x="2340" y="1270"/>
                    <a:pt x="2326" y="1282"/>
                    <a:pt x="2309" y="1282"/>
                  </a:cubicBezTo>
                  <a:cubicBezTo>
                    <a:pt x="2292" y="1282"/>
                    <a:pt x="2278" y="1270"/>
                    <a:pt x="2278" y="1255"/>
                  </a:cubicBezTo>
                  <a:close/>
                  <a:moveTo>
                    <a:pt x="2355" y="1302"/>
                  </a:moveTo>
                  <a:cubicBezTo>
                    <a:pt x="2373" y="1302"/>
                    <a:pt x="2387" y="1314"/>
                    <a:pt x="2387" y="1329"/>
                  </a:cubicBezTo>
                  <a:cubicBezTo>
                    <a:pt x="2387" y="1344"/>
                    <a:pt x="2373" y="1357"/>
                    <a:pt x="2356" y="1357"/>
                  </a:cubicBezTo>
                  <a:cubicBezTo>
                    <a:pt x="2339" y="1357"/>
                    <a:pt x="2324" y="1345"/>
                    <a:pt x="2324" y="1330"/>
                  </a:cubicBezTo>
                  <a:cubicBezTo>
                    <a:pt x="2324" y="1315"/>
                    <a:pt x="2338" y="1302"/>
                    <a:pt x="2355" y="1302"/>
                  </a:cubicBezTo>
                  <a:close/>
                  <a:moveTo>
                    <a:pt x="2375" y="1254"/>
                  </a:moveTo>
                  <a:cubicBezTo>
                    <a:pt x="2375" y="1239"/>
                    <a:pt x="2389" y="1227"/>
                    <a:pt x="2406" y="1227"/>
                  </a:cubicBezTo>
                  <a:cubicBezTo>
                    <a:pt x="2423" y="1227"/>
                    <a:pt x="2437" y="1239"/>
                    <a:pt x="2437" y="1254"/>
                  </a:cubicBezTo>
                  <a:cubicBezTo>
                    <a:pt x="2438" y="1269"/>
                    <a:pt x="2424" y="1281"/>
                    <a:pt x="2407" y="1281"/>
                  </a:cubicBezTo>
                  <a:cubicBezTo>
                    <a:pt x="2390" y="1281"/>
                    <a:pt x="2375" y="1269"/>
                    <a:pt x="2375" y="1254"/>
                  </a:cubicBezTo>
                  <a:close/>
                  <a:moveTo>
                    <a:pt x="2454" y="1301"/>
                  </a:moveTo>
                  <a:cubicBezTo>
                    <a:pt x="2471" y="1301"/>
                    <a:pt x="2485" y="1313"/>
                    <a:pt x="2486" y="1328"/>
                  </a:cubicBezTo>
                  <a:cubicBezTo>
                    <a:pt x="2486" y="1343"/>
                    <a:pt x="2472" y="1356"/>
                    <a:pt x="2455" y="1356"/>
                  </a:cubicBezTo>
                  <a:cubicBezTo>
                    <a:pt x="2438" y="1356"/>
                    <a:pt x="2423" y="1344"/>
                    <a:pt x="2423" y="1329"/>
                  </a:cubicBezTo>
                  <a:cubicBezTo>
                    <a:pt x="2423" y="1314"/>
                    <a:pt x="2436" y="1301"/>
                    <a:pt x="2454" y="1301"/>
                  </a:cubicBezTo>
                  <a:close/>
                  <a:moveTo>
                    <a:pt x="2473" y="1253"/>
                  </a:moveTo>
                  <a:cubicBezTo>
                    <a:pt x="2472" y="1238"/>
                    <a:pt x="2486" y="1226"/>
                    <a:pt x="2503" y="1225"/>
                  </a:cubicBezTo>
                  <a:cubicBezTo>
                    <a:pt x="2520" y="1225"/>
                    <a:pt x="2534" y="1237"/>
                    <a:pt x="2535" y="1252"/>
                  </a:cubicBezTo>
                  <a:cubicBezTo>
                    <a:pt x="2535" y="1267"/>
                    <a:pt x="2522" y="1280"/>
                    <a:pt x="2505" y="1280"/>
                  </a:cubicBezTo>
                  <a:cubicBezTo>
                    <a:pt x="2487" y="1280"/>
                    <a:pt x="2473" y="1268"/>
                    <a:pt x="2473" y="1253"/>
                  </a:cubicBezTo>
                  <a:close/>
                  <a:moveTo>
                    <a:pt x="2552" y="1300"/>
                  </a:moveTo>
                  <a:cubicBezTo>
                    <a:pt x="2569" y="1299"/>
                    <a:pt x="2584" y="1311"/>
                    <a:pt x="2584" y="1326"/>
                  </a:cubicBezTo>
                  <a:cubicBezTo>
                    <a:pt x="2585" y="1341"/>
                    <a:pt x="2571" y="1354"/>
                    <a:pt x="2554" y="1354"/>
                  </a:cubicBezTo>
                  <a:cubicBezTo>
                    <a:pt x="2536" y="1354"/>
                    <a:pt x="2522" y="1342"/>
                    <a:pt x="2521" y="1327"/>
                  </a:cubicBezTo>
                  <a:cubicBezTo>
                    <a:pt x="2521" y="1312"/>
                    <a:pt x="2534" y="1300"/>
                    <a:pt x="2552" y="1300"/>
                  </a:cubicBezTo>
                  <a:close/>
                  <a:moveTo>
                    <a:pt x="2570" y="1251"/>
                  </a:moveTo>
                  <a:cubicBezTo>
                    <a:pt x="2569" y="1236"/>
                    <a:pt x="2583" y="1224"/>
                    <a:pt x="2600" y="1223"/>
                  </a:cubicBezTo>
                  <a:cubicBezTo>
                    <a:pt x="2617" y="1223"/>
                    <a:pt x="2631" y="1235"/>
                    <a:pt x="2632" y="1250"/>
                  </a:cubicBezTo>
                  <a:cubicBezTo>
                    <a:pt x="2633" y="1265"/>
                    <a:pt x="2620" y="1277"/>
                    <a:pt x="2602" y="1278"/>
                  </a:cubicBezTo>
                  <a:cubicBezTo>
                    <a:pt x="2585" y="1278"/>
                    <a:pt x="2571" y="1266"/>
                    <a:pt x="2570" y="1251"/>
                  </a:cubicBezTo>
                  <a:close/>
                  <a:moveTo>
                    <a:pt x="2650" y="1297"/>
                  </a:moveTo>
                  <a:cubicBezTo>
                    <a:pt x="2667" y="1297"/>
                    <a:pt x="2682" y="1308"/>
                    <a:pt x="2683" y="1323"/>
                  </a:cubicBezTo>
                  <a:cubicBezTo>
                    <a:pt x="2684" y="1338"/>
                    <a:pt x="2670" y="1351"/>
                    <a:pt x="2653" y="1351"/>
                  </a:cubicBezTo>
                  <a:cubicBezTo>
                    <a:pt x="2635" y="1352"/>
                    <a:pt x="2621" y="1340"/>
                    <a:pt x="2620" y="1325"/>
                  </a:cubicBezTo>
                  <a:cubicBezTo>
                    <a:pt x="2619" y="1310"/>
                    <a:pt x="2633" y="1298"/>
                    <a:pt x="2650" y="1297"/>
                  </a:cubicBezTo>
                  <a:close/>
                  <a:moveTo>
                    <a:pt x="2697" y="1221"/>
                  </a:moveTo>
                  <a:cubicBezTo>
                    <a:pt x="2714" y="1220"/>
                    <a:pt x="2729" y="1232"/>
                    <a:pt x="2730" y="1247"/>
                  </a:cubicBezTo>
                  <a:cubicBezTo>
                    <a:pt x="2731" y="1262"/>
                    <a:pt x="2717" y="1275"/>
                    <a:pt x="2700" y="1275"/>
                  </a:cubicBezTo>
                  <a:cubicBezTo>
                    <a:pt x="2683" y="1276"/>
                    <a:pt x="2668" y="1264"/>
                    <a:pt x="2667" y="1249"/>
                  </a:cubicBezTo>
                  <a:cubicBezTo>
                    <a:pt x="2667" y="1234"/>
                    <a:pt x="2680" y="1221"/>
                    <a:pt x="2697" y="1221"/>
                  </a:cubicBezTo>
                  <a:close/>
                  <a:moveTo>
                    <a:pt x="2748" y="1294"/>
                  </a:moveTo>
                  <a:cubicBezTo>
                    <a:pt x="2765" y="1293"/>
                    <a:pt x="2780" y="1305"/>
                    <a:pt x="2781" y="1320"/>
                  </a:cubicBezTo>
                  <a:cubicBezTo>
                    <a:pt x="2782" y="1335"/>
                    <a:pt x="2769" y="1348"/>
                    <a:pt x="2752" y="1348"/>
                  </a:cubicBezTo>
                  <a:cubicBezTo>
                    <a:pt x="2734" y="1349"/>
                    <a:pt x="2719" y="1337"/>
                    <a:pt x="2718" y="1322"/>
                  </a:cubicBezTo>
                  <a:cubicBezTo>
                    <a:pt x="2717" y="1307"/>
                    <a:pt x="2731" y="1295"/>
                    <a:pt x="2748" y="1294"/>
                  </a:cubicBezTo>
                  <a:close/>
                  <a:moveTo>
                    <a:pt x="2794" y="1217"/>
                  </a:moveTo>
                  <a:cubicBezTo>
                    <a:pt x="2811" y="1217"/>
                    <a:pt x="2826" y="1228"/>
                    <a:pt x="2827" y="1243"/>
                  </a:cubicBezTo>
                  <a:cubicBezTo>
                    <a:pt x="2828" y="1258"/>
                    <a:pt x="2815" y="1271"/>
                    <a:pt x="2798" y="1272"/>
                  </a:cubicBezTo>
                  <a:cubicBezTo>
                    <a:pt x="2781" y="1272"/>
                    <a:pt x="2766" y="1261"/>
                    <a:pt x="2765" y="1246"/>
                  </a:cubicBezTo>
                  <a:cubicBezTo>
                    <a:pt x="2764" y="1231"/>
                    <a:pt x="2777" y="1218"/>
                    <a:pt x="2794" y="1217"/>
                  </a:cubicBezTo>
                  <a:close/>
                  <a:moveTo>
                    <a:pt x="2846" y="1290"/>
                  </a:moveTo>
                  <a:cubicBezTo>
                    <a:pt x="2863" y="1289"/>
                    <a:pt x="2878" y="1301"/>
                    <a:pt x="2880" y="1316"/>
                  </a:cubicBezTo>
                  <a:cubicBezTo>
                    <a:pt x="2881" y="1331"/>
                    <a:pt x="2868" y="1344"/>
                    <a:pt x="2851" y="1344"/>
                  </a:cubicBezTo>
                  <a:cubicBezTo>
                    <a:pt x="2833" y="1345"/>
                    <a:pt x="2818" y="1334"/>
                    <a:pt x="2817" y="1319"/>
                  </a:cubicBezTo>
                  <a:cubicBezTo>
                    <a:pt x="2816" y="1304"/>
                    <a:pt x="2829" y="1291"/>
                    <a:pt x="2846" y="1290"/>
                  </a:cubicBezTo>
                  <a:close/>
                  <a:moveTo>
                    <a:pt x="2905" y="1365"/>
                  </a:moveTo>
                  <a:cubicBezTo>
                    <a:pt x="2922" y="1364"/>
                    <a:pt x="2938" y="1376"/>
                    <a:pt x="2939" y="1391"/>
                  </a:cubicBezTo>
                  <a:cubicBezTo>
                    <a:pt x="2941" y="1406"/>
                    <a:pt x="2928" y="1418"/>
                    <a:pt x="2910" y="1419"/>
                  </a:cubicBezTo>
                  <a:cubicBezTo>
                    <a:pt x="2892" y="1420"/>
                    <a:pt x="2877" y="1409"/>
                    <a:pt x="2876" y="1394"/>
                  </a:cubicBezTo>
                  <a:cubicBezTo>
                    <a:pt x="2874" y="1379"/>
                    <a:pt x="2887" y="1366"/>
                    <a:pt x="2905" y="1365"/>
                  </a:cubicBezTo>
                  <a:close/>
                  <a:moveTo>
                    <a:pt x="2944" y="1286"/>
                  </a:moveTo>
                  <a:cubicBezTo>
                    <a:pt x="2961" y="1285"/>
                    <a:pt x="2977" y="1296"/>
                    <a:pt x="2978" y="1311"/>
                  </a:cubicBezTo>
                  <a:cubicBezTo>
                    <a:pt x="2980" y="1326"/>
                    <a:pt x="2967" y="1339"/>
                    <a:pt x="2950" y="1340"/>
                  </a:cubicBezTo>
                  <a:cubicBezTo>
                    <a:pt x="2932" y="1341"/>
                    <a:pt x="2917" y="1329"/>
                    <a:pt x="2915" y="1314"/>
                  </a:cubicBezTo>
                  <a:cubicBezTo>
                    <a:pt x="2914" y="1299"/>
                    <a:pt x="2927" y="1286"/>
                    <a:pt x="2944" y="1286"/>
                  </a:cubicBezTo>
                  <a:close/>
                  <a:moveTo>
                    <a:pt x="3004" y="1360"/>
                  </a:moveTo>
                  <a:cubicBezTo>
                    <a:pt x="3022" y="1359"/>
                    <a:pt x="3037" y="1370"/>
                    <a:pt x="3039" y="1385"/>
                  </a:cubicBezTo>
                  <a:cubicBezTo>
                    <a:pt x="3041" y="1400"/>
                    <a:pt x="3028" y="1413"/>
                    <a:pt x="3010" y="1414"/>
                  </a:cubicBezTo>
                  <a:cubicBezTo>
                    <a:pt x="2992" y="1415"/>
                    <a:pt x="2977" y="1404"/>
                    <a:pt x="2975" y="1389"/>
                  </a:cubicBezTo>
                  <a:cubicBezTo>
                    <a:pt x="2974" y="1374"/>
                    <a:pt x="2987" y="1361"/>
                    <a:pt x="3004" y="1360"/>
                  </a:cubicBezTo>
                  <a:close/>
                  <a:moveTo>
                    <a:pt x="3042" y="1280"/>
                  </a:moveTo>
                  <a:cubicBezTo>
                    <a:pt x="3059" y="1279"/>
                    <a:pt x="3075" y="1291"/>
                    <a:pt x="3077" y="1306"/>
                  </a:cubicBezTo>
                  <a:cubicBezTo>
                    <a:pt x="3078" y="1320"/>
                    <a:pt x="3066" y="1333"/>
                    <a:pt x="3048" y="1334"/>
                  </a:cubicBezTo>
                  <a:cubicBezTo>
                    <a:pt x="3031" y="1335"/>
                    <a:pt x="3016" y="1324"/>
                    <a:pt x="3014" y="1309"/>
                  </a:cubicBezTo>
                  <a:cubicBezTo>
                    <a:pt x="3012" y="1294"/>
                    <a:pt x="3025" y="1281"/>
                    <a:pt x="3042" y="1280"/>
                  </a:cubicBezTo>
                  <a:close/>
                  <a:moveTo>
                    <a:pt x="3103" y="1354"/>
                  </a:moveTo>
                  <a:cubicBezTo>
                    <a:pt x="3121" y="1353"/>
                    <a:pt x="3137" y="1364"/>
                    <a:pt x="3139" y="1379"/>
                  </a:cubicBezTo>
                  <a:cubicBezTo>
                    <a:pt x="3140" y="1394"/>
                    <a:pt x="3128" y="1407"/>
                    <a:pt x="3110" y="1408"/>
                  </a:cubicBezTo>
                  <a:cubicBezTo>
                    <a:pt x="3093" y="1409"/>
                    <a:pt x="3077" y="1398"/>
                    <a:pt x="3075" y="1383"/>
                  </a:cubicBezTo>
                  <a:cubicBezTo>
                    <a:pt x="3073" y="1368"/>
                    <a:pt x="3086" y="1355"/>
                    <a:pt x="3103" y="1354"/>
                  </a:cubicBezTo>
                  <a:close/>
                  <a:moveTo>
                    <a:pt x="3160" y="1426"/>
                  </a:moveTo>
                  <a:cubicBezTo>
                    <a:pt x="3178" y="1424"/>
                    <a:pt x="3194" y="1436"/>
                    <a:pt x="3196" y="1450"/>
                  </a:cubicBezTo>
                  <a:cubicBezTo>
                    <a:pt x="3198" y="1465"/>
                    <a:pt x="3185" y="1478"/>
                    <a:pt x="3167" y="1480"/>
                  </a:cubicBezTo>
                  <a:cubicBezTo>
                    <a:pt x="3150" y="1481"/>
                    <a:pt x="3134" y="1470"/>
                    <a:pt x="3132" y="1455"/>
                  </a:cubicBezTo>
                  <a:cubicBezTo>
                    <a:pt x="3130" y="1440"/>
                    <a:pt x="3143" y="1427"/>
                    <a:pt x="3160" y="1426"/>
                  </a:cubicBezTo>
                  <a:close/>
                  <a:moveTo>
                    <a:pt x="3203" y="1348"/>
                  </a:moveTo>
                  <a:cubicBezTo>
                    <a:pt x="3220" y="1347"/>
                    <a:pt x="3236" y="1358"/>
                    <a:pt x="3238" y="1373"/>
                  </a:cubicBezTo>
                  <a:cubicBezTo>
                    <a:pt x="3240" y="1387"/>
                    <a:pt x="3228" y="1401"/>
                    <a:pt x="3210" y="1402"/>
                  </a:cubicBezTo>
                  <a:cubicBezTo>
                    <a:pt x="3192" y="1403"/>
                    <a:pt x="3177" y="1392"/>
                    <a:pt x="3175" y="1377"/>
                  </a:cubicBezTo>
                  <a:cubicBezTo>
                    <a:pt x="3173" y="1362"/>
                    <a:pt x="3185" y="1349"/>
                    <a:pt x="3203" y="1348"/>
                  </a:cubicBezTo>
                  <a:close/>
                  <a:moveTo>
                    <a:pt x="3260" y="1419"/>
                  </a:moveTo>
                  <a:cubicBezTo>
                    <a:pt x="3278" y="1417"/>
                    <a:pt x="3294" y="1428"/>
                    <a:pt x="3297" y="1443"/>
                  </a:cubicBezTo>
                  <a:cubicBezTo>
                    <a:pt x="3299" y="1458"/>
                    <a:pt x="3286" y="1471"/>
                    <a:pt x="3268" y="1472"/>
                  </a:cubicBezTo>
                  <a:cubicBezTo>
                    <a:pt x="3251" y="1474"/>
                    <a:pt x="3234" y="1463"/>
                    <a:pt x="3232" y="1448"/>
                  </a:cubicBezTo>
                  <a:cubicBezTo>
                    <a:pt x="3230" y="1433"/>
                    <a:pt x="3243" y="1420"/>
                    <a:pt x="3260" y="1419"/>
                  </a:cubicBezTo>
                  <a:close/>
                  <a:moveTo>
                    <a:pt x="3325" y="1491"/>
                  </a:moveTo>
                  <a:cubicBezTo>
                    <a:pt x="3343" y="1490"/>
                    <a:pt x="3360" y="1501"/>
                    <a:pt x="3362" y="1516"/>
                  </a:cubicBezTo>
                  <a:cubicBezTo>
                    <a:pt x="3364" y="1531"/>
                    <a:pt x="3352" y="1544"/>
                    <a:pt x="3334" y="1545"/>
                  </a:cubicBezTo>
                  <a:cubicBezTo>
                    <a:pt x="3316" y="1547"/>
                    <a:pt x="3299" y="1536"/>
                    <a:pt x="3297" y="1521"/>
                  </a:cubicBezTo>
                  <a:cubicBezTo>
                    <a:pt x="3295" y="1506"/>
                    <a:pt x="3307" y="1493"/>
                    <a:pt x="3325" y="1491"/>
                  </a:cubicBezTo>
                  <a:close/>
                  <a:moveTo>
                    <a:pt x="3385" y="1562"/>
                  </a:moveTo>
                  <a:cubicBezTo>
                    <a:pt x="3404" y="1560"/>
                    <a:pt x="3420" y="1571"/>
                    <a:pt x="3423" y="1586"/>
                  </a:cubicBezTo>
                  <a:cubicBezTo>
                    <a:pt x="3425" y="1600"/>
                    <a:pt x="3413" y="1614"/>
                    <a:pt x="3394" y="1615"/>
                  </a:cubicBezTo>
                  <a:cubicBezTo>
                    <a:pt x="3376" y="1617"/>
                    <a:pt x="3359" y="1606"/>
                    <a:pt x="3357" y="1591"/>
                  </a:cubicBezTo>
                  <a:cubicBezTo>
                    <a:pt x="3355" y="1576"/>
                    <a:pt x="3367" y="1563"/>
                    <a:pt x="3385" y="1562"/>
                  </a:cubicBezTo>
                  <a:close/>
                  <a:moveTo>
                    <a:pt x="3427" y="1483"/>
                  </a:moveTo>
                  <a:cubicBezTo>
                    <a:pt x="3445" y="1482"/>
                    <a:pt x="3461" y="1492"/>
                    <a:pt x="3464" y="1507"/>
                  </a:cubicBezTo>
                  <a:cubicBezTo>
                    <a:pt x="3466" y="1522"/>
                    <a:pt x="3454" y="1535"/>
                    <a:pt x="3436" y="1537"/>
                  </a:cubicBezTo>
                  <a:cubicBezTo>
                    <a:pt x="3418" y="1538"/>
                    <a:pt x="3401" y="1528"/>
                    <a:pt x="3399" y="1513"/>
                  </a:cubicBezTo>
                  <a:cubicBezTo>
                    <a:pt x="3396" y="1498"/>
                    <a:pt x="3409" y="1485"/>
                    <a:pt x="3427" y="1483"/>
                  </a:cubicBezTo>
                  <a:close/>
                  <a:moveTo>
                    <a:pt x="3488" y="1553"/>
                  </a:moveTo>
                  <a:cubicBezTo>
                    <a:pt x="3506" y="1551"/>
                    <a:pt x="3523" y="1562"/>
                    <a:pt x="3526" y="1577"/>
                  </a:cubicBezTo>
                  <a:cubicBezTo>
                    <a:pt x="3528" y="1591"/>
                    <a:pt x="3516" y="1605"/>
                    <a:pt x="3498" y="1606"/>
                  </a:cubicBezTo>
                  <a:cubicBezTo>
                    <a:pt x="3479" y="1608"/>
                    <a:pt x="3463" y="1597"/>
                    <a:pt x="3460" y="1582"/>
                  </a:cubicBezTo>
                  <a:cubicBezTo>
                    <a:pt x="3457" y="1568"/>
                    <a:pt x="3470" y="1554"/>
                    <a:pt x="3488" y="1553"/>
                  </a:cubicBezTo>
                  <a:close/>
                  <a:moveTo>
                    <a:pt x="3553" y="1727"/>
                  </a:moveTo>
                  <a:cubicBezTo>
                    <a:pt x="3556" y="1741"/>
                    <a:pt x="3543" y="1755"/>
                    <a:pt x="3525" y="1757"/>
                  </a:cubicBezTo>
                  <a:cubicBezTo>
                    <a:pt x="3506" y="1758"/>
                    <a:pt x="3489" y="1748"/>
                    <a:pt x="3486" y="1733"/>
                  </a:cubicBezTo>
                  <a:cubicBezTo>
                    <a:pt x="3484" y="1718"/>
                    <a:pt x="3497" y="1705"/>
                    <a:pt x="3515" y="1703"/>
                  </a:cubicBezTo>
                  <a:cubicBezTo>
                    <a:pt x="3534" y="1701"/>
                    <a:pt x="3551" y="1712"/>
                    <a:pt x="3553" y="1727"/>
                  </a:cubicBezTo>
                  <a:close/>
                  <a:moveTo>
                    <a:pt x="3556" y="1624"/>
                  </a:moveTo>
                  <a:cubicBezTo>
                    <a:pt x="3575" y="1623"/>
                    <a:pt x="3592" y="1633"/>
                    <a:pt x="3595" y="1648"/>
                  </a:cubicBezTo>
                  <a:cubicBezTo>
                    <a:pt x="3597" y="1663"/>
                    <a:pt x="3585" y="1676"/>
                    <a:pt x="3566" y="1678"/>
                  </a:cubicBezTo>
                  <a:cubicBezTo>
                    <a:pt x="3548" y="1679"/>
                    <a:pt x="3531" y="1669"/>
                    <a:pt x="3528" y="1654"/>
                  </a:cubicBezTo>
                  <a:cubicBezTo>
                    <a:pt x="3525" y="1639"/>
                    <a:pt x="3538" y="1626"/>
                    <a:pt x="3556" y="1624"/>
                  </a:cubicBezTo>
                  <a:close/>
                  <a:moveTo>
                    <a:pt x="3620" y="1693"/>
                  </a:moveTo>
                  <a:cubicBezTo>
                    <a:pt x="3638" y="1691"/>
                    <a:pt x="3656" y="1702"/>
                    <a:pt x="3659" y="1717"/>
                  </a:cubicBezTo>
                  <a:cubicBezTo>
                    <a:pt x="3662" y="1731"/>
                    <a:pt x="3649" y="1745"/>
                    <a:pt x="3630" y="1747"/>
                  </a:cubicBezTo>
                  <a:cubicBezTo>
                    <a:pt x="3612" y="1748"/>
                    <a:pt x="3594" y="1738"/>
                    <a:pt x="3592" y="1723"/>
                  </a:cubicBezTo>
                  <a:cubicBezTo>
                    <a:pt x="3589" y="1708"/>
                    <a:pt x="3601" y="1695"/>
                    <a:pt x="3620" y="1693"/>
                  </a:cubicBezTo>
                  <a:close/>
                  <a:moveTo>
                    <a:pt x="3660" y="1614"/>
                  </a:moveTo>
                  <a:cubicBezTo>
                    <a:pt x="3678" y="1612"/>
                    <a:pt x="3696" y="1623"/>
                    <a:pt x="3699" y="1638"/>
                  </a:cubicBezTo>
                  <a:cubicBezTo>
                    <a:pt x="3702" y="1652"/>
                    <a:pt x="3689" y="1666"/>
                    <a:pt x="3671" y="1668"/>
                  </a:cubicBezTo>
                  <a:cubicBezTo>
                    <a:pt x="3652" y="1669"/>
                    <a:pt x="3635" y="1659"/>
                    <a:pt x="3632" y="1644"/>
                  </a:cubicBezTo>
                  <a:cubicBezTo>
                    <a:pt x="3629" y="1629"/>
                    <a:pt x="3642" y="1616"/>
                    <a:pt x="3660" y="1614"/>
                  </a:cubicBezTo>
                  <a:close/>
                  <a:moveTo>
                    <a:pt x="3725" y="1683"/>
                  </a:moveTo>
                  <a:cubicBezTo>
                    <a:pt x="3743" y="1681"/>
                    <a:pt x="3761" y="1691"/>
                    <a:pt x="3764" y="1706"/>
                  </a:cubicBezTo>
                  <a:cubicBezTo>
                    <a:pt x="3767" y="1720"/>
                    <a:pt x="3754" y="1734"/>
                    <a:pt x="3736" y="1736"/>
                  </a:cubicBezTo>
                  <a:cubicBezTo>
                    <a:pt x="3717" y="1738"/>
                    <a:pt x="3700" y="1727"/>
                    <a:pt x="3697" y="1713"/>
                  </a:cubicBezTo>
                  <a:cubicBezTo>
                    <a:pt x="3694" y="1698"/>
                    <a:pt x="3706" y="1685"/>
                    <a:pt x="3725" y="1683"/>
                  </a:cubicBezTo>
                  <a:close/>
                  <a:moveTo>
                    <a:pt x="3796" y="1855"/>
                  </a:moveTo>
                  <a:cubicBezTo>
                    <a:pt x="3799" y="1870"/>
                    <a:pt x="3787" y="1883"/>
                    <a:pt x="3768" y="1885"/>
                  </a:cubicBezTo>
                  <a:cubicBezTo>
                    <a:pt x="3749" y="1887"/>
                    <a:pt x="3731" y="1877"/>
                    <a:pt x="3728" y="1862"/>
                  </a:cubicBezTo>
                  <a:cubicBezTo>
                    <a:pt x="3725" y="1848"/>
                    <a:pt x="3737" y="1834"/>
                    <a:pt x="3756" y="1832"/>
                  </a:cubicBezTo>
                  <a:cubicBezTo>
                    <a:pt x="3775" y="1830"/>
                    <a:pt x="3793" y="1840"/>
                    <a:pt x="3796" y="1855"/>
                  </a:cubicBezTo>
                  <a:close/>
                  <a:moveTo>
                    <a:pt x="3796" y="1753"/>
                  </a:moveTo>
                  <a:cubicBezTo>
                    <a:pt x="3815" y="1751"/>
                    <a:pt x="3833" y="1761"/>
                    <a:pt x="3836" y="1776"/>
                  </a:cubicBezTo>
                  <a:cubicBezTo>
                    <a:pt x="3840" y="1790"/>
                    <a:pt x="3827" y="1804"/>
                    <a:pt x="3808" y="1806"/>
                  </a:cubicBezTo>
                  <a:cubicBezTo>
                    <a:pt x="3789" y="1808"/>
                    <a:pt x="3772" y="1798"/>
                    <a:pt x="3768" y="1783"/>
                  </a:cubicBezTo>
                  <a:cubicBezTo>
                    <a:pt x="3765" y="1768"/>
                    <a:pt x="3778" y="1755"/>
                    <a:pt x="3796" y="1753"/>
                  </a:cubicBezTo>
                  <a:close/>
                  <a:moveTo>
                    <a:pt x="3863" y="1820"/>
                  </a:moveTo>
                  <a:cubicBezTo>
                    <a:pt x="3882" y="1818"/>
                    <a:pt x="3900" y="1828"/>
                    <a:pt x="3904" y="1843"/>
                  </a:cubicBezTo>
                  <a:cubicBezTo>
                    <a:pt x="3907" y="1858"/>
                    <a:pt x="3894" y="1871"/>
                    <a:pt x="3875" y="1874"/>
                  </a:cubicBezTo>
                  <a:cubicBezTo>
                    <a:pt x="3856" y="1876"/>
                    <a:pt x="3838" y="1865"/>
                    <a:pt x="3835" y="1851"/>
                  </a:cubicBezTo>
                  <a:cubicBezTo>
                    <a:pt x="3832" y="1836"/>
                    <a:pt x="3844" y="1822"/>
                    <a:pt x="3863" y="1820"/>
                  </a:cubicBezTo>
                  <a:close/>
                  <a:moveTo>
                    <a:pt x="3902" y="1741"/>
                  </a:moveTo>
                  <a:cubicBezTo>
                    <a:pt x="3921" y="1739"/>
                    <a:pt x="3939" y="1749"/>
                    <a:pt x="3942" y="1763"/>
                  </a:cubicBezTo>
                  <a:cubicBezTo>
                    <a:pt x="3946" y="1778"/>
                    <a:pt x="3934" y="1792"/>
                    <a:pt x="3915" y="1794"/>
                  </a:cubicBezTo>
                  <a:cubicBezTo>
                    <a:pt x="3896" y="1796"/>
                    <a:pt x="3878" y="1786"/>
                    <a:pt x="3875" y="1771"/>
                  </a:cubicBezTo>
                  <a:cubicBezTo>
                    <a:pt x="3871" y="1757"/>
                    <a:pt x="3884" y="1743"/>
                    <a:pt x="3902" y="1741"/>
                  </a:cubicBezTo>
                  <a:close/>
                  <a:moveTo>
                    <a:pt x="3970" y="1808"/>
                  </a:moveTo>
                  <a:cubicBezTo>
                    <a:pt x="3989" y="1806"/>
                    <a:pt x="4007" y="1816"/>
                    <a:pt x="4011" y="1830"/>
                  </a:cubicBezTo>
                  <a:cubicBezTo>
                    <a:pt x="4015" y="1845"/>
                    <a:pt x="4002" y="1859"/>
                    <a:pt x="3983" y="1861"/>
                  </a:cubicBezTo>
                  <a:cubicBezTo>
                    <a:pt x="3964" y="1863"/>
                    <a:pt x="3946" y="1853"/>
                    <a:pt x="3942" y="1838"/>
                  </a:cubicBezTo>
                  <a:cubicBezTo>
                    <a:pt x="3939" y="1824"/>
                    <a:pt x="3951" y="1810"/>
                    <a:pt x="3970" y="1808"/>
                  </a:cubicBezTo>
                  <a:close/>
                  <a:moveTo>
                    <a:pt x="4048" y="1979"/>
                  </a:moveTo>
                  <a:cubicBezTo>
                    <a:pt x="4052" y="1993"/>
                    <a:pt x="4039" y="2007"/>
                    <a:pt x="4019" y="2010"/>
                  </a:cubicBezTo>
                  <a:cubicBezTo>
                    <a:pt x="4000" y="2012"/>
                    <a:pt x="3982" y="2002"/>
                    <a:pt x="3978" y="1987"/>
                  </a:cubicBezTo>
                  <a:cubicBezTo>
                    <a:pt x="3974" y="1973"/>
                    <a:pt x="3987" y="1959"/>
                    <a:pt x="4006" y="1957"/>
                  </a:cubicBezTo>
                  <a:cubicBezTo>
                    <a:pt x="4026" y="1954"/>
                    <a:pt x="4044" y="1964"/>
                    <a:pt x="4048" y="1979"/>
                  </a:cubicBezTo>
                  <a:close/>
                  <a:moveTo>
                    <a:pt x="4046" y="1877"/>
                  </a:moveTo>
                  <a:cubicBezTo>
                    <a:pt x="4065" y="1874"/>
                    <a:pt x="4083" y="1884"/>
                    <a:pt x="4087" y="1899"/>
                  </a:cubicBezTo>
                  <a:cubicBezTo>
                    <a:pt x="4091" y="1913"/>
                    <a:pt x="4078" y="1927"/>
                    <a:pt x="4059" y="1930"/>
                  </a:cubicBezTo>
                  <a:cubicBezTo>
                    <a:pt x="4040" y="1932"/>
                    <a:pt x="4021" y="1922"/>
                    <a:pt x="4018" y="1907"/>
                  </a:cubicBezTo>
                  <a:cubicBezTo>
                    <a:pt x="4014" y="1893"/>
                    <a:pt x="4026" y="1879"/>
                    <a:pt x="4046" y="1877"/>
                  </a:cubicBezTo>
                  <a:close/>
                  <a:moveTo>
                    <a:pt x="4077" y="1795"/>
                  </a:moveTo>
                  <a:cubicBezTo>
                    <a:pt x="4096" y="1792"/>
                    <a:pt x="4114" y="1802"/>
                    <a:pt x="4118" y="1817"/>
                  </a:cubicBezTo>
                  <a:cubicBezTo>
                    <a:pt x="4122" y="1831"/>
                    <a:pt x="4110" y="1845"/>
                    <a:pt x="4091" y="1848"/>
                  </a:cubicBezTo>
                  <a:cubicBezTo>
                    <a:pt x="4072" y="1850"/>
                    <a:pt x="4053" y="1840"/>
                    <a:pt x="4050" y="1825"/>
                  </a:cubicBezTo>
                  <a:cubicBezTo>
                    <a:pt x="4046" y="1811"/>
                    <a:pt x="4058" y="1797"/>
                    <a:pt x="4077" y="1795"/>
                  </a:cubicBezTo>
                  <a:close/>
                  <a:moveTo>
                    <a:pt x="4157" y="1965"/>
                  </a:moveTo>
                  <a:cubicBezTo>
                    <a:pt x="4161" y="1979"/>
                    <a:pt x="4149" y="1993"/>
                    <a:pt x="4129" y="1996"/>
                  </a:cubicBezTo>
                  <a:cubicBezTo>
                    <a:pt x="4110" y="1998"/>
                    <a:pt x="4091" y="1988"/>
                    <a:pt x="4088" y="1974"/>
                  </a:cubicBezTo>
                  <a:cubicBezTo>
                    <a:pt x="4084" y="1959"/>
                    <a:pt x="4096" y="1945"/>
                    <a:pt x="4116" y="1943"/>
                  </a:cubicBezTo>
                  <a:cubicBezTo>
                    <a:pt x="4135" y="1940"/>
                    <a:pt x="4154" y="1950"/>
                    <a:pt x="4157" y="1965"/>
                  </a:cubicBezTo>
                  <a:close/>
                  <a:moveTo>
                    <a:pt x="4153" y="1863"/>
                  </a:moveTo>
                  <a:cubicBezTo>
                    <a:pt x="4173" y="1860"/>
                    <a:pt x="4191" y="1870"/>
                    <a:pt x="4195" y="1884"/>
                  </a:cubicBezTo>
                  <a:cubicBezTo>
                    <a:pt x="4199" y="1899"/>
                    <a:pt x="4187" y="1913"/>
                    <a:pt x="4168" y="1915"/>
                  </a:cubicBezTo>
                  <a:cubicBezTo>
                    <a:pt x="4149" y="1918"/>
                    <a:pt x="4130" y="1908"/>
                    <a:pt x="4126" y="1894"/>
                  </a:cubicBezTo>
                  <a:cubicBezTo>
                    <a:pt x="4122" y="1879"/>
                    <a:pt x="4134" y="1865"/>
                    <a:pt x="4153" y="1863"/>
                  </a:cubicBezTo>
                  <a:close/>
                  <a:moveTo>
                    <a:pt x="4168" y="2144"/>
                  </a:moveTo>
                  <a:cubicBezTo>
                    <a:pt x="4148" y="2147"/>
                    <a:pt x="4129" y="2137"/>
                    <a:pt x="4125" y="2122"/>
                  </a:cubicBezTo>
                  <a:cubicBezTo>
                    <a:pt x="4122" y="2108"/>
                    <a:pt x="4135" y="2094"/>
                    <a:pt x="4154" y="2091"/>
                  </a:cubicBezTo>
                  <a:cubicBezTo>
                    <a:pt x="4174" y="2089"/>
                    <a:pt x="4193" y="2098"/>
                    <a:pt x="4197" y="2113"/>
                  </a:cubicBezTo>
                  <a:cubicBezTo>
                    <a:pt x="4201" y="2127"/>
                    <a:pt x="4188" y="2141"/>
                    <a:pt x="4168" y="2144"/>
                  </a:cubicBezTo>
                  <a:close/>
                  <a:moveTo>
                    <a:pt x="4096" y="2078"/>
                  </a:moveTo>
                  <a:cubicBezTo>
                    <a:pt x="4077" y="2080"/>
                    <a:pt x="4058" y="2070"/>
                    <a:pt x="4054" y="2056"/>
                  </a:cubicBezTo>
                  <a:cubicBezTo>
                    <a:pt x="4051" y="2041"/>
                    <a:pt x="4064" y="2027"/>
                    <a:pt x="4083" y="2025"/>
                  </a:cubicBezTo>
                  <a:cubicBezTo>
                    <a:pt x="4103" y="2022"/>
                    <a:pt x="4121" y="2032"/>
                    <a:pt x="4125" y="2047"/>
                  </a:cubicBezTo>
                  <a:cubicBezTo>
                    <a:pt x="4129" y="2062"/>
                    <a:pt x="4116" y="2075"/>
                    <a:pt x="4096" y="2078"/>
                  </a:cubicBezTo>
                  <a:close/>
                  <a:moveTo>
                    <a:pt x="4056" y="2158"/>
                  </a:moveTo>
                  <a:cubicBezTo>
                    <a:pt x="4036" y="2161"/>
                    <a:pt x="4017" y="2151"/>
                    <a:pt x="4014" y="2136"/>
                  </a:cubicBezTo>
                  <a:cubicBezTo>
                    <a:pt x="4010" y="2121"/>
                    <a:pt x="4023" y="2108"/>
                    <a:pt x="4043" y="2105"/>
                  </a:cubicBezTo>
                  <a:cubicBezTo>
                    <a:pt x="4062" y="2103"/>
                    <a:pt x="4081" y="2113"/>
                    <a:pt x="4085" y="2127"/>
                  </a:cubicBezTo>
                  <a:cubicBezTo>
                    <a:pt x="4089" y="2142"/>
                    <a:pt x="4076" y="2156"/>
                    <a:pt x="4056" y="2158"/>
                  </a:cubicBezTo>
                  <a:close/>
                  <a:moveTo>
                    <a:pt x="3985" y="2092"/>
                  </a:moveTo>
                  <a:cubicBezTo>
                    <a:pt x="3966" y="2094"/>
                    <a:pt x="3947" y="2084"/>
                    <a:pt x="3944" y="2069"/>
                  </a:cubicBezTo>
                  <a:cubicBezTo>
                    <a:pt x="3940" y="2054"/>
                    <a:pt x="3953" y="2041"/>
                    <a:pt x="3973" y="2038"/>
                  </a:cubicBezTo>
                  <a:cubicBezTo>
                    <a:pt x="3992" y="2036"/>
                    <a:pt x="4011" y="2046"/>
                    <a:pt x="4014" y="2061"/>
                  </a:cubicBezTo>
                  <a:cubicBezTo>
                    <a:pt x="4018" y="2075"/>
                    <a:pt x="4005" y="2089"/>
                    <a:pt x="3985" y="2092"/>
                  </a:cubicBezTo>
                  <a:close/>
                  <a:moveTo>
                    <a:pt x="3943" y="2172"/>
                  </a:moveTo>
                  <a:cubicBezTo>
                    <a:pt x="3924" y="2174"/>
                    <a:pt x="3905" y="2164"/>
                    <a:pt x="3902" y="2149"/>
                  </a:cubicBezTo>
                  <a:cubicBezTo>
                    <a:pt x="3898" y="2134"/>
                    <a:pt x="3912" y="2121"/>
                    <a:pt x="3931" y="2118"/>
                  </a:cubicBezTo>
                  <a:cubicBezTo>
                    <a:pt x="3951" y="2116"/>
                    <a:pt x="3970" y="2126"/>
                    <a:pt x="3973" y="2141"/>
                  </a:cubicBezTo>
                  <a:cubicBezTo>
                    <a:pt x="3977" y="2156"/>
                    <a:pt x="3963" y="2169"/>
                    <a:pt x="3943" y="2172"/>
                  </a:cubicBezTo>
                  <a:close/>
                  <a:moveTo>
                    <a:pt x="3874" y="2104"/>
                  </a:moveTo>
                  <a:cubicBezTo>
                    <a:pt x="3854" y="2107"/>
                    <a:pt x="3836" y="2096"/>
                    <a:pt x="3833" y="2082"/>
                  </a:cubicBezTo>
                  <a:cubicBezTo>
                    <a:pt x="3830" y="2067"/>
                    <a:pt x="3843" y="2053"/>
                    <a:pt x="3862" y="2051"/>
                  </a:cubicBezTo>
                  <a:cubicBezTo>
                    <a:pt x="3882" y="2049"/>
                    <a:pt x="3900" y="2059"/>
                    <a:pt x="3904" y="2074"/>
                  </a:cubicBezTo>
                  <a:cubicBezTo>
                    <a:pt x="3907" y="2088"/>
                    <a:pt x="3894" y="2102"/>
                    <a:pt x="3874" y="2104"/>
                  </a:cubicBezTo>
                  <a:close/>
                  <a:moveTo>
                    <a:pt x="3831" y="2184"/>
                  </a:moveTo>
                  <a:cubicBezTo>
                    <a:pt x="3811" y="2186"/>
                    <a:pt x="3793" y="2176"/>
                    <a:pt x="3790" y="2161"/>
                  </a:cubicBezTo>
                  <a:cubicBezTo>
                    <a:pt x="3787" y="2147"/>
                    <a:pt x="3800" y="2133"/>
                    <a:pt x="3820" y="2131"/>
                  </a:cubicBezTo>
                  <a:cubicBezTo>
                    <a:pt x="3839" y="2129"/>
                    <a:pt x="3858" y="2139"/>
                    <a:pt x="3861" y="2154"/>
                  </a:cubicBezTo>
                  <a:cubicBezTo>
                    <a:pt x="3864" y="2168"/>
                    <a:pt x="3851" y="2182"/>
                    <a:pt x="3831" y="2184"/>
                  </a:cubicBezTo>
                  <a:close/>
                  <a:moveTo>
                    <a:pt x="3763" y="2116"/>
                  </a:moveTo>
                  <a:cubicBezTo>
                    <a:pt x="3743" y="2119"/>
                    <a:pt x="3725" y="2108"/>
                    <a:pt x="3722" y="2093"/>
                  </a:cubicBezTo>
                  <a:cubicBezTo>
                    <a:pt x="3719" y="2079"/>
                    <a:pt x="3732" y="2065"/>
                    <a:pt x="3752" y="2063"/>
                  </a:cubicBezTo>
                  <a:cubicBezTo>
                    <a:pt x="3771" y="2061"/>
                    <a:pt x="3790" y="2071"/>
                    <a:pt x="3793" y="2086"/>
                  </a:cubicBezTo>
                  <a:cubicBezTo>
                    <a:pt x="3796" y="2101"/>
                    <a:pt x="3782" y="2114"/>
                    <a:pt x="3763" y="2116"/>
                  </a:cubicBezTo>
                  <a:close/>
                  <a:moveTo>
                    <a:pt x="3718" y="2196"/>
                  </a:moveTo>
                  <a:cubicBezTo>
                    <a:pt x="3699" y="2198"/>
                    <a:pt x="3680" y="2188"/>
                    <a:pt x="3677" y="2173"/>
                  </a:cubicBezTo>
                  <a:cubicBezTo>
                    <a:pt x="3675" y="2158"/>
                    <a:pt x="3688" y="2145"/>
                    <a:pt x="3708" y="2143"/>
                  </a:cubicBezTo>
                  <a:cubicBezTo>
                    <a:pt x="3728" y="2141"/>
                    <a:pt x="3746" y="2151"/>
                    <a:pt x="3749" y="2166"/>
                  </a:cubicBezTo>
                  <a:cubicBezTo>
                    <a:pt x="3752" y="2180"/>
                    <a:pt x="3738" y="2194"/>
                    <a:pt x="3718" y="2196"/>
                  </a:cubicBezTo>
                  <a:close/>
                  <a:moveTo>
                    <a:pt x="3651" y="2128"/>
                  </a:moveTo>
                  <a:cubicBezTo>
                    <a:pt x="3632" y="2130"/>
                    <a:pt x="3614" y="2119"/>
                    <a:pt x="3611" y="2104"/>
                  </a:cubicBezTo>
                  <a:cubicBezTo>
                    <a:pt x="3608" y="2090"/>
                    <a:pt x="3622" y="2076"/>
                    <a:pt x="3641" y="2074"/>
                  </a:cubicBezTo>
                  <a:cubicBezTo>
                    <a:pt x="3661" y="2072"/>
                    <a:pt x="3679" y="2083"/>
                    <a:pt x="3682" y="2097"/>
                  </a:cubicBezTo>
                  <a:cubicBezTo>
                    <a:pt x="3685" y="2112"/>
                    <a:pt x="3671" y="2126"/>
                    <a:pt x="3651" y="2128"/>
                  </a:cubicBezTo>
                  <a:close/>
                  <a:moveTo>
                    <a:pt x="3606" y="2207"/>
                  </a:moveTo>
                  <a:cubicBezTo>
                    <a:pt x="3586" y="2209"/>
                    <a:pt x="3568" y="2198"/>
                    <a:pt x="3565" y="2184"/>
                  </a:cubicBezTo>
                  <a:cubicBezTo>
                    <a:pt x="3563" y="2169"/>
                    <a:pt x="3577" y="2155"/>
                    <a:pt x="3596" y="2153"/>
                  </a:cubicBezTo>
                  <a:cubicBezTo>
                    <a:pt x="3616" y="2152"/>
                    <a:pt x="3634" y="2162"/>
                    <a:pt x="3637" y="2177"/>
                  </a:cubicBezTo>
                  <a:cubicBezTo>
                    <a:pt x="3640" y="2192"/>
                    <a:pt x="3626" y="2205"/>
                    <a:pt x="3606" y="2207"/>
                  </a:cubicBezTo>
                  <a:close/>
                  <a:moveTo>
                    <a:pt x="3566" y="2289"/>
                  </a:moveTo>
                  <a:cubicBezTo>
                    <a:pt x="3546" y="2290"/>
                    <a:pt x="3527" y="2280"/>
                    <a:pt x="3525" y="2265"/>
                  </a:cubicBezTo>
                  <a:cubicBezTo>
                    <a:pt x="3522" y="2250"/>
                    <a:pt x="3537" y="2237"/>
                    <a:pt x="3557" y="2235"/>
                  </a:cubicBezTo>
                  <a:cubicBezTo>
                    <a:pt x="3576" y="2233"/>
                    <a:pt x="3595" y="2244"/>
                    <a:pt x="3597" y="2258"/>
                  </a:cubicBezTo>
                  <a:cubicBezTo>
                    <a:pt x="3600" y="2273"/>
                    <a:pt x="3586" y="2287"/>
                    <a:pt x="3566" y="2289"/>
                  </a:cubicBezTo>
                  <a:close/>
                  <a:moveTo>
                    <a:pt x="3493" y="2217"/>
                  </a:moveTo>
                  <a:cubicBezTo>
                    <a:pt x="3473" y="2219"/>
                    <a:pt x="3455" y="2208"/>
                    <a:pt x="3453" y="2193"/>
                  </a:cubicBezTo>
                  <a:cubicBezTo>
                    <a:pt x="3451" y="2179"/>
                    <a:pt x="3465" y="2165"/>
                    <a:pt x="3484" y="2164"/>
                  </a:cubicBezTo>
                  <a:cubicBezTo>
                    <a:pt x="3504" y="2162"/>
                    <a:pt x="3522" y="2172"/>
                    <a:pt x="3525" y="2187"/>
                  </a:cubicBezTo>
                  <a:cubicBezTo>
                    <a:pt x="3527" y="2202"/>
                    <a:pt x="3513" y="2216"/>
                    <a:pt x="3493" y="2217"/>
                  </a:cubicBezTo>
                  <a:close/>
                  <a:moveTo>
                    <a:pt x="3452" y="2298"/>
                  </a:moveTo>
                  <a:cubicBezTo>
                    <a:pt x="3432" y="2300"/>
                    <a:pt x="3414" y="2289"/>
                    <a:pt x="3412" y="2275"/>
                  </a:cubicBezTo>
                  <a:cubicBezTo>
                    <a:pt x="3409" y="2260"/>
                    <a:pt x="3424" y="2246"/>
                    <a:pt x="3444" y="2245"/>
                  </a:cubicBezTo>
                  <a:cubicBezTo>
                    <a:pt x="3463" y="2243"/>
                    <a:pt x="3482" y="2254"/>
                    <a:pt x="3484" y="2269"/>
                  </a:cubicBezTo>
                  <a:cubicBezTo>
                    <a:pt x="3486" y="2283"/>
                    <a:pt x="3472" y="2297"/>
                    <a:pt x="3452" y="2298"/>
                  </a:cubicBezTo>
                  <a:close/>
                  <a:moveTo>
                    <a:pt x="3381" y="2227"/>
                  </a:moveTo>
                  <a:cubicBezTo>
                    <a:pt x="3361" y="2228"/>
                    <a:pt x="3343" y="2217"/>
                    <a:pt x="3341" y="2203"/>
                  </a:cubicBezTo>
                  <a:cubicBezTo>
                    <a:pt x="3339" y="2188"/>
                    <a:pt x="3353" y="2174"/>
                    <a:pt x="3373" y="2173"/>
                  </a:cubicBezTo>
                  <a:cubicBezTo>
                    <a:pt x="3392" y="2171"/>
                    <a:pt x="3410" y="2182"/>
                    <a:pt x="3412" y="2197"/>
                  </a:cubicBezTo>
                  <a:cubicBezTo>
                    <a:pt x="3415" y="2212"/>
                    <a:pt x="3400" y="2225"/>
                    <a:pt x="3381" y="2227"/>
                  </a:cubicBezTo>
                  <a:close/>
                  <a:moveTo>
                    <a:pt x="3338" y="2308"/>
                  </a:moveTo>
                  <a:cubicBezTo>
                    <a:pt x="3318" y="2309"/>
                    <a:pt x="3300" y="2298"/>
                    <a:pt x="3298" y="2283"/>
                  </a:cubicBezTo>
                  <a:cubicBezTo>
                    <a:pt x="3296" y="2269"/>
                    <a:pt x="3311" y="2255"/>
                    <a:pt x="3330" y="2254"/>
                  </a:cubicBezTo>
                  <a:cubicBezTo>
                    <a:pt x="3350" y="2252"/>
                    <a:pt x="3368" y="2263"/>
                    <a:pt x="3370" y="2278"/>
                  </a:cubicBezTo>
                  <a:cubicBezTo>
                    <a:pt x="3373" y="2293"/>
                    <a:pt x="3358" y="2306"/>
                    <a:pt x="3338" y="2308"/>
                  </a:cubicBezTo>
                  <a:close/>
                  <a:moveTo>
                    <a:pt x="3268" y="2235"/>
                  </a:moveTo>
                  <a:cubicBezTo>
                    <a:pt x="3248" y="2237"/>
                    <a:pt x="3230" y="2226"/>
                    <a:pt x="3228" y="2211"/>
                  </a:cubicBezTo>
                  <a:cubicBezTo>
                    <a:pt x="3226" y="2196"/>
                    <a:pt x="3241" y="2183"/>
                    <a:pt x="3261" y="2181"/>
                  </a:cubicBezTo>
                  <a:cubicBezTo>
                    <a:pt x="3280" y="2180"/>
                    <a:pt x="3298" y="2191"/>
                    <a:pt x="3300" y="2206"/>
                  </a:cubicBezTo>
                  <a:cubicBezTo>
                    <a:pt x="3302" y="2221"/>
                    <a:pt x="3288" y="2234"/>
                    <a:pt x="3268" y="2235"/>
                  </a:cubicBezTo>
                  <a:close/>
                  <a:moveTo>
                    <a:pt x="3205" y="2165"/>
                  </a:moveTo>
                  <a:cubicBezTo>
                    <a:pt x="3185" y="2166"/>
                    <a:pt x="3168" y="2155"/>
                    <a:pt x="3166" y="2140"/>
                  </a:cubicBezTo>
                  <a:cubicBezTo>
                    <a:pt x="3164" y="2125"/>
                    <a:pt x="3179" y="2112"/>
                    <a:pt x="3198" y="2111"/>
                  </a:cubicBezTo>
                  <a:cubicBezTo>
                    <a:pt x="3218" y="2109"/>
                    <a:pt x="3235" y="2120"/>
                    <a:pt x="3237" y="2135"/>
                  </a:cubicBezTo>
                  <a:cubicBezTo>
                    <a:pt x="3239" y="2150"/>
                    <a:pt x="3225" y="2163"/>
                    <a:pt x="3205" y="2165"/>
                  </a:cubicBezTo>
                  <a:close/>
                  <a:moveTo>
                    <a:pt x="3155" y="2243"/>
                  </a:moveTo>
                  <a:cubicBezTo>
                    <a:pt x="3135" y="2244"/>
                    <a:pt x="3118" y="2233"/>
                    <a:pt x="3116" y="2218"/>
                  </a:cubicBezTo>
                  <a:cubicBezTo>
                    <a:pt x="3114" y="2203"/>
                    <a:pt x="3129" y="2190"/>
                    <a:pt x="3149" y="2189"/>
                  </a:cubicBezTo>
                  <a:cubicBezTo>
                    <a:pt x="3168" y="2188"/>
                    <a:pt x="3186" y="2199"/>
                    <a:pt x="3188" y="2214"/>
                  </a:cubicBezTo>
                  <a:cubicBezTo>
                    <a:pt x="3190" y="2229"/>
                    <a:pt x="3175" y="2242"/>
                    <a:pt x="3155" y="2243"/>
                  </a:cubicBezTo>
                  <a:close/>
                  <a:moveTo>
                    <a:pt x="3093" y="2172"/>
                  </a:moveTo>
                  <a:cubicBezTo>
                    <a:pt x="3074" y="2173"/>
                    <a:pt x="3057" y="2162"/>
                    <a:pt x="3055" y="2147"/>
                  </a:cubicBezTo>
                  <a:cubicBezTo>
                    <a:pt x="3053" y="2132"/>
                    <a:pt x="3068" y="2119"/>
                    <a:pt x="3088" y="2118"/>
                  </a:cubicBezTo>
                  <a:cubicBezTo>
                    <a:pt x="3107" y="2117"/>
                    <a:pt x="3124" y="2128"/>
                    <a:pt x="3126" y="2143"/>
                  </a:cubicBezTo>
                  <a:cubicBezTo>
                    <a:pt x="3128" y="2158"/>
                    <a:pt x="3113" y="2171"/>
                    <a:pt x="3093" y="2172"/>
                  </a:cubicBezTo>
                  <a:close/>
                  <a:moveTo>
                    <a:pt x="3042" y="2250"/>
                  </a:moveTo>
                  <a:cubicBezTo>
                    <a:pt x="3022" y="2251"/>
                    <a:pt x="3005" y="2240"/>
                    <a:pt x="3004" y="2225"/>
                  </a:cubicBezTo>
                  <a:cubicBezTo>
                    <a:pt x="3002" y="2210"/>
                    <a:pt x="3017" y="2197"/>
                    <a:pt x="3037" y="2196"/>
                  </a:cubicBezTo>
                  <a:cubicBezTo>
                    <a:pt x="3056" y="2195"/>
                    <a:pt x="3074" y="2206"/>
                    <a:pt x="3075" y="2221"/>
                  </a:cubicBezTo>
                  <a:cubicBezTo>
                    <a:pt x="3077" y="2236"/>
                    <a:pt x="3062" y="2249"/>
                    <a:pt x="3042" y="2250"/>
                  </a:cubicBezTo>
                  <a:close/>
                  <a:moveTo>
                    <a:pt x="2982" y="2178"/>
                  </a:moveTo>
                  <a:cubicBezTo>
                    <a:pt x="2962" y="2180"/>
                    <a:pt x="2945" y="2168"/>
                    <a:pt x="2944" y="2153"/>
                  </a:cubicBezTo>
                  <a:cubicBezTo>
                    <a:pt x="2942" y="2138"/>
                    <a:pt x="2957" y="2125"/>
                    <a:pt x="2977" y="2124"/>
                  </a:cubicBezTo>
                  <a:cubicBezTo>
                    <a:pt x="2996" y="2123"/>
                    <a:pt x="3013" y="2134"/>
                    <a:pt x="3015" y="2149"/>
                  </a:cubicBezTo>
                  <a:cubicBezTo>
                    <a:pt x="3016" y="2164"/>
                    <a:pt x="3001" y="2177"/>
                    <a:pt x="2982" y="2178"/>
                  </a:cubicBezTo>
                  <a:close/>
                  <a:moveTo>
                    <a:pt x="2929" y="2256"/>
                  </a:moveTo>
                  <a:cubicBezTo>
                    <a:pt x="2909" y="2257"/>
                    <a:pt x="2892" y="2246"/>
                    <a:pt x="2891" y="2231"/>
                  </a:cubicBezTo>
                  <a:cubicBezTo>
                    <a:pt x="2890" y="2216"/>
                    <a:pt x="2905" y="2203"/>
                    <a:pt x="2925" y="2202"/>
                  </a:cubicBezTo>
                  <a:cubicBezTo>
                    <a:pt x="2944" y="2201"/>
                    <a:pt x="2962" y="2212"/>
                    <a:pt x="2963" y="2227"/>
                  </a:cubicBezTo>
                  <a:cubicBezTo>
                    <a:pt x="2964" y="2242"/>
                    <a:pt x="2949" y="2255"/>
                    <a:pt x="2929" y="2256"/>
                  </a:cubicBezTo>
                  <a:close/>
                  <a:moveTo>
                    <a:pt x="2870" y="2184"/>
                  </a:moveTo>
                  <a:cubicBezTo>
                    <a:pt x="2850" y="2185"/>
                    <a:pt x="2833" y="2174"/>
                    <a:pt x="2832" y="2159"/>
                  </a:cubicBezTo>
                  <a:cubicBezTo>
                    <a:pt x="2831" y="2144"/>
                    <a:pt x="2846" y="2131"/>
                    <a:pt x="2866" y="2130"/>
                  </a:cubicBezTo>
                  <a:cubicBezTo>
                    <a:pt x="2885" y="2129"/>
                    <a:pt x="2902" y="2140"/>
                    <a:pt x="2903" y="2155"/>
                  </a:cubicBezTo>
                  <a:cubicBezTo>
                    <a:pt x="2905" y="2170"/>
                    <a:pt x="2890" y="2183"/>
                    <a:pt x="2870" y="2184"/>
                  </a:cubicBezTo>
                  <a:close/>
                  <a:moveTo>
                    <a:pt x="2816" y="2262"/>
                  </a:moveTo>
                  <a:cubicBezTo>
                    <a:pt x="2797" y="2262"/>
                    <a:pt x="2780" y="2251"/>
                    <a:pt x="2779" y="2236"/>
                  </a:cubicBezTo>
                  <a:cubicBezTo>
                    <a:pt x="2778" y="2221"/>
                    <a:pt x="2793" y="2208"/>
                    <a:pt x="2813" y="2207"/>
                  </a:cubicBezTo>
                  <a:cubicBezTo>
                    <a:pt x="2832" y="2206"/>
                    <a:pt x="2849" y="2218"/>
                    <a:pt x="2850" y="2233"/>
                  </a:cubicBezTo>
                  <a:cubicBezTo>
                    <a:pt x="2852" y="2248"/>
                    <a:pt x="2836" y="2261"/>
                    <a:pt x="2816" y="2262"/>
                  </a:cubicBezTo>
                  <a:close/>
                  <a:moveTo>
                    <a:pt x="2758" y="2189"/>
                  </a:moveTo>
                  <a:cubicBezTo>
                    <a:pt x="2739" y="2190"/>
                    <a:pt x="2722" y="2178"/>
                    <a:pt x="2721" y="2163"/>
                  </a:cubicBezTo>
                  <a:cubicBezTo>
                    <a:pt x="2720" y="2148"/>
                    <a:pt x="2735" y="2135"/>
                    <a:pt x="2755" y="2135"/>
                  </a:cubicBezTo>
                  <a:cubicBezTo>
                    <a:pt x="2774" y="2134"/>
                    <a:pt x="2791" y="2145"/>
                    <a:pt x="2792" y="2160"/>
                  </a:cubicBezTo>
                  <a:cubicBezTo>
                    <a:pt x="2793" y="2175"/>
                    <a:pt x="2778" y="2188"/>
                    <a:pt x="2758" y="2189"/>
                  </a:cubicBezTo>
                  <a:close/>
                  <a:moveTo>
                    <a:pt x="2738" y="2238"/>
                  </a:moveTo>
                  <a:cubicBezTo>
                    <a:pt x="2739" y="2253"/>
                    <a:pt x="2723" y="2265"/>
                    <a:pt x="2703" y="2266"/>
                  </a:cubicBezTo>
                  <a:cubicBezTo>
                    <a:pt x="2684" y="2267"/>
                    <a:pt x="2667" y="2255"/>
                    <a:pt x="2666" y="2240"/>
                  </a:cubicBezTo>
                  <a:cubicBezTo>
                    <a:pt x="2665" y="2225"/>
                    <a:pt x="2681" y="2212"/>
                    <a:pt x="2700" y="2212"/>
                  </a:cubicBezTo>
                  <a:cubicBezTo>
                    <a:pt x="2720" y="2211"/>
                    <a:pt x="2737" y="2223"/>
                    <a:pt x="2738" y="2238"/>
                  </a:cubicBezTo>
                  <a:close/>
                  <a:moveTo>
                    <a:pt x="2646" y="2193"/>
                  </a:moveTo>
                  <a:cubicBezTo>
                    <a:pt x="2627" y="2194"/>
                    <a:pt x="2610" y="2182"/>
                    <a:pt x="2610" y="2167"/>
                  </a:cubicBezTo>
                  <a:cubicBezTo>
                    <a:pt x="2609" y="2152"/>
                    <a:pt x="2624" y="2139"/>
                    <a:pt x="2644" y="2139"/>
                  </a:cubicBezTo>
                  <a:cubicBezTo>
                    <a:pt x="2663" y="2138"/>
                    <a:pt x="2680" y="2150"/>
                    <a:pt x="2681" y="2165"/>
                  </a:cubicBezTo>
                  <a:cubicBezTo>
                    <a:pt x="2681" y="2180"/>
                    <a:pt x="2666" y="2192"/>
                    <a:pt x="2646" y="2193"/>
                  </a:cubicBezTo>
                  <a:close/>
                  <a:moveTo>
                    <a:pt x="2625" y="2242"/>
                  </a:moveTo>
                  <a:cubicBezTo>
                    <a:pt x="2626" y="2257"/>
                    <a:pt x="2610" y="2269"/>
                    <a:pt x="2591" y="2270"/>
                  </a:cubicBezTo>
                  <a:cubicBezTo>
                    <a:pt x="2571" y="2270"/>
                    <a:pt x="2554" y="2259"/>
                    <a:pt x="2554" y="2244"/>
                  </a:cubicBezTo>
                  <a:cubicBezTo>
                    <a:pt x="2553" y="2229"/>
                    <a:pt x="2569" y="2216"/>
                    <a:pt x="2588" y="2215"/>
                  </a:cubicBezTo>
                  <a:cubicBezTo>
                    <a:pt x="2608" y="2215"/>
                    <a:pt x="2625" y="2227"/>
                    <a:pt x="2625" y="2242"/>
                  </a:cubicBezTo>
                  <a:close/>
                  <a:moveTo>
                    <a:pt x="2535" y="2196"/>
                  </a:moveTo>
                  <a:cubicBezTo>
                    <a:pt x="2515" y="2197"/>
                    <a:pt x="2499" y="2185"/>
                    <a:pt x="2498" y="2170"/>
                  </a:cubicBezTo>
                  <a:cubicBezTo>
                    <a:pt x="2498" y="2155"/>
                    <a:pt x="2513" y="2142"/>
                    <a:pt x="2533" y="2142"/>
                  </a:cubicBezTo>
                  <a:cubicBezTo>
                    <a:pt x="2552" y="2141"/>
                    <a:pt x="2569" y="2153"/>
                    <a:pt x="2569" y="2168"/>
                  </a:cubicBezTo>
                  <a:cubicBezTo>
                    <a:pt x="2570" y="2183"/>
                    <a:pt x="2554" y="2196"/>
                    <a:pt x="2535" y="2196"/>
                  </a:cubicBezTo>
                  <a:close/>
                  <a:moveTo>
                    <a:pt x="2513" y="2245"/>
                  </a:moveTo>
                  <a:cubicBezTo>
                    <a:pt x="2513" y="2260"/>
                    <a:pt x="2497" y="2272"/>
                    <a:pt x="2478" y="2273"/>
                  </a:cubicBezTo>
                  <a:cubicBezTo>
                    <a:pt x="2458" y="2273"/>
                    <a:pt x="2441" y="2261"/>
                    <a:pt x="2441" y="2246"/>
                  </a:cubicBezTo>
                  <a:cubicBezTo>
                    <a:pt x="2441" y="2231"/>
                    <a:pt x="2456" y="2219"/>
                    <a:pt x="2476" y="2218"/>
                  </a:cubicBezTo>
                  <a:cubicBezTo>
                    <a:pt x="2496" y="2218"/>
                    <a:pt x="2512" y="2230"/>
                    <a:pt x="2513" y="2245"/>
                  </a:cubicBezTo>
                  <a:close/>
                  <a:moveTo>
                    <a:pt x="2423" y="2199"/>
                  </a:moveTo>
                  <a:cubicBezTo>
                    <a:pt x="2403" y="2199"/>
                    <a:pt x="2387" y="2187"/>
                    <a:pt x="2387" y="2172"/>
                  </a:cubicBezTo>
                  <a:cubicBezTo>
                    <a:pt x="2386" y="2157"/>
                    <a:pt x="2402" y="2145"/>
                    <a:pt x="2422" y="2144"/>
                  </a:cubicBezTo>
                  <a:cubicBezTo>
                    <a:pt x="2441" y="2144"/>
                    <a:pt x="2457" y="2156"/>
                    <a:pt x="2458" y="2171"/>
                  </a:cubicBezTo>
                  <a:cubicBezTo>
                    <a:pt x="2458" y="2186"/>
                    <a:pt x="2442" y="2198"/>
                    <a:pt x="2423" y="2199"/>
                  </a:cubicBezTo>
                  <a:close/>
                  <a:moveTo>
                    <a:pt x="2400" y="2247"/>
                  </a:moveTo>
                  <a:cubicBezTo>
                    <a:pt x="2400" y="2262"/>
                    <a:pt x="2384" y="2275"/>
                    <a:pt x="2365" y="2275"/>
                  </a:cubicBezTo>
                  <a:cubicBezTo>
                    <a:pt x="2345" y="2275"/>
                    <a:pt x="2328" y="2263"/>
                    <a:pt x="2328" y="2248"/>
                  </a:cubicBezTo>
                  <a:cubicBezTo>
                    <a:pt x="2328" y="2233"/>
                    <a:pt x="2344" y="2221"/>
                    <a:pt x="2364" y="2220"/>
                  </a:cubicBezTo>
                  <a:cubicBezTo>
                    <a:pt x="2384" y="2220"/>
                    <a:pt x="2400" y="2232"/>
                    <a:pt x="2400" y="2247"/>
                  </a:cubicBezTo>
                  <a:close/>
                  <a:moveTo>
                    <a:pt x="2311" y="2201"/>
                  </a:moveTo>
                  <a:cubicBezTo>
                    <a:pt x="2291" y="2201"/>
                    <a:pt x="2275" y="2189"/>
                    <a:pt x="2275" y="2174"/>
                  </a:cubicBezTo>
                  <a:cubicBezTo>
                    <a:pt x="2275" y="2158"/>
                    <a:pt x="2291" y="2146"/>
                    <a:pt x="2311" y="2146"/>
                  </a:cubicBezTo>
                  <a:cubicBezTo>
                    <a:pt x="2330" y="2146"/>
                    <a:pt x="2346" y="2158"/>
                    <a:pt x="2346" y="2173"/>
                  </a:cubicBezTo>
                  <a:cubicBezTo>
                    <a:pt x="2346" y="2188"/>
                    <a:pt x="2331" y="2200"/>
                    <a:pt x="2311" y="2201"/>
                  </a:cubicBezTo>
                  <a:close/>
                  <a:moveTo>
                    <a:pt x="2288" y="2249"/>
                  </a:moveTo>
                  <a:cubicBezTo>
                    <a:pt x="2288" y="2264"/>
                    <a:pt x="2271" y="2276"/>
                    <a:pt x="2251" y="2276"/>
                  </a:cubicBezTo>
                  <a:cubicBezTo>
                    <a:pt x="2232" y="2276"/>
                    <a:pt x="2216" y="2264"/>
                    <a:pt x="2216" y="2249"/>
                  </a:cubicBezTo>
                  <a:cubicBezTo>
                    <a:pt x="2216" y="2234"/>
                    <a:pt x="2232" y="2222"/>
                    <a:pt x="2252" y="2222"/>
                  </a:cubicBezTo>
                  <a:cubicBezTo>
                    <a:pt x="2272" y="2222"/>
                    <a:pt x="2288" y="2234"/>
                    <a:pt x="2288" y="2249"/>
                  </a:cubicBezTo>
                  <a:close/>
                  <a:moveTo>
                    <a:pt x="2199" y="2201"/>
                  </a:moveTo>
                  <a:cubicBezTo>
                    <a:pt x="2179" y="2202"/>
                    <a:pt x="2163" y="2189"/>
                    <a:pt x="2164" y="2174"/>
                  </a:cubicBezTo>
                  <a:cubicBezTo>
                    <a:pt x="2164" y="2159"/>
                    <a:pt x="2180" y="2147"/>
                    <a:pt x="2200" y="2147"/>
                  </a:cubicBezTo>
                  <a:cubicBezTo>
                    <a:pt x="2219" y="2147"/>
                    <a:pt x="2235" y="2159"/>
                    <a:pt x="2235" y="2174"/>
                  </a:cubicBezTo>
                  <a:cubicBezTo>
                    <a:pt x="2235" y="2189"/>
                    <a:pt x="2219" y="2201"/>
                    <a:pt x="2199" y="2201"/>
                  </a:cubicBezTo>
                  <a:close/>
                  <a:moveTo>
                    <a:pt x="2175" y="2249"/>
                  </a:moveTo>
                  <a:cubicBezTo>
                    <a:pt x="2175" y="2265"/>
                    <a:pt x="2158" y="2277"/>
                    <a:pt x="2138" y="2277"/>
                  </a:cubicBezTo>
                  <a:cubicBezTo>
                    <a:pt x="2119" y="2277"/>
                    <a:pt x="2103" y="2265"/>
                    <a:pt x="2103" y="2250"/>
                  </a:cubicBezTo>
                  <a:cubicBezTo>
                    <a:pt x="2103" y="2234"/>
                    <a:pt x="2120" y="2222"/>
                    <a:pt x="2140" y="2222"/>
                  </a:cubicBezTo>
                  <a:cubicBezTo>
                    <a:pt x="2159" y="2222"/>
                    <a:pt x="2175" y="2234"/>
                    <a:pt x="2175" y="2249"/>
                  </a:cubicBezTo>
                  <a:close/>
                  <a:moveTo>
                    <a:pt x="2087" y="2202"/>
                  </a:moveTo>
                  <a:cubicBezTo>
                    <a:pt x="2067" y="2201"/>
                    <a:pt x="2052" y="2189"/>
                    <a:pt x="2052" y="2174"/>
                  </a:cubicBezTo>
                  <a:cubicBezTo>
                    <a:pt x="2053" y="2159"/>
                    <a:pt x="2069" y="2147"/>
                    <a:pt x="2089" y="2147"/>
                  </a:cubicBezTo>
                  <a:cubicBezTo>
                    <a:pt x="2108" y="2147"/>
                    <a:pt x="2124" y="2159"/>
                    <a:pt x="2123" y="2174"/>
                  </a:cubicBezTo>
                  <a:cubicBezTo>
                    <a:pt x="2123" y="2189"/>
                    <a:pt x="2107" y="2202"/>
                    <a:pt x="2087" y="2202"/>
                  </a:cubicBezTo>
                  <a:close/>
                  <a:moveTo>
                    <a:pt x="2062" y="2249"/>
                  </a:moveTo>
                  <a:cubicBezTo>
                    <a:pt x="2062" y="2265"/>
                    <a:pt x="2045" y="2277"/>
                    <a:pt x="2025" y="2277"/>
                  </a:cubicBezTo>
                  <a:cubicBezTo>
                    <a:pt x="2005" y="2276"/>
                    <a:pt x="1990" y="2264"/>
                    <a:pt x="1990" y="2249"/>
                  </a:cubicBezTo>
                  <a:cubicBezTo>
                    <a:pt x="1991" y="2234"/>
                    <a:pt x="2008" y="2222"/>
                    <a:pt x="2027" y="2222"/>
                  </a:cubicBezTo>
                  <a:cubicBezTo>
                    <a:pt x="2047" y="2222"/>
                    <a:pt x="2063" y="2234"/>
                    <a:pt x="2062" y="2249"/>
                  </a:cubicBezTo>
                  <a:close/>
                  <a:moveTo>
                    <a:pt x="1975" y="2201"/>
                  </a:moveTo>
                  <a:cubicBezTo>
                    <a:pt x="1955" y="2201"/>
                    <a:pt x="1940" y="2188"/>
                    <a:pt x="1941" y="2173"/>
                  </a:cubicBezTo>
                  <a:cubicBezTo>
                    <a:pt x="1942" y="2158"/>
                    <a:pt x="1958" y="2146"/>
                    <a:pt x="1978" y="2146"/>
                  </a:cubicBezTo>
                  <a:cubicBezTo>
                    <a:pt x="1997" y="2146"/>
                    <a:pt x="2013" y="2159"/>
                    <a:pt x="2012" y="2174"/>
                  </a:cubicBezTo>
                  <a:cubicBezTo>
                    <a:pt x="2011" y="2189"/>
                    <a:pt x="1995" y="2201"/>
                    <a:pt x="1975" y="2201"/>
                  </a:cubicBezTo>
                  <a:close/>
                  <a:moveTo>
                    <a:pt x="1950" y="2249"/>
                  </a:moveTo>
                  <a:cubicBezTo>
                    <a:pt x="1949" y="2264"/>
                    <a:pt x="1932" y="2276"/>
                    <a:pt x="1912" y="2276"/>
                  </a:cubicBezTo>
                  <a:cubicBezTo>
                    <a:pt x="1892" y="2275"/>
                    <a:pt x="1877" y="2263"/>
                    <a:pt x="1878" y="2248"/>
                  </a:cubicBezTo>
                  <a:cubicBezTo>
                    <a:pt x="1879" y="2232"/>
                    <a:pt x="1895" y="2220"/>
                    <a:pt x="1915" y="2221"/>
                  </a:cubicBezTo>
                  <a:cubicBezTo>
                    <a:pt x="1935" y="2221"/>
                    <a:pt x="1950" y="2233"/>
                    <a:pt x="1950" y="2249"/>
                  </a:cubicBezTo>
                  <a:close/>
                  <a:moveTo>
                    <a:pt x="1863" y="2199"/>
                  </a:moveTo>
                  <a:cubicBezTo>
                    <a:pt x="1844" y="2199"/>
                    <a:pt x="1828" y="2186"/>
                    <a:pt x="1829" y="2171"/>
                  </a:cubicBezTo>
                  <a:cubicBezTo>
                    <a:pt x="1830" y="2156"/>
                    <a:pt x="1847" y="2144"/>
                    <a:pt x="1867" y="2144"/>
                  </a:cubicBezTo>
                  <a:cubicBezTo>
                    <a:pt x="1886" y="2145"/>
                    <a:pt x="1901" y="2157"/>
                    <a:pt x="1900" y="2172"/>
                  </a:cubicBezTo>
                  <a:cubicBezTo>
                    <a:pt x="1900" y="2188"/>
                    <a:pt x="1883" y="2200"/>
                    <a:pt x="1863" y="2199"/>
                  </a:cubicBezTo>
                  <a:close/>
                  <a:moveTo>
                    <a:pt x="1837" y="2247"/>
                  </a:moveTo>
                  <a:cubicBezTo>
                    <a:pt x="1836" y="2262"/>
                    <a:pt x="1819" y="2274"/>
                    <a:pt x="1799" y="2274"/>
                  </a:cubicBezTo>
                  <a:cubicBezTo>
                    <a:pt x="1779" y="2273"/>
                    <a:pt x="1764" y="2261"/>
                    <a:pt x="1765" y="2245"/>
                  </a:cubicBezTo>
                  <a:cubicBezTo>
                    <a:pt x="1766" y="2230"/>
                    <a:pt x="1783" y="2218"/>
                    <a:pt x="1803" y="2219"/>
                  </a:cubicBezTo>
                  <a:cubicBezTo>
                    <a:pt x="1823" y="2219"/>
                    <a:pt x="1838" y="2232"/>
                    <a:pt x="1837" y="2247"/>
                  </a:cubicBezTo>
                  <a:close/>
                  <a:moveTo>
                    <a:pt x="1751" y="2197"/>
                  </a:moveTo>
                  <a:cubicBezTo>
                    <a:pt x="1732" y="2197"/>
                    <a:pt x="1717" y="2184"/>
                    <a:pt x="1718" y="2169"/>
                  </a:cubicBezTo>
                  <a:cubicBezTo>
                    <a:pt x="1719" y="2153"/>
                    <a:pt x="1736" y="2142"/>
                    <a:pt x="1755" y="2142"/>
                  </a:cubicBezTo>
                  <a:cubicBezTo>
                    <a:pt x="1775" y="2143"/>
                    <a:pt x="1790" y="2155"/>
                    <a:pt x="1789" y="2170"/>
                  </a:cubicBezTo>
                  <a:cubicBezTo>
                    <a:pt x="1788" y="2186"/>
                    <a:pt x="1771" y="2197"/>
                    <a:pt x="1751" y="2197"/>
                  </a:cubicBezTo>
                  <a:close/>
                  <a:moveTo>
                    <a:pt x="1724" y="2244"/>
                  </a:moveTo>
                  <a:cubicBezTo>
                    <a:pt x="1723" y="2260"/>
                    <a:pt x="1706" y="2271"/>
                    <a:pt x="1686" y="2271"/>
                  </a:cubicBezTo>
                  <a:cubicBezTo>
                    <a:pt x="1666" y="2270"/>
                    <a:pt x="1651" y="2258"/>
                    <a:pt x="1653" y="2242"/>
                  </a:cubicBezTo>
                  <a:cubicBezTo>
                    <a:pt x="1654" y="2227"/>
                    <a:pt x="1671" y="2216"/>
                    <a:pt x="1691" y="2216"/>
                  </a:cubicBezTo>
                  <a:cubicBezTo>
                    <a:pt x="1711" y="2217"/>
                    <a:pt x="1726" y="2229"/>
                    <a:pt x="1724" y="2244"/>
                  </a:cubicBezTo>
                  <a:close/>
                  <a:moveTo>
                    <a:pt x="1640" y="2194"/>
                  </a:moveTo>
                  <a:cubicBezTo>
                    <a:pt x="1620" y="2193"/>
                    <a:pt x="1605" y="2180"/>
                    <a:pt x="1606" y="2165"/>
                  </a:cubicBezTo>
                  <a:cubicBezTo>
                    <a:pt x="1608" y="2150"/>
                    <a:pt x="1625" y="2138"/>
                    <a:pt x="1644" y="2139"/>
                  </a:cubicBezTo>
                  <a:cubicBezTo>
                    <a:pt x="1664" y="2140"/>
                    <a:pt x="1679" y="2152"/>
                    <a:pt x="1678" y="2168"/>
                  </a:cubicBezTo>
                  <a:cubicBezTo>
                    <a:pt x="1676" y="2183"/>
                    <a:pt x="1659" y="2194"/>
                    <a:pt x="1640" y="2194"/>
                  </a:cubicBezTo>
                  <a:close/>
                  <a:moveTo>
                    <a:pt x="1612" y="2241"/>
                  </a:moveTo>
                  <a:cubicBezTo>
                    <a:pt x="1610" y="2256"/>
                    <a:pt x="1593" y="2268"/>
                    <a:pt x="1573" y="2267"/>
                  </a:cubicBezTo>
                  <a:cubicBezTo>
                    <a:pt x="1553" y="2267"/>
                    <a:pt x="1538" y="2254"/>
                    <a:pt x="1540" y="2239"/>
                  </a:cubicBezTo>
                  <a:cubicBezTo>
                    <a:pt x="1542" y="2224"/>
                    <a:pt x="1559" y="2212"/>
                    <a:pt x="1579" y="2213"/>
                  </a:cubicBezTo>
                  <a:cubicBezTo>
                    <a:pt x="1598" y="2213"/>
                    <a:pt x="1613" y="2226"/>
                    <a:pt x="1612" y="2241"/>
                  </a:cubicBezTo>
                  <a:close/>
                  <a:moveTo>
                    <a:pt x="1528" y="2190"/>
                  </a:moveTo>
                  <a:cubicBezTo>
                    <a:pt x="1508" y="2189"/>
                    <a:pt x="1493" y="2176"/>
                    <a:pt x="1495" y="2161"/>
                  </a:cubicBezTo>
                  <a:cubicBezTo>
                    <a:pt x="1497" y="2146"/>
                    <a:pt x="1514" y="2134"/>
                    <a:pt x="1533" y="2135"/>
                  </a:cubicBezTo>
                  <a:cubicBezTo>
                    <a:pt x="1553" y="2136"/>
                    <a:pt x="1568" y="2149"/>
                    <a:pt x="1566" y="2164"/>
                  </a:cubicBezTo>
                  <a:cubicBezTo>
                    <a:pt x="1565" y="2179"/>
                    <a:pt x="1547" y="2191"/>
                    <a:pt x="1528" y="2190"/>
                  </a:cubicBezTo>
                  <a:close/>
                  <a:moveTo>
                    <a:pt x="1499" y="2237"/>
                  </a:moveTo>
                  <a:cubicBezTo>
                    <a:pt x="1498" y="2252"/>
                    <a:pt x="1480" y="2264"/>
                    <a:pt x="1460" y="2263"/>
                  </a:cubicBezTo>
                  <a:cubicBezTo>
                    <a:pt x="1440" y="2262"/>
                    <a:pt x="1426" y="2249"/>
                    <a:pt x="1427" y="2234"/>
                  </a:cubicBezTo>
                  <a:cubicBezTo>
                    <a:pt x="1429" y="2219"/>
                    <a:pt x="1447" y="2207"/>
                    <a:pt x="1466" y="2208"/>
                  </a:cubicBezTo>
                  <a:cubicBezTo>
                    <a:pt x="1486" y="2209"/>
                    <a:pt x="1501" y="2222"/>
                    <a:pt x="1499" y="2237"/>
                  </a:cubicBezTo>
                  <a:close/>
                  <a:moveTo>
                    <a:pt x="1416" y="2185"/>
                  </a:moveTo>
                  <a:cubicBezTo>
                    <a:pt x="1396" y="2184"/>
                    <a:pt x="1382" y="2171"/>
                    <a:pt x="1384" y="2156"/>
                  </a:cubicBezTo>
                  <a:cubicBezTo>
                    <a:pt x="1385" y="2141"/>
                    <a:pt x="1403" y="2129"/>
                    <a:pt x="1422" y="2130"/>
                  </a:cubicBezTo>
                  <a:cubicBezTo>
                    <a:pt x="1442" y="2131"/>
                    <a:pt x="1456" y="2144"/>
                    <a:pt x="1455" y="2159"/>
                  </a:cubicBezTo>
                  <a:cubicBezTo>
                    <a:pt x="1453" y="2175"/>
                    <a:pt x="1436" y="2186"/>
                    <a:pt x="1416" y="2185"/>
                  </a:cubicBezTo>
                  <a:close/>
                  <a:moveTo>
                    <a:pt x="1387" y="2232"/>
                  </a:moveTo>
                  <a:cubicBezTo>
                    <a:pt x="1385" y="2247"/>
                    <a:pt x="1367" y="2259"/>
                    <a:pt x="1347" y="2258"/>
                  </a:cubicBezTo>
                  <a:cubicBezTo>
                    <a:pt x="1327" y="2257"/>
                    <a:pt x="1313" y="2244"/>
                    <a:pt x="1315" y="2229"/>
                  </a:cubicBezTo>
                  <a:cubicBezTo>
                    <a:pt x="1317" y="2214"/>
                    <a:pt x="1335" y="2202"/>
                    <a:pt x="1354" y="2203"/>
                  </a:cubicBezTo>
                  <a:cubicBezTo>
                    <a:pt x="1374" y="2204"/>
                    <a:pt x="1389" y="2217"/>
                    <a:pt x="1387" y="2232"/>
                  </a:cubicBezTo>
                  <a:close/>
                  <a:moveTo>
                    <a:pt x="1304" y="2180"/>
                  </a:moveTo>
                  <a:cubicBezTo>
                    <a:pt x="1284" y="2179"/>
                    <a:pt x="1270" y="2166"/>
                    <a:pt x="1272" y="2150"/>
                  </a:cubicBezTo>
                  <a:cubicBezTo>
                    <a:pt x="1274" y="2135"/>
                    <a:pt x="1292" y="2124"/>
                    <a:pt x="1311" y="2125"/>
                  </a:cubicBezTo>
                  <a:cubicBezTo>
                    <a:pt x="1331" y="2126"/>
                    <a:pt x="1345" y="2139"/>
                    <a:pt x="1343" y="2154"/>
                  </a:cubicBezTo>
                  <a:cubicBezTo>
                    <a:pt x="1341" y="2169"/>
                    <a:pt x="1324" y="2181"/>
                    <a:pt x="1304" y="2180"/>
                  </a:cubicBezTo>
                  <a:close/>
                  <a:moveTo>
                    <a:pt x="1274" y="2227"/>
                  </a:moveTo>
                  <a:cubicBezTo>
                    <a:pt x="1272" y="2242"/>
                    <a:pt x="1254" y="2253"/>
                    <a:pt x="1234" y="2252"/>
                  </a:cubicBezTo>
                  <a:cubicBezTo>
                    <a:pt x="1214" y="2251"/>
                    <a:pt x="1200" y="2238"/>
                    <a:pt x="1202" y="2223"/>
                  </a:cubicBezTo>
                  <a:cubicBezTo>
                    <a:pt x="1205" y="2207"/>
                    <a:pt x="1222" y="2196"/>
                    <a:pt x="1242" y="2197"/>
                  </a:cubicBezTo>
                  <a:cubicBezTo>
                    <a:pt x="1262" y="2198"/>
                    <a:pt x="1276" y="2211"/>
                    <a:pt x="1274" y="2227"/>
                  </a:cubicBezTo>
                  <a:close/>
                  <a:moveTo>
                    <a:pt x="1192" y="2173"/>
                  </a:moveTo>
                  <a:cubicBezTo>
                    <a:pt x="1173" y="2172"/>
                    <a:pt x="1158" y="2159"/>
                    <a:pt x="1161" y="2144"/>
                  </a:cubicBezTo>
                  <a:cubicBezTo>
                    <a:pt x="1163" y="2129"/>
                    <a:pt x="1181" y="2117"/>
                    <a:pt x="1201" y="2119"/>
                  </a:cubicBezTo>
                  <a:cubicBezTo>
                    <a:pt x="1220" y="2120"/>
                    <a:pt x="1234" y="2133"/>
                    <a:pt x="1232" y="2148"/>
                  </a:cubicBezTo>
                  <a:cubicBezTo>
                    <a:pt x="1230" y="2163"/>
                    <a:pt x="1212" y="2175"/>
                    <a:pt x="1192" y="2173"/>
                  </a:cubicBezTo>
                  <a:close/>
                  <a:moveTo>
                    <a:pt x="1162" y="2220"/>
                  </a:moveTo>
                  <a:cubicBezTo>
                    <a:pt x="1159" y="2235"/>
                    <a:pt x="1141" y="2247"/>
                    <a:pt x="1121" y="2245"/>
                  </a:cubicBezTo>
                  <a:cubicBezTo>
                    <a:pt x="1101" y="2244"/>
                    <a:pt x="1087" y="2231"/>
                    <a:pt x="1090" y="2216"/>
                  </a:cubicBezTo>
                  <a:cubicBezTo>
                    <a:pt x="1092" y="2200"/>
                    <a:pt x="1110" y="2189"/>
                    <a:pt x="1130" y="2190"/>
                  </a:cubicBezTo>
                  <a:cubicBezTo>
                    <a:pt x="1150" y="2192"/>
                    <a:pt x="1164" y="2205"/>
                    <a:pt x="1162" y="2220"/>
                  </a:cubicBezTo>
                  <a:close/>
                  <a:moveTo>
                    <a:pt x="1080" y="2166"/>
                  </a:moveTo>
                  <a:cubicBezTo>
                    <a:pt x="1061" y="2165"/>
                    <a:pt x="1047" y="2152"/>
                    <a:pt x="1050" y="2136"/>
                  </a:cubicBezTo>
                  <a:cubicBezTo>
                    <a:pt x="1052" y="2121"/>
                    <a:pt x="1070" y="2110"/>
                    <a:pt x="1090" y="2111"/>
                  </a:cubicBezTo>
                  <a:cubicBezTo>
                    <a:pt x="1109" y="2113"/>
                    <a:pt x="1123" y="2126"/>
                    <a:pt x="1121" y="2141"/>
                  </a:cubicBezTo>
                  <a:cubicBezTo>
                    <a:pt x="1118" y="2156"/>
                    <a:pt x="1100" y="2168"/>
                    <a:pt x="1080" y="2166"/>
                  </a:cubicBezTo>
                  <a:close/>
                  <a:moveTo>
                    <a:pt x="1049" y="2213"/>
                  </a:moveTo>
                  <a:cubicBezTo>
                    <a:pt x="1047" y="2228"/>
                    <a:pt x="1028" y="2239"/>
                    <a:pt x="1008" y="2238"/>
                  </a:cubicBezTo>
                  <a:cubicBezTo>
                    <a:pt x="989" y="2236"/>
                    <a:pt x="975" y="2223"/>
                    <a:pt x="977" y="2208"/>
                  </a:cubicBezTo>
                  <a:cubicBezTo>
                    <a:pt x="980" y="2193"/>
                    <a:pt x="998" y="2182"/>
                    <a:pt x="1018" y="2183"/>
                  </a:cubicBezTo>
                  <a:cubicBezTo>
                    <a:pt x="1038" y="2184"/>
                    <a:pt x="1052" y="2198"/>
                    <a:pt x="1049" y="2213"/>
                  </a:cubicBezTo>
                  <a:close/>
                  <a:moveTo>
                    <a:pt x="969" y="2158"/>
                  </a:moveTo>
                  <a:cubicBezTo>
                    <a:pt x="949" y="2157"/>
                    <a:pt x="935" y="2143"/>
                    <a:pt x="938" y="2128"/>
                  </a:cubicBezTo>
                  <a:cubicBezTo>
                    <a:pt x="941" y="2113"/>
                    <a:pt x="959" y="2102"/>
                    <a:pt x="979" y="2104"/>
                  </a:cubicBezTo>
                  <a:cubicBezTo>
                    <a:pt x="998" y="2105"/>
                    <a:pt x="1012" y="2118"/>
                    <a:pt x="1009" y="2134"/>
                  </a:cubicBezTo>
                  <a:cubicBezTo>
                    <a:pt x="1007" y="2149"/>
                    <a:pt x="988" y="2160"/>
                    <a:pt x="969" y="2158"/>
                  </a:cubicBezTo>
                  <a:close/>
                  <a:moveTo>
                    <a:pt x="925" y="2076"/>
                  </a:moveTo>
                  <a:cubicBezTo>
                    <a:pt x="905" y="2074"/>
                    <a:pt x="892" y="2061"/>
                    <a:pt x="895" y="2045"/>
                  </a:cubicBezTo>
                  <a:cubicBezTo>
                    <a:pt x="898" y="2030"/>
                    <a:pt x="916" y="2019"/>
                    <a:pt x="935" y="2021"/>
                  </a:cubicBezTo>
                  <a:cubicBezTo>
                    <a:pt x="954" y="2022"/>
                    <a:pt x="968" y="2036"/>
                    <a:pt x="965" y="2051"/>
                  </a:cubicBezTo>
                  <a:cubicBezTo>
                    <a:pt x="962" y="2066"/>
                    <a:pt x="944" y="2077"/>
                    <a:pt x="925" y="2076"/>
                  </a:cubicBezTo>
                  <a:close/>
                  <a:moveTo>
                    <a:pt x="898" y="2125"/>
                  </a:moveTo>
                  <a:cubicBezTo>
                    <a:pt x="895" y="2140"/>
                    <a:pt x="877" y="2151"/>
                    <a:pt x="857" y="2150"/>
                  </a:cubicBezTo>
                  <a:cubicBezTo>
                    <a:pt x="837" y="2148"/>
                    <a:pt x="824" y="2135"/>
                    <a:pt x="827" y="2119"/>
                  </a:cubicBezTo>
                  <a:cubicBezTo>
                    <a:pt x="830" y="2104"/>
                    <a:pt x="848" y="2093"/>
                    <a:pt x="868" y="2095"/>
                  </a:cubicBezTo>
                  <a:cubicBezTo>
                    <a:pt x="887" y="2097"/>
                    <a:pt x="901" y="2110"/>
                    <a:pt x="898" y="2125"/>
                  </a:cubicBezTo>
                  <a:close/>
                  <a:moveTo>
                    <a:pt x="814" y="2067"/>
                  </a:moveTo>
                  <a:cubicBezTo>
                    <a:pt x="795" y="2065"/>
                    <a:pt x="782" y="2051"/>
                    <a:pt x="785" y="2036"/>
                  </a:cubicBezTo>
                  <a:cubicBezTo>
                    <a:pt x="788" y="2021"/>
                    <a:pt x="806" y="2010"/>
                    <a:pt x="826" y="2012"/>
                  </a:cubicBezTo>
                  <a:cubicBezTo>
                    <a:pt x="845" y="2013"/>
                    <a:pt x="858" y="2027"/>
                    <a:pt x="855" y="2042"/>
                  </a:cubicBezTo>
                  <a:cubicBezTo>
                    <a:pt x="852" y="2057"/>
                    <a:pt x="834" y="2068"/>
                    <a:pt x="814" y="2067"/>
                  </a:cubicBezTo>
                  <a:close/>
                  <a:moveTo>
                    <a:pt x="787" y="2116"/>
                  </a:moveTo>
                  <a:cubicBezTo>
                    <a:pt x="784" y="2131"/>
                    <a:pt x="765" y="2142"/>
                    <a:pt x="745" y="2140"/>
                  </a:cubicBezTo>
                  <a:cubicBezTo>
                    <a:pt x="726" y="2139"/>
                    <a:pt x="712" y="2125"/>
                    <a:pt x="716" y="2110"/>
                  </a:cubicBezTo>
                  <a:cubicBezTo>
                    <a:pt x="719" y="2095"/>
                    <a:pt x="738" y="2084"/>
                    <a:pt x="757" y="2085"/>
                  </a:cubicBezTo>
                  <a:cubicBezTo>
                    <a:pt x="777" y="2087"/>
                    <a:pt x="790" y="2101"/>
                    <a:pt x="787" y="2116"/>
                  </a:cubicBezTo>
                  <a:close/>
                  <a:moveTo>
                    <a:pt x="704" y="2057"/>
                  </a:moveTo>
                  <a:cubicBezTo>
                    <a:pt x="684" y="2055"/>
                    <a:pt x="671" y="2041"/>
                    <a:pt x="675" y="2026"/>
                  </a:cubicBezTo>
                  <a:cubicBezTo>
                    <a:pt x="678" y="2011"/>
                    <a:pt x="697" y="2000"/>
                    <a:pt x="716" y="2002"/>
                  </a:cubicBezTo>
                  <a:cubicBezTo>
                    <a:pt x="735" y="2004"/>
                    <a:pt x="748" y="2017"/>
                    <a:pt x="745" y="2033"/>
                  </a:cubicBezTo>
                  <a:cubicBezTo>
                    <a:pt x="742" y="2048"/>
                    <a:pt x="723" y="2059"/>
                    <a:pt x="704" y="2057"/>
                  </a:cubicBezTo>
                  <a:close/>
                  <a:moveTo>
                    <a:pt x="676" y="2106"/>
                  </a:moveTo>
                  <a:cubicBezTo>
                    <a:pt x="672" y="2121"/>
                    <a:pt x="654" y="2132"/>
                    <a:pt x="634" y="2130"/>
                  </a:cubicBezTo>
                  <a:cubicBezTo>
                    <a:pt x="614" y="2128"/>
                    <a:pt x="601" y="2114"/>
                    <a:pt x="605" y="2099"/>
                  </a:cubicBezTo>
                  <a:cubicBezTo>
                    <a:pt x="608" y="2084"/>
                    <a:pt x="627" y="2073"/>
                    <a:pt x="646" y="2075"/>
                  </a:cubicBezTo>
                  <a:cubicBezTo>
                    <a:pt x="666" y="2077"/>
                    <a:pt x="679" y="2091"/>
                    <a:pt x="676" y="2106"/>
                  </a:cubicBezTo>
                  <a:close/>
                  <a:moveTo>
                    <a:pt x="594" y="2046"/>
                  </a:moveTo>
                  <a:cubicBezTo>
                    <a:pt x="574" y="2044"/>
                    <a:pt x="561" y="2030"/>
                    <a:pt x="565" y="2015"/>
                  </a:cubicBezTo>
                  <a:cubicBezTo>
                    <a:pt x="569" y="2000"/>
                    <a:pt x="587" y="1989"/>
                    <a:pt x="606" y="1991"/>
                  </a:cubicBezTo>
                  <a:cubicBezTo>
                    <a:pt x="626" y="1993"/>
                    <a:pt x="639" y="2007"/>
                    <a:pt x="635" y="2022"/>
                  </a:cubicBezTo>
                  <a:cubicBezTo>
                    <a:pt x="632" y="2037"/>
                    <a:pt x="613" y="2048"/>
                    <a:pt x="594" y="2046"/>
                  </a:cubicBezTo>
                  <a:close/>
                  <a:moveTo>
                    <a:pt x="564" y="2095"/>
                  </a:moveTo>
                  <a:cubicBezTo>
                    <a:pt x="561" y="2110"/>
                    <a:pt x="542" y="2121"/>
                    <a:pt x="522" y="2119"/>
                  </a:cubicBezTo>
                  <a:cubicBezTo>
                    <a:pt x="503" y="2117"/>
                    <a:pt x="490" y="2103"/>
                    <a:pt x="494" y="2088"/>
                  </a:cubicBezTo>
                  <a:cubicBezTo>
                    <a:pt x="497" y="2073"/>
                    <a:pt x="516" y="2062"/>
                    <a:pt x="536" y="2064"/>
                  </a:cubicBezTo>
                  <a:cubicBezTo>
                    <a:pt x="555" y="2066"/>
                    <a:pt x="568" y="2080"/>
                    <a:pt x="564" y="2095"/>
                  </a:cubicBezTo>
                  <a:close/>
                  <a:moveTo>
                    <a:pt x="483" y="2035"/>
                  </a:moveTo>
                  <a:cubicBezTo>
                    <a:pt x="464" y="2033"/>
                    <a:pt x="451" y="2019"/>
                    <a:pt x="455" y="2003"/>
                  </a:cubicBezTo>
                  <a:cubicBezTo>
                    <a:pt x="459" y="1988"/>
                    <a:pt x="478" y="1978"/>
                    <a:pt x="497" y="1980"/>
                  </a:cubicBezTo>
                  <a:cubicBezTo>
                    <a:pt x="516" y="1982"/>
                    <a:pt x="529" y="1996"/>
                    <a:pt x="525" y="2011"/>
                  </a:cubicBezTo>
                  <a:cubicBezTo>
                    <a:pt x="521" y="2026"/>
                    <a:pt x="503" y="2037"/>
                    <a:pt x="483" y="2035"/>
                  </a:cubicBezTo>
                  <a:close/>
                  <a:moveTo>
                    <a:pt x="450" y="1954"/>
                  </a:moveTo>
                  <a:cubicBezTo>
                    <a:pt x="431" y="1951"/>
                    <a:pt x="419" y="1937"/>
                    <a:pt x="423" y="1922"/>
                  </a:cubicBezTo>
                  <a:cubicBezTo>
                    <a:pt x="427" y="1907"/>
                    <a:pt x="446" y="1897"/>
                    <a:pt x="465" y="1899"/>
                  </a:cubicBezTo>
                  <a:cubicBezTo>
                    <a:pt x="484" y="1901"/>
                    <a:pt x="496" y="1915"/>
                    <a:pt x="492" y="1930"/>
                  </a:cubicBezTo>
                  <a:cubicBezTo>
                    <a:pt x="488" y="1945"/>
                    <a:pt x="470" y="1956"/>
                    <a:pt x="450" y="1954"/>
                  </a:cubicBezTo>
                  <a:close/>
                  <a:moveTo>
                    <a:pt x="429" y="1684"/>
                  </a:moveTo>
                  <a:cubicBezTo>
                    <a:pt x="433" y="1669"/>
                    <a:pt x="451" y="1659"/>
                    <a:pt x="469" y="1661"/>
                  </a:cubicBezTo>
                  <a:cubicBezTo>
                    <a:pt x="488" y="1663"/>
                    <a:pt x="500" y="1677"/>
                    <a:pt x="496" y="1692"/>
                  </a:cubicBezTo>
                  <a:cubicBezTo>
                    <a:pt x="492" y="1707"/>
                    <a:pt x="473" y="1718"/>
                    <a:pt x="455" y="1716"/>
                  </a:cubicBezTo>
                  <a:cubicBezTo>
                    <a:pt x="436" y="1714"/>
                    <a:pt x="424" y="1700"/>
                    <a:pt x="429" y="1684"/>
                  </a:cubicBezTo>
                  <a:close/>
                  <a:moveTo>
                    <a:pt x="504" y="1746"/>
                  </a:moveTo>
                  <a:cubicBezTo>
                    <a:pt x="523" y="1748"/>
                    <a:pt x="535" y="1762"/>
                    <a:pt x="531" y="1777"/>
                  </a:cubicBezTo>
                  <a:cubicBezTo>
                    <a:pt x="527" y="1792"/>
                    <a:pt x="509" y="1802"/>
                    <a:pt x="490" y="1800"/>
                  </a:cubicBezTo>
                  <a:cubicBezTo>
                    <a:pt x="471" y="1798"/>
                    <a:pt x="459" y="1784"/>
                    <a:pt x="463" y="1769"/>
                  </a:cubicBezTo>
                  <a:cubicBezTo>
                    <a:pt x="467" y="1754"/>
                    <a:pt x="486" y="1743"/>
                    <a:pt x="504" y="1746"/>
                  </a:cubicBezTo>
                  <a:close/>
                  <a:moveTo>
                    <a:pt x="536" y="1826"/>
                  </a:moveTo>
                  <a:cubicBezTo>
                    <a:pt x="554" y="1829"/>
                    <a:pt x="567" y="1842"/>
                    <a:pt x="563" y="1858"/>
                  </a:cubicBezTo>
                  <a:cubicBezTo>
                    <a:pt x="559" y="1873"/>
                    <a:pt x="541" y="1883"/>
                    <a:pt x="522" y="1881"/>
                  </a:cubicBezTo>
                  <a:cubicBezTo>
                    <a:pt x="503" y="1879"/>
                    <a:pt x="490" y="1865"/>
                    <a:pt x="494" y="1850"/>
                  </a:cubicBezTo>
                  <a:cubicBezTo>
                    <a:pt x="498" y="1835"/>
                    <a:pt x="517" y="1824"/>
                    <a:pt x="536" y="1826"/>
                  </a:cubicBezTo>
                  <a:close/>
                  <a:moveTo>
                    <a:pt x="534" y="1697"/>
                  </a:moveTo>
                  <a:cubicBezTo>
                    <a:pt x="537" y="1682"/>
                    <a:pt x="556" y="1671"/>
                    <a:pt x="574" y="1673"/>
                  </a:cubicBezTo>
                  <a:cubicBezTo>
                    <a:pt x="593" y="1675"/>
                    <a:pt x="604" y="1689"/>
                    <a:pt x="601" y="1704"/>
                  </a:cubicBezTo>
                  <a:cubicBezTo>
                    <a:pt x="597" y="1719"/>
                    <a:pt x="579" y="1730"/>
                    <a:pt x="560" y="1728"/>
                  </a:cubicBezTo>
                  <a:cubicBezTo>
                    <a:pt x="542" y="1726"/>
                    <a:pt x="530" y="1712"/>
                    <a:pt x="534" y="1697"/>
                  </a:cubicBezTo>
                  <a:close/>
                  <a:moveTo>
                    <a:pt x="610" y="1757"/>
                  </a:moveTo>
                  <a:cubicBezTo>
                    <a:pt x="629" y="1759"/>
                    <a:pt x="641" y="1773"/>
                    <a:pt x="638" y="1788"/>
                  </a:cubicBezTo>
                  <a:cubicBezTo>
                    <a:pt x="634" y="1803"/>
                    <a:pt x="616" y="1814"/>
                    <a:pt x="597" y="1812"/>
                  </a:cubicBezTo>
                  <a:cubicBezTo>
                    <a:pt x="578" y="1810"/>
                    <a:pt x="566" y="1796"/>
                    <a:pt x="570" y="1781"/>
                  </a:cubicBezTo>
                  <a:cubicBezTo>
                    <a:pt x="573" y="1766"/>
                    <a:pt x="592" y="1755"/>
                    <a:pt x="610" y="1757"/>
                  </a:cubicBezTo>
                  <a:close/>
                  <a:moveTo>
                    <a:pt x="639" y="1708"/>
                  </a:moveTo>
                  <a:cubicBezTo>
                    <a:pt x="642" y="1693"/>
                    <a:pt x="660" y="1682"/>
                    <a:pt x="679" y="1684"/>
                  </a:cubicBezTo>
                  <a:cubicBezTo>
                    <a:pt x="697" y="1686"/>
                    <a:pt x="709" y="1700"/>
                    <a:pt x="706" y="1715"/>
                  </a:cubicBezTo>
                  <a:cubicBezTo>
                    <a:pt x="702" y="1730"/>
                    <a:pt x="685" y="1741"/>
                    <a:pt x="666" y="1739"/>
                  </a:cubicBezTo>
                  <a:cubicBezTo>
                    <a:pt x="647" y="1737"/>
                    <a:pt x="635" y="1723"/>
                    <a:pt x="639" y="1708"/>
                  </a:cubicBezTo>
                  <a:close/>
                  <a:moveTo>
                    <a:pt x="716" y="1768"/>
                  </a:moveTo>
                  <a:cubicBezTo>
                    <a:pt x="735" y="1770"/>
                    <a:pt x="747" y="1784"/>
                    <a:pt x="744" y="1799"/>
                  </a:cubicBezTo>
                  <a:cubicBezTo>
                    <a:pt x="741" y="1814"/>
                    <a:pt x="723" y="1825"/>
                    <a:pt x="704" y="1823"/>
                  </a:cubicBezTo>
                  <a:cubicBezTo>
                    <a:pt x="685" y="1821"/>
                    <a:pt x="672" y="1807"/>
                    <a:pt x="676" y="1792"/>
                  </a:cubicBezTo>
                  <a:cubicBezTo>
                    <a:pt x="680" y="1777"/>
                    <a:pt x="698" y="1766"/>
                    <a:pt x="716" y="1768"/>
                  </a:cubicBezTo>
                  <a:close/>
                  <a:moveTo>
                    <a:pt x="744" y="1719"/>
                  </a:moveTo>
                  <a:cubicBezTo>
                    <a:pt x="747" y="1704"/>
                    <a:pt x="765" y="1693"/>
                    <a:pt x="784" y="1695"/>
                  </a:cubicBezTo>
                  <a:cubicBezTo>
                    <a:pt x="802" y="1696"/>
                    <a:pt x="814" y="1710"/>
                    <a:pt x="811" y="1725"/>
                  </a:cubicBezTo>
                  <a:cubicBezTo>
                    <a:pt x="808" y="1740"/>
                    <a:pt x="790" y="1751"/>
                    <a:pt x="772" y="1750"/>
                  </a:cubicBezTo>
                  <a:cubicBezTo>
                    <a:pt x="753" y="1748"/>
                    <a:pt x="741" y="1734"/>
                    <a:pt x="744" y="1719"/>
                  </a:cubicBezTo>
                  <a:close/>
                  <a:moveTo>
                    <a:pt x="822" y="1778"/>
                  </a:moveTo>
                  <a:cubicBezTo>
                    <a:pt x="841" y="1780"/>
                    <a:pt x="854" y="1793"/>
                    <a:pt x="850" y="1809"/>
                  </a:cubicBezTo>
                  <a:cubicBezTo>
                    <a:pt x="847" y="1824"/>
                    <a:pt x="829" y="1835"/>
                    <a:pt x="811" y="1833"/>
                  </a:cubicBezTo>
                  <a:cubicBezTo>
                    <a:pt x="792" y="1831"/>
                    <a:pt x="779" y="1817"/>
                    <a:pt x="782" y="1802"/>
                  </a:cubicBezTo>
                  <a:cubicBezTo>
                    <a:pt x="786" y="1787"/>
                    <a:pt x="804" y="1776"/>
                    <a:pt x="822" y="1778"/>
                  </a:cubicBezTo>
                  <a:close/>
                  <a:moveTo>
                    <a:pt x="849" y="1729"/>
                  </a:moveTo>
                  <a:cubicBezTo>
                    <a:pt x="852" y="1714"/>
                    <a:pt x="870" y="1703"/>
                    <a:pt x="888" y="1704"/>
                  </a:cubicBezTo>
                  <a:cubicBezTo>
                    <a:pt x="907" y="1706"/>
                    <a:pt x="920" y="1720"/>
                    <a:pt x="916" y="1735"/>
                  </a:cubicBezTo>
                  <a:cubicBezTo>
                    <a:pt x="913" y="1750"/>
                    <a:pt x="896" y="1761"/>
                    <a:pt x="877" y="1759"/>
                  </a:cubicBezTo>
                  <a:cubicBezTo>
                    <a:pt x="859" y="1758"/>
                    <a:pt x="846" y="1744"/>
                    <a:pt x="849" y="1729"/>
                  </a:cubicBezTo>
                  <a:close/>
                  <a:moveTo>
                    <a:pt x="881" y="1575"/>
                  </a:moveTo>
                  <a:cubicBezTo>
                    <a:pt x="885" y="1560"/>
                    <a:pt x="902" y="1549"/>
                    <a:pt x="920" y="1551"/>
                  </a:cubicBezTo>
                  <a:cubicBezTo>
                    <a:pt x="938" y="1552"/>
                    <a:pt x="950" y="1566"/>
                    <a:pt x="947" y="1581"/>
                  </a:cubicBezTo>
                  <a:cubicBezTo>
                    <a:pt x="944" y="1596"/>
                    <a:pt x="927" y="1607"/>
                    <a:pt x="909" y="1606"/>
                  </a:cubicBezTo>
                  <a:cubicBezTo>
                    <a:pt x="891" y="1604"/>
                    <a:pt x="878" y="1590"/>
                    <a:pt x="881" y="1575"/>
                  </a:cubicBezTo>
                  <a:close/>
                  <a:moveTo>
                    <a:pt x="959" y="1634"/>
                  </a:moveTo>
                  <a:cubicBezTo>
                    <a:pt x="977" y="1635"/>
                    <a:pt x="989" y="1649"/>
                    <a:pt x="986" y="1664"/>
                  </a:cubicBezTo>
                  <a:cubicBezTo>
                    <a:pt x="984" y="1679"/>
                    <a:pt x="966" y="1690"/>
                    <a:pt x="948" y="1689"/>
                  </a:cubicBezTo>
                  <a:cubicBezTo>
                    <a:pt x="929" y="1687"/>
                    <a:pt x="917" y="1673"/>
                    <a:pt x="920" y="1658"/>
                  </a:cubicBezTo>
                  <a:cubicBezTo>
                    <a:pt x="923" y="1643"/>
                    <a:pt x="940" y="1632"/>
                    <a:pt x="959" y="1634"/>
                  </a:cubicBezTo>
                  <a:close/>
                  <a:moveTo>
                    <a:pt x="984" y="1584"/>
                  </a:moveTo>
                  <a:cubicBezTo>
                    <a:pt x="987" y="1569"/>
                    <a:pt x="1004" y="1558"/>
                    <a:pt x="1023" y="1560"/>
                  </a:cubicBezTo>
                  <a:cubicBezTo>
                    <a:pt x="1041" y="1561"/>
                    <a:pt x="1053" y="1575"/>
                    <a:pt x="1050" y="1590"/>
                  </a:cubicBezTo>
                  <a:cubicBezTo>
                    <a:pt x="1047" y="1605"/>
                    <a:pt x="1030" y="1616"/>
                    <a:pt x="1012" y="1614"/>
                  </a:cubicBezTo>
                  <a:cubicBezTo>
                    <a:pt x="994" y="1613"/>
                    <a:pt x="982" y="1599"/>
                    <a:pt x="984" y="1584"/>
                  </a:cubicBezTo>
                  <a:close/>
                  <a:moveTo>
                    <a:pt x="1062" y="1642"/>
                  </a:moveTo>
                  <a:cubicBezTo>
                    <a:pt x="1081" y="1644"/>
                    <a:pt x="1093" y="1657"/>
                    <a:pt x="1091" y="1672"/>
                  </a:cubicBezTo>
                  <a:cubicBezTo>
                    <a:pt x="1088" y="1687"/>
                    <a:pt x="1071" y="1699"/>
                    <a:pt x="1052" y="1697"/>
                  </a:cubicBezTo>
                  <a:cubicBezTo>
                    <a:pt x="1034" y="1696"/>
                    <a:pt x="1021" y="1682"/>
                    <a:pt x="1024" y="1667"/>
                  </a:cubicBezTo>
                  <a:cubicBezTo>
                    <a:pt x="1027" y="1652"/>
                    <a:pt x="1044" y="1641"/>
                    <a:pt x="1062" y="1642"/>
                  </a:cubicBezTo>
                  <a:close/>
                  <a:moveTo>
                    <a:pt x="1087" y="1593"/>
                  </a:moveTo>
                  <a:cubicBezTo>
                    <a:pt x="1090" y="1577"/>
                    <a:pt x="1107" y="1566"/>
                    <a:pt x="1125" y="1568"/>
                  </a:cubicBezTo>
                  <a:cubicBezTo>
                    <a:pt x="1143" y="1569"/>
                    <a:pt x="1156" y="1582"/>
                    <a:pt x="1153" y="1598"/>
                  </a:cubicBezTo>
                  <a:cubicBezTo>
                    <a:pt x="1151" y="1613"/>
                    <a:pt x="1134" y="1624"/>
                    <a:pt x="1116" y="1623"/>
                  </a:cubicBezTo>
                  <a:cubicBezTo>
                    <a:pt x="1097" y="1621"/>
                    <a:pt x="1085" y="1608"/>
                    <a:pt x="1087" y="1593"/>
                  </a:cubicBezTo>
                  <a:close/>
                  <a:moveTo>
                    <a:pt x="1115" y="1439"/>
                  </a:moveTo>
                  <a:cubicBezTo>
                    <a:pt x="1118" y="1424"/>
                    <a:pt x="1134" y="1413"/>
                    <a:pt x="1152" y="1414"/>
                  </a:cubicBezTo>
                  <a:cubicBezTo>
                    <a:pt x="1170" y="1415"/>
                    <a:pt x="1182" y="1429"/>
                    <a:pt x="1179" y="1444"/>
                  </a:cubicBezTo>
                  <a:cubicBezTo>
                    <a:pt x="1177" y="1459"/>
                    <a:pt x="1160" y="1470"/>
                    <a:pt x="1142" y="1469"/>
                  </a:cubicBezTo>
                  <a:cubicBezTo>
                    <a:pt x="1125" y="1467"/>
                    <a:pt x="1112" y="1454"/>
                    <a:pt x="1115" y="1439"/>
                  </a:cubicBezTo>
                  <a:close/>
                  <a:moveTo>
                    <a:pt x="1192" y="1496"/>
                  </a:moveTo>
                  <a:cubicBezTo>
                    <a:pt x="1210" y="1497"/>
                    <a:pt x="1222" y="1511"/>
                    <a:pt x="1220" y="1526"/>
                  </a:cubicBezTo>
                  <a:cubicBezTo>
                    <a:pt x="1217" y="1541"/>
                    <a:pt x="1201" y="1552"/>
                    <a:pt x="1183" y="1551"/>
                  </a:cubicBezTo>
                  <a:cubicBezTo>
                    <a:pt x="1165" y="1550"/>
                    <a:pt x="1152" y="1536"/>
                    <a:pt x="1155" y="1521"/>
                  </a:cubicBezTo>
                  <a:cubicBezTo>
                    <a:pt x="1157" y="1506"/>
                    <a:pt x="1174" y="1495"/>
                    <a:pt x="1192" y="1496"/>
                  </a:cubicBezTo>
                  <a:close/>
                  <a:moveTo>
                    <a:pt x="1181" y="1367"/>
                  </a:moveTo>
                  <a:cubicBezTo>
                    <a:pt x="1183" y="1352"/>
                    <a:pt x="1200" y="1341"/>
                    <a:pt x="1217" y="1342"/>
                  </a:cubicBezTo>
                  <a:cubicBezTo>
                    <a:pt x="1235" y="1344"/>
                    <a:pt x="1247" y="1357"/>
                    <a:pt x="1244" y="1372"/>
                  </a:cubicBezTo>
                  <a:cubicBezTo>
                    <a:pt x="1242" y="1387"/>
                    <a:pt x="1226" y="1399"/>
                    <a:pt x="1208" y="1397"/>
                  </a:cubicBezTo>
                  <a:cubicBezTo>
                    <a:pt x="1190" y="1396"/>
                    <a:pt x="1178" y="1383"/>
                    <a:pt x="1181" y="1367"/>
                  </a:cubicBezTo>
                  <a:close/>
                  <a:moveTo>
                    <a:pt x="1241" y="1293"/>
                  </a:moveTo>
                  <a:cubicBezTo>
                    <a:pt x="1243" y="1277"/>
                    <a:pt x="1259" y="1266"/>
                    <a:pt x="1277" y="1267"/>
                  </a:cubicBezTo>
                  <a:cubicBezTo>
                    <a:pt x="1294" y="1269"/>
                    <a:pt x="1306" y="1282"/>
                    <a:pt x="1304" y="1297"/>
                  </a:cubicBezTo>
                  <a:cubicBezTo>
                    <a:pt x="1301" y="1312"/>
                    <a:pt x="1285" y="1324"/>
                    <a:pt x="1268" y="1322"/>
                  </a:cubicBezTo>
                  <a:cubicBezTo>
                    <a:pt x="1250" y="1321"/>
                    <a:pt x="1238" y="1308"/>
                    <a:pt x="1241" y="1293"/>
                  </a:cubicBezTo>
                  <a:close/>
                  <a:moveTo>
                    <a:pt x="1316" y="1349"/>
                  </a:moveTo>
                  <a:cubicBezTo>
                    <a:pt x="1334" y="1350"/>
                    <a:pt x="1346" y="1364"/>
                    <a:pt x="1344" y="1379"/>
                  </a:cubicBezTo>
                  <a:cubicBezTo>
                    <a:pt x="1342" y="1394"/>
                    <a:pt x="1326" y="1405"/>
                    <a:pt x="1308" y="1404"/>
                  </a:cubicBezTo>
                  <a:cubicBezTo>
                    <a:pt x="1290" y="1403"/>
                    <a:pt x="1278" y="1390"/>
                    <a:pt x="1280" y="1375"/>
                  </a:cubicBezTo>
                  <a:cubicBezTo>
                    <a:pt x="1283" y="1359"/>
                    <a:pt x="1299" y="1348"/>
                    <a:pt x="1316" y="1349"/>
                  </a:cubicBezTo>
                  <a:close/>
                  <a:moveTo>
                    <a:pt x="1339" y="1300"/>
                  </a:moveTo>
                  <a:cubicBezTo>
                    <a:pt x="1341" y="1284"/>
                    <a:pt x="1357" y="1273"/>
                    <a:pt x="1375" y="1274"/>
                  </a:cubicBezTo>
                  <a:cubicBezTo>
                    <a:pt x="1392" y="1275"/>
                    <a:pt x="1404" y="1288"/>
                    <a:pt x="1402" y="1304"/>
                  </a:cubicBezTo>
                  <a:cubicBezTo>
                    <a:pt x="1400" y="1319"/>
                    <a:pt x="1384" y="1330"/>
                    <a:pt x="1367" y="1329"/>
                  </a:cubicBezTo>
                  <a:cubicBezTo>
                    <a:pt x="1349" y="1328"/>
                    <a:pt x="1337" y="1315"/>
                    <a:pt x="1339" y="1300"/>
                  </a:cubicBezTo>
                  <a:close/>
                  <a:moveTo>
                    <a:pt x="1402" y="1227"/>
                  </a:moveTo>
                  <a:cubicBezTo>
                    <a:pt x="1404" y="1212"/>
                    <a:pt x="1419" y="1201"/>
                    <a:pt x="1436" y="1202"/>
                  </a:cubicBezTo>
                  <a:cubicBezTo>
                    <a:pt x="1453" y="1203"/>
                    <a:pt x="1466" y="1216"/>
                    <a:pt x="1464" y="1231"/>
                  </a:cubicBezTo>
                  <a:cubicBezTo>
                    <a:pt x="1462" y="1246"/>
                    <a:pt x="1446" y="1258"/>
                    <a:pt x="1429" y="1257"/>
                  </a:cubicBezTo>
                  <a:cubicBezTo>
                    <a:pt x="1412" y="1256"/>
                    <a:pt x="1400" y="1242"/>
                    <a:pt x="1402" y="1227"/>
                  </a:cubicBezTo>
                  <a:close/>
                  <a:moveTo>
                    <a:pt x="1458" y="1152"/>
                  </a:moveTo>
                  <a:cubicBezTo>
                    <a:pt x="1460" y="1137"/>
                    <a:pt x="1475" y="1125"/>
                    <a:pt x="1492" y="1126"/>
                  </a:cubicBezTo>
                  <a:cubicBezTo>
                    <a:pt x="1509" y="1127"/>
                    <a:pt x="1521" y="1140"/>
                    <a:pt x="1519" y="1155"/>
                  </a:cubicBezTo>
                  <a:cubicBezTo>
                    <a:pt x="1518" y="1171"/>
                    <a:pt x="1502" y="1182"/>
                    <a:pt x="1485" y="1181"/>
                  </a:cubicBezTo>
                  <a:cubicBezTo>
                    <a:pt x="1468" y="1180"/>
                    <a:pt x="1456" y="1167"/>
                    <a:pt x="1458" y="1152"/>
                  </a:cubicBezTo>
                  <a:close/>
                  <a:moveTo>
                    <a:pt x="1533" y="1207"/>
                  </a:moveTo>
                  <a:cubicBezTo>
                    <a:pt x="1550" y="1208"/>
                    <a:pt x="1563" y="1221"/>
                    <a:pt x="1561" y="1236"/>
                  </a:cubicBezTo>
                  <a:cubicBezTo>
                    <a:pt x="1559" y="1252"/>
                    <a:pt x="1544" y="1263"/>
                    <a:pt x="1527" y="1262"/>
                  </a:cubicBezTo>
                  <a:cubicBezTo>
                    <a:pt x="1509" y="1261"/>
                    <a:pt x="1497" y="1248"/>
                    <a:pt x="1499" y="1233"/>
                  </a:cubicBezTo>
                  <a:cubicBezTo>
                    <a:pt x="1501" y="1218"/>
                    <a:pt x="1516" y="1206"/>
                    <a:pt x="1533" y="1207"/>
                  </a:cubicBezTo>
                  <a:close/>
                  <a:moveTo>
                    <a:pt x="1554" y="1157"/>
                  </a:moveTo>
                  <a:cubicBezTo>
                    <a:pt x="1556" y="1142"/>
                    <a:pt x="1571" y="1131"/>
                    <a:pt x="1588" y="1132"/>
                  </a:cubicBezTo>
                  <a:cubicBezTo>
                    <a:pt x="1605" y="1132"/>
                    <a:pt x="1617" y="1145"/>
                    <a:pt x="1616" y="1161"/>
                  </a:cubicBezTo>
                  <a:cubicBezTo>
                    <a:pt x="1614" y="1176"/>
                    <a:pt x="1599" y="1187"/>
                    <a:pt x="1582" y="1186"/>
                  </a:cubicBezTo>
                  <a:cubicBezTo>
                    <a:pt x="1565" y="1186"/>
                    <a:pt x="1552" y="1173"/>
                    <a:pt x="1554" y="1157"/>
                  </a:cubicBezTo>
                  <a:close/>
                  <a:moveTo>
                    <a:pt x="1630" y="1212"/>
                  </a:moveTo>
                  <a:cubicBezTo>
                    <a:pt x="1647" y="1213"/>
                    <a:pt x="1660" y="1226"/>
                    <a:pt x="1658" y="1241"/>
                  </a:cubicBezTo>
                  <a:cubicBezTo>
                    <a:pt x="1657" y="1256"/>
                    <a:pt x="1642" y="1268"/>
                    <a:pt x="1624" y="1267"/>
                  </a:cubicBezTo>
                  <a:cubicBezTo>
                    <a:pt x="1607" y="1266"/>
                    <a:pt x="1595" y="1253"/>
                    <a:pt x="1596" y="1238"/>
                  </a:cubicBezTo>
                  <a:cubicBezTo>
                    <a:pt x="1598" y="1223"/>
                    <a:pt x="1613" y="1211"/>
                    <a:pt x="1630" y="1212"/>
                  </a:cubicBezTo>
                  <a:close/>
                  <a:moveTo>
                    <a:pt x="1650" y="1162"/>
                  </a:moveTo>
                  <a:cubicBezTo>
                    <a:pt x="1652" y="1147"/>
                    <a:pt x="1667" y="1135"/>
                    <a:pt x="1684" y="1136"/>
                  </a:cubicBezTo>
                  <a:cubicBezTo>
                    <a:pt x="1701" y="1137"/>
                    <a:pt x="1713" y="1150"/>
                    <a:pt x="1712" y="1165"/>
                  </a:cubicBezTo>
                  <a:cubicBezTo>
                    <a:pt x="1710" y="1180"/>
                    <a:pt x="1695" y="1192"/>
                    <a:pt x="1678" y="1191"/>
                  </a:cubicBezTo>
                  <a:cubicBezTo>
                    <a:pt x="1661" y="1190"/>
                    <a:pt x="1649" y="1177"/>
                    <a:pt x="1650" y="1162"/>
                  </a:cubicBezTo>
                  <a:close/>
                  <a:moveTo>
                    <a:pt x="1727" y="1217"/>
                  </a:moveTo>
                  <a:cubicBezTo>
                    <a:pt x="1744" y="1217"/>
                    <a:pt x="1757" y="1230"/>
                    <a:pt x="1756" y="1245"/>
                  </a:cubicBezTo>
                  <a:cubicBezTo>
                    <a:pt x="1754" y="1260"/>
                    <a:pt x="1739" y="1272"/>
                    <a:pt x="1722" y="1271"/>
                  </a:cubicBezTo>
                  <a:cubicBezTo>
                    <a:pt x="1705" y="1271"/>
                    <a:pt x="1692" y="1258"/>
                    <a:pt x="1694" y="1243"/>
                  </a:cubicBezTo>
                  <a:cubicBezTo>
                    <a:pt x="1695" y="1228"/>
                    <a:pt x="1710" y="1216"/>
                    <a:pt x="1727" y="1217"/>
                  </a:cubicBezTo>
                  <a:close/>
                  <a:moveTo>
                    <a:pt x="1746" y="1166"/>
                  </a:moveTo>
                  <a:cubicBezTo>
                    <a:pt x="1748" y="1151"/>
                    <a:pt x="1763" y="1139"/>
                    <a:pt x="1779" y="1140"/>
                  </a:cubicBezTo>
                  <a:cubicBezTo>
                    <a:pt x="1796" y="1141"/>
                    <a:pt x="1809" y="1153"/>
                    <a:pt x="1808" y="1169"/>
                  </a:cubicBezTo>
                  <a:cubicBezTo>
                    <a:pt x="1807" y="1184"/>
                    <a:pt x="1792" y="1196"/>
                    <a:pt x="1775" y="1195"/>
                  </a:cubicBezTo>
                  <a:cubicBezTo>
                    <a:pt x="1758" y="1194"/>
                    <a:pt x="1745" y="1181"/>
                    <a:pt x="1746" y="1166"/>
                  </a:cubicBezTo>
                  <a:close/>
                  <a:moveTo>
                    <a:pt x="1824" y="1220"/>
                  </a:moveTo>
                  <a:cubicBezTo>
                    <a:pt x="1841" y="1221"/>
                    <a:pt x="1854" y="1233"/>
                    <a:pt x="1853" y="1248"/>
                  </a:cubicBezTo>
                  <a:cubicBezTo>
                    <a:pt x="1852" y="1264"/>
                    <a:pt x="1837" y="1275"/>
                    <a:pt x="1820" y="1275"/>
                  </a:cubicBezTo>
                  <a:cubicBezTo>
                    <a:pt x="1803" y="1274"/>
                    <a:pt x="1790" y="1262"/>
                    <a:pt x="1791" y="1246"/>
                  </a:cubicBezTo>
                  <a:cubicBezTo>
                    <a:pt x="1792" y="1231"/>
                    <a:pt x="1807" y="1219"/>
                    <a:pt x="1824" y="1220"/>
                  </a:cubicBezTo>
                  <a:close/>
                  <a:moveTo>
                    <a:pt x="1843" y="1170"/>
                  </a:moveTo>
                  <a:cubicBezTo>
                    <a:pt x="1844" y="1155"/>
                    <a:pt x="1858" y="1143"/>
                    <a:pt x="1875" y="1143"/>
                  </a:cubicBezTo>
                  <a:cubicBezTo>
                    <a:pt x="1892" y="1144"/>
                    <a:pt x="1905" y="1156"/>
                    <a:pt x="1904" y="1172"/>
                  </a:cubicBezTo>
                  <a:cubicBezTo>
                    <a:pt x="1903" y="1187"/>
                    <a:pt x="1889" y="1199"/>
                    <a:pt x="1871" y="1198"/>
                  </a:cubicBezTo>
                  <a:cubicBezTo>
                    <a:pt x="1854" y="1198"/>
                    <a:pt x="1842" y="1185"/>
                    <a:pt x="1843" y="1170"/>
                  </a:cubicBezTo>
                  <a:close/>
                  <a:moveTo>
                    <a:pt x="1921" y="1223"/>
                  </a:moveTo>
                  <a:cubicBezTo>
                    <a:pt x="1938" y="1223"/>
                    <a:pt x="1951" y="1236"/>
                    <a:pt x="1950" y="1251"/>
                  </a:cubicBezTo>
                  <a:cubicBezTo>
                    <a:pt x="1950" y="1266"/>
                    <a:pt x="1935" y="1278"/>
                    <a:pt x="1918" y="1278"/>
                  </a:cubicBezTo>
                  <a:cubicBezTo>
                    <a:pt x="1900" y="1277"/>
                    <a:pt x="1887" y="1265"/>
                    <a:pt x="1888" y="1249"/>
                  </a:cubicBezTo>
                  <a:cubicBezTo>
                    <a:pt x="1889" y="1234"/>
                    <a:pt x="1904" y="1222"/>
                    <a:pt x="1921" y="1223"/>
                  </a:cubicBezTo>
                  <a:close/>
                  <a:moveTo>
                    <a:pt x="1939" y="1173"/>
                  </a:moveTo>
                  <a:cubicBezTo>
                    <a:pt x="1940" y="1157"/>
                    <a:pt x="1954" y="1145"/>
                    <a:pt x="1971" y="1146"/>
                  </a:cubicBezTo>
                  <a:cubicBezTo>
                    <a:pt x="1988" y="1146"/>
                    <a:pt x="2001" y="1159"/>
                    <a:pt x="2000" y="1174"/>
                  </a:cubicBezTo>
                  <a:cubicBezTo>
                    <a:pt x="1999" y="1189"/>
                    <a:pt x="1985" y="1201"/>
                    <a:pt x="1968" y="1201"/>
                  </a:cubicBezTo>
                  <a:cubicBezTo>
                    <a:pt x="1951" y="1200"/>
                    <a:pt x="1938" y="1188"/>
                    <a:pt x="1939" y="1173"/>
                  </a:cubicBezTo>
                  <a:close/>
                  <a:moveTo>
                    <a:pt x="2018" y="1225"/>
                  </a:moveTo>
                  <a:cubicBezTo>
                    <a:pt x="2035" y="1225"/>
                    <a:pt x="2048" y="1238"/>
                    <a:pt x="2048" y="1253"/>
                  </a:cubicBezTo>
                  <a:cubicBezTo>
                    <a:pt x="2047" y="1268"/>
                    <a:pt x="2033" y="1280"/>
                    <a:pt x="2016" y="1280"/>
                  </a:cubicBezTo>
                  <a:cubicBezTo>
                    <a:pt x="1998" y="1280"/>
                    <a:pt x="1985" y="1267"/>
                    <a:pt x="1986" y="1252"/>
                  </a:cubicBezTo>
                  <a:cubicBezTo>
                    <a:pt x="1986" y="1237"/>
                    <a:pt x="2001" y="1225"/>
                    <a:pt x="2018" y="1225"/>
                  </a:cubicBezTo>
                  <a:close/>
                  <a:moveTo>
                    <a:pt x="2035" y="1175"/>
                  </a:moveTo>
                  <a:cubicBezTo>
                    <a:pt x="2036" y="1159"/>
                    <a:pt x="2050" y="1147"/>
                    <a:pt x="2067" y="1148"/>
                  </a:cubicBezTo>
                  <a:cubicBezTo>
                    <a:pt x="2084" y="1148"/>
                    <a:pt x="2097" y="1160"/>
                    <a:pt x="2096" y="1176"/>
                  </a:cubicBezTo>
                  <a:cubicBezTo>
                    <a:pt x="2096" y="1191"/>
                    <a:pt x="2082" y="1203"/>
                    <a:pt x="2065" y="1203"/>
                  </a:cubicBezTo>
                  <a:cubicBezTo>
                    <a:pt x="2048" y="1202"/>
                    <a:pt x="2034" y="1190"/>
                    <a:pt x="2035" y="1175"/>
                  </a:cubicBezTo>
                  <a:close/>
                  <a:moveTo>
                    <a:pt x="2115" y="1226"/>
                  </a:moveTo>
                  <a:cubicBezTo>
                    <a:pt x="2132" y="1227"/>
                    <a:pt x="2146" y="1239"/>
                    <a:pt x="2145" y="1254"/>
                  </a:cubicBezTo>
                  <a:cubicBezTo>
                    <a:pt x="2145" y="1269"/>
                    <a:pt x="2131" y="1281"/>
                    <a:pt x="2113" y="1281"/>
                  </a:cubicBezTo>
                  <a:cubicBezTo>
                    <a:pt x="2096" y="1281"/>
                    <a:pt x="2083" y="1269"/>
                    <a:pt x="2083" y="1253"/>
                  </a:cubicBezTo>
                  <a:cubicBezTo>
                    <a:pt x="2084" y="1238"/>
                    <a:pt x="2098" y="1226"/>
                    <a:pt x="2115" y="1226"/>
                  </a:cubicBezTo>
                  <a:close/>
                  <a:moveTo>
                    <a:pt x="2131" y="1176"/>
                  </a:moveTo>
                  <a:cubicBezTo>
                    <a:pt x="2132" y="1161"/>
                    <a:pt x="2146" y="1149"/>
                    <a:pt x="2162" y="1149"/>
                  </a:cubicBezTo>
                  <a:cubicBezTo>
                    <a:pt x="2179" y="1149"/>
                    <a:pt x="2193" y="1161"/>
                    <a:pt x="2193" y="1177"/>
                  </a:cubicBezTo>
                  <a:cubicBezTo>
                    <a:pt x="2192" y="1192"/>
                    <a:pt x="2178" y="1204"/>
                    <a:pt x="2161" y="1204"/>
                  </a:cubicBezTo>
                  <a:cubicBezTo>
                    <a:pt x="2144" y="1204"/>
                    <a:pt x="2131" y="1191"/>
                    <a:pt x="2131" y="1176"/>
                  </a:cubicBezTo>
                  <a:close/>
                  <a:moveTo>
                    <a:pt x="2183" y="1101"/>
                  </a:moveTo>
                  <a:cubicBezTo>
                    <a:pt x="2183" y="1086"/>
                    <a:pt x="2197" y="1074"/>
                    <a:pt x="2214" y="1074"/>
                  </a:cubicBezTo>
                  <a:cubicBezTo>
                    <a:pt x="2231" y="1074"/>
                    <a:pt x="2244" y="1086"/>
                    <a:pt x="2244" y="1101"/>
                  </a:cubicBezTo>
                  <a:cubicBezTo>
                    <a:pt x="2244" y="1117"/>
                    <a:pt x="2230" y="1129"/>
                    <a:pt x="2213" y="1129"/>
                  </a:cubicBezTo>
                  <a:cubicBezTo>
                    <a:pt x="2196" y="1129"/>
                    <a:pt x="2183" y="1116"/>
                    <a:pt x="2183" y="1101"/>
                  </a:cubicBezTo>
                  <a:close/>
                  <a:moveTo>
                    <a:pt x="2258" y="1149"/>
                  </a:moveTo>
                  <a:cubicBezTo>
                    <a:pt x="2275" y="1149"/>
                    <a:pt x="2289" y="1162"/>
                    <a:pt x="2289" y="1177"/>
                  </a:cubicBezTo>
                  <a:cubicBezTo>
                    <a:pt x="2289" y="1192"/>
                    <a:pt x="2275" y="1204"/>
                    <a:pt x="2258" y="1204"/>
                  </a:cubicBezTo>
                  <a:cubicBezTo>
                    <a:pt x="2241" y="1204"/>
                    <a:pt x="2227" y="1192"/>
                    <a:pt x="2227" y="1177"/>
                  </a:cubicBezTo>
                  <a:cubicBezTo>
                    <a:pt x="2228" y="1162"/>
                    <a:pt x="2241" y="1149"/>
                    <a:pt x="2258" y="1149"/>
                  </a:cubicBezTo>
                  <a:close/>
                  <a:moveTo>
                    <a:pt x="2278" y="1102"/>
                  </a:moveTo>
                  <a:cubicBezTo>
                    <a:pt x="2278" y="1086"/>
                    <a:pt x="2292" y="1074"/>
                    <a:pt x="2309" y="1074"/>
                  </a:cubicBezTo>
                  <a:cubicBezTo>
                    <a:pt x="2325" y="1074"/>
                    <a:pt x="2339" y="1086"/>
                    <a:pt x="2339" y="1101"/>
                  </a:cubicBezTo>
                  <a:cubicBezTo>
                    <a:pt x="2339" y="1117"/>
                    <a:pt x="2325" y="1129"/>
                    <a:pt x="2309" y="1129"/>
                  </a:cubicBezTo>
                  <a:cubicBezTo>
                    <a:pt x="2292" y="1129"/>
                    <a:pt x="2278" y="1117"/>
                    <a:pt x="2278" y="1102"/>
                  </a:cubicBezTo>
                  <a:close/>
                  <a:moveTo>
                    <a:pt x="2354" y="1149"/>
                  </a:moveTo>
                  <a:cubicBezTo>
                    <a:pt x="2371" y="1149"/>
                    <a:pt x="2385" y="1161"/>
                    <a:pt x="2385" y="1176"/>
                  </a:cubicBezTo>
                  <a:cubicBezTo>
                    <a:pt x="2385" y="1191"/>
                    <a:pt x="2372" y="1204"/>
                    <a:pt x="2355" y="1204"/>
                  </a:cubicBezTo>
                  <a:cubicBezTo>
                    <a:pt x="2338" y="1204"/>
                    <a:pt x="2324" y="1192"/>
                    <a:pt x="2324" y="1177"/>
                  </a:cubicBezTo>
                  <a:cubicBezTo>
                    <a:pt x="2324" y="1162"/>
                    <a:pt x="2337" y="1149"/>
                    <a:pt x="2354" y="1149"/>
                  </a:cubicBezTo>
                  <a:close/>
                  <a:moveTo>
                    <a:pt x="2373" y="1101"/>
                  </a:moveTo>
                  <a:cubicBezTo>
                    <a:pt x="2373" y="1086"/>
                    <a:pt x="2387" y="1074"/>
                    <a:pt x="2403" y="1074"/>
                  </a:cubicBezTo>
                  <a:cubicBezTo>
                    <a:pt x="2420" y="1074"/>
                    <a:pt x="2434" y="1086"/>
                    <a:pt x="2434" y="1101"/>
                  </a:cubicBezTo>
                  <a:cubicBezTo>
                    <a:pt x="2434" y="1116"/>
                    <a:pt x="2421" y="1128"/>
                    <a:pt x="2404" y="1128"/>
                  </a:cubicBezTo>
                  <a:cubicBezTo>
                    <a:pt x="2387" y="1129"/>
                    <a:pt x="2374" y="1116"/>
                    <a:pt x="2373" y="1101"/>
                  </a:cubicBezTo>
                  <a:close/>
                  <a:moveTo>
                    <a:pt x="2450" y="1148"/>
                  </a:moveTo>
                  <a:cubicBezTo>
                    <a:pt x="2467" y="1148"/>
                    <a:pt x="2481" y="1160"/>
                    <a:pt x="2481" y="1175"/>
                  </a:cubicBezTo>
                  <a:cubicBezTo>
                    <a:pt x="2482" y="1190"/>
                    <a:pt x="2468" y="1203"/>
                    <a:pt x="2451" y="1203"/>
                  </a:cubicBezTo>
                  <a:cubicBezTo>
                    <a:pt x="2434" y="1203"/>
                    <a:pt x="2420" y="1191"/>
                    <a:pt x="2420" y="1176"/>
                  </a:cubicBezTo>
                  <a:cubicBezTo>
                    <a:pt x="2420" y="1161"/>
                    <a:pt x="2433" y="1149"/>
                    <a:pt x="2450" y="1148"/>
                  </a:cubicBezTo>
                  <a:close/>
                  <a:moveTo>
                    <a:pt x="2468" y="1100"/>
                  </a:moveTo>
                  <a:cubicBezTo>
                    <a:pt x="2468" y="1085"/>
                    <a:pt x="2481" y="1073"/>
                    <a:pt x="2498" y="1073"/>
                  </a:cubicBezTo>
                  <a:cubicBezTo>
                    <a:pt x="2515" y="1072"/>
                    <a:pt x="2528" y="1084"/>
                    <a:pt x="2529" y="1099"/>
                  </a:cubicBezTo>
                  <a:cubicBezTo>
                    <a:pt x="2530" y="1114"/>
                    <a:pt x="2516" y="1127"/>
                    <a:pt x="2500" y="1127"/>
                  </a:cubicBezTo>
                  <a:cubicBezTo>
                    <a:pt x="2483" y="1127"/>
                    <a:pt x="2469" y="1115"/>
                    <a:pt x="2468" y="1100"/>
                  </a:cubicBezTo>
                  <a:close/>
                  <a:moveTo>
                    <a:pt x="2546" y="1147"/>
                  </a:moveTo>
                  <a:cubicBezTo>
                    <a:pt x="2563" y="1147"/>
                    <a:pt x="2577" y="1158"/>
                    <a:pt x="2577" y="1173"/>
                  </a:cubicBezTo>
                  <a:cubicBezTo>
                    <a:pt x="2578" y="1189"/>
                    <a:pt x="2565" y="1201"/>
                    <a:pt x="2548" y="1201"/>
                  </a:cubicBezTo>
                  <a:cubicBezTo>
                    <a:pt x="2531" y="1202"/>
                    <a:pt x="2517" y="1190"/>
                    <a:pt x="2516" y="1175"/>
                  </a:cubicBezTo>
                  <a:cubicBezTo>
                    <a:pt x="2515" y="1160"/>
                    <a:pt x="2529" y="1147"/>
                    <a:pt x="2546" y="1147"/>
                  </a:cubicBezTo>
                  <a:close/>
                  <a:moveTo>
                    <a:pt x="2563" y="1099"/>
                  </a:moveTo>
                  <a:cubicBezTo>
                    <a:pt x="2563" y="1084"/>
                    <a:pt x="2576" y="1071"/>
                    <a:pt x="2592" y="1071"/>
                  </a:cubicBezTo>
                  <a:cubicBezTo>
                    <a:pt x="2609" y="1070"/>
                    <a:pt x="2623" y="1082"/>
                    <a:pt x="2624" y="1097"/>
                  </a:cubicBezTo>
                  <a:cubicBezTo>
                    <a:pt x="2625" y="1112"/>
                    <a:pt x="2612" y="1125"/>
                    <a:pt x="2595" y="1125"/>
                  </a:cubicBezTo>
                  <a:cubicBezTo>
                    <a:pt x="2578" y="1126"/>
                    <a:pt x="2564" y="1114"/>
                    <a:pt x="2563" y="1099"/>
                  </a:cubicBezTo>
                  <a:close/>
                  <a:moveTo>
                    <a:pt x="2641" y="1145"/>
                  </a:moveTo>
                  <a:cubicBezTo>
                    <a:pt x="2658" y="1144"/>
                    <a:pt x="2673" y="1156"/>
                    <a:pt x="2674" y="1171"/>
                  </a:cubicBezTo>
                  <a:cubicBezTo>
                    <a:pt x="2675" y="1186"/>
                    <a:pt x="2661" y="1199"/>
                    <a:pt x="2644" y="1199"/>
                  </a:cubicBezTo>
                  <a:cubicBezTo>
                    <a:pt x="2627" y="1200"/>
                    <a:pt x="2613" y="1188"/>
                    <a:pt x="2612" y="1173"/>
                  </a:cubicBezTo>
                  <a:cubicBezTo>
                    <a:pt x="2611" y="1158"/>
                    <a:pt x="2625" y="1145"/>
                    <a:pt x="2641" y="1145"/>
                  </a:cubicBezTo>
                  <a:close/>
                  <a:moveTo>
                    <a:pt x="2687" y="1068"/>
                  </a:moveTo>
                  <a:cubicBezTo>
                    <a:pt x="2704" y="1068"/>
                    <a:pt x="2718" y="1080"/>
                    <a:pt x="2719" y="1095"/>
                  </a:cubicBezTo>
                  <a:cubicBezTo>
                    <a:pt x="2720" y="1110"/>
                    <a:pt x="2707" y="1122"/>
                    <a:pt x="2691" y="1123"/>
                  </a:cubicBezTo>
                  <a:cubicBezTo>
                    <a:pt x="2674" y="1123"/>
                    <a:pt x="2659" y="1111"/>
                    <a:pt x="2658" y="1096"/>
                  </a:cubicBezTo>
                  <a:cubicBezTo>
                    <a:pt x="2658" y="1081"/>
                    <a:pt x="2670" y="1069"/>
                    <a:pt x="2687" y="1068"/>
                  </a:cubicBezTo>
                  <a:close/>
                  <a:moveTo>
                    <a:pt x="2737" y="1142"/>
                  </a:moveTo>
                  <a:cubicBezTo>
                    <a:pt x="2754" y="1141"/>
                    <a:pt x="2769" y="1153"/>
                    <a:pt x="2770" y="1168"/>
                  </a:cubicBezTo>
                  <a:cubicBezTo>
                    <a:pt x="2771" y="1183"/>
                    <a:pt x="2758" y="1195"/>
                    <a:pt x="2741" y="1196"/>
                  </a:cubicBezTo>
                  <a:cubicBezTo>
                    <a:pt x="2724" y="1197"/>
                    <a:pt x="2709" y="1185"/>
                    <a:pt x="2708" y="1170"/>
                  </a:cubicBezTo>
                  <a:cubicBezTo>
                    <a:pt x="2707" y="1155"/>
                    <a:pt x="2720" y="1142"/>
                    <a:pt x="2737" y="1142"/>
                  </a:cubicBezTo>
                  <a:close/>
                  <a:moveTo>
                    <a:pt x="2782" y="1065"/>
                  </a:moveTo>
                  <a:cubicBezTo>
                    <a:pt x="2798" y="1065"/>
                    <a:pt x="2813" y="1076"/>
                    <a:pt x="2814" y="1091"/>
                  </a:cubicBezTo>
                  <a:cubicBezTo>
                    <a:pt x="2815" y="1106"/>
                    <a:pt x="2803" y="1119"/>
                    <a:pt x="2786" y="1120"/>
                  </a:cubicBezTo>
                  <a:cubicBezTo>
                    <a:pt x="2769" y="1120"/>
                    <a:pt x="2755" y="1108"/>
                    <a:pt x="2753" y="1093"/>
                  </a:cubicBezTo>
                  <a:cubicBezTo>
                    <a:pt x="2752" y="1078"/>
                    <a:pt x="2765" y="1066"/>
                    <a:pt x="2782" y="1065"/>
                  </a:cubicBezTo>
                  <a:close/>
                  <a:moveTo>
                    <a:pt x="2833" y="1138"/>
                  </a:moveTo>
                  <a:cubicBezTo>
                    <a:pt x="2850" y="1137"/>
                    <a:pt x="2865" y="1149"/>
                    <a:pt x="2866" y="1164"/>
                  </a:cubicBezTo>
                  <a:cubicBezTo>
                    <a:pt x="2867" y="1179"/>
                    <a:pt x="2855" y="1192"/>
                    <a:pt x="2838" y="1192"/>
                  </a:cubicBezTo>
                  <a:cubicBezTo>
                    <a:pt x="2821" y="1193"/>
                    <a:pt x="2806" y="1181"/>
                    <a:pt x="2805" y="1167"/>
                  </a:cubicBezTo>
                  <a:cubicBezTo>
                    <a:pt x="2803" y="1152"/>
                    <a:pt x="2816" y="1139"/>
                    <a:pt x="2833" y="1138"/>
                  </a:cubicBezTo>
                  <a:close/>
                  <a:moveTo>
                    <a:pt x="2891" y="1213"/>
                  </a:moveTo>
                  <a:cubicBezTo>
                    <a:pt x="2908" y="1212"/>
                    <a:pt x="2923" y="1224"/>
                    <a:pt x="2924" y="1239"/>
                  </a:cubicBezTo>
                  <a:cubicBezTo>
                    <a:pt x="2926" y="1254"/>
                    <a:pt x="2913" y="1267"/>
                    <a:pt x="2896" y="1267"/>
                  </a:cubicBezTo>
                  <a:cubicBezTo>
                    <a:pt x="2878" y="1268"/>
                    <a:pt x="2863" y="1257"/>
                    <a:pt x="2862" y="1242"/>
                  </a:cubicBezTo>
                  <a:cubicBezTo>
                    <a:pt x="2861" y="1227"/>
                    <a:pt x="2874" y="1214"/>
                    <a:pt x="2891" y="1213"/>
                  </a:cubicBezTo>
                  <a:close/>
                  <a:moveTo>
                    <a:pt x="2929" y="1134"/>
                  </a:moveTo>
                  <a:cubicBezTo>
                    <a:pt x="2945" y="1133"/>
                    <a:pt x="2960" y="1144"/>
                    <a:pt x="2962" y="1159"/>
                  </a:cubicBezTo>
                  <a:cubicBezTo>
                    <a:pt x="2964" y="1174"/>
                    <a:pt x="2951" y="1187"/>
                    <a:pt x="2934" y="1188"/>
                  </a:cubicBezTo>
                  <a:cubicBezTo>
                    <a:pt x="2917" y="1189"/>
                    <a:pt x="2902" y="1177"/>
                    <a:pt x="2901" y="1162"/>
                  </a:cubicBezTo>
                  <a:cubicBezTo>
                    <a:pt x="2899" y="1147"/>
                    <a:pt x="2912" y="1135"/>
                    <a:pt x="2929" y="1134"/>
                  </a:cubicBezTo>
                  <a:close/>
                  <a:moveTo>
                    <a:pt x="2987" y="1208"/>
                  </a:moveTo>
                  <a:cubicBezTo>
                    <a:pt x="3005" y="1208"/>
                    <a:pt x="3020" y="1219"/>
                    <a:pt x="3022" y="1234"/>
                  </a:cubicBezTo>
                  <a:cubicBezTo>
                    <a:pt x="3023" y="1249"/>
                    <a:pt x="3011" y="1262"/>
                    <a:pt x="2993" y="1263"/>
                  </a:cubicBezTo>
                  <a:cubicBezTo>
                    <a:pt x="2976" y="1263"/>
                    <a:pt x="2961" y="1252"/>
                    <a:pt x="2959" y="1237"/>
                  </a:cubicBezTo>
                  <a:cubicBezTo>
                    <a:pt x="2958" y="1222"/>
                    <a:pt x="2970" y="1209"/>
                    <a:pt x="2987" y="1208"/>
                  </a:cubicBezTo>
                  <a:close/>
                  <a:moveTo>
                    <a:pt x="3024" y="1129"/>
                  </a:moveTo>
                  <a:cubicBezTo>
                    <a:pt x="3041" y="1128"/>
                    <a:pt x="3056" y="1139"/>
                    <a:pt x="3058" y="1154"/>
                  </a:cubicBezTo>
                  <a:cubicBezTo>
                    <a:pt x="3060" y="1169"/>
                    <a:pt x="3048" y="1182"/>
                    <a:pt x="3031" y="1183"/>
                  </a:cubicBezTo>
                  <a:cubicBezTo>
                    <a:pt x="3014" y="1184"/>
                    <a:pt x="2998" y="1173"/>
                    <a:pt x="2997" y="1158"/>
                  </a:cubicBezTo>
                  <a:cubicBezTo>
                    <a:pt x="2995" y="1143"/>
                    <a:pt x="3007" y="1130"/>
                    <a:pt x="3024" y="1129"/>
                  </a:cubicBezTo>
                  <a:close/>
                  <a:moveTo>
                    <a:pt x="3084" y="1203"/>
                  </a:moveTo>
                  <a:cubicBezTo>
                    <a:pt x="3101" y="1202"/>
                    <a:pt x="3117" y="1213"/>
                    <a:pt x="3119" y="1228"/>
                  </a:cubicBezTo>
                  <a:cubicBezTo>
                    <a:pt x="3121" y="1243"/>
                    <a:pt x="3108" y="1256"/>
                    <a:pt x="3091" y="1257"/>
                  </a:cubicBezTo>
                  <a:cubicBezTo>
                    <a:pt x="3074" y="1258"/>
                    <a:pt x="3058" y="1247"/>
                    <a:pt x="3057" y="1232"/>
                  </a:cubicBezTo>
                  <a:cubicBezTo>
                    <a:pt x="3055" y="1217"/>
                    <a:pt x="3067" y="1204"/>
                    <a:pt x="3084" y="1203"/>
                  </a:cubicBezTo>
                  <a:close/>
                  <a:moveTo>
                    <a:pt x="3140" y="1274"/>
                  </a:moveTo>
                  <a:cubicBezTo>
                    <a:pt x="3157" y="1273"/>
                    <a:pt x="3173" y="1284"/>
                    <a:pt x="3175" y="1299"/>
                  </a:cubicBezTo>
                  <a:cubicBezTo>
                    <a:pt x="3177" y="1314"/>
                    <a:pt x="3165" y="1327"/>
                    <a:pt x="3147" y="1328"/>
                  </a:cubicBezTo>
                  <a:cubicBezTo>
                    <a:pt x="3130" y="1330"/>
                    <a:pt x="3114" y="1318"/>
                    <a:pt x="3112" y="1303"/>
                  </a:cubicBezTo>
                  <a:cubicBezTo>
                    <a:pt x="3110" y="1288"/>
                    <a:pt x="3123" y="1276"/>
                    <a:pt x="3140" y="1274"/>
                  </a:cubicBezTo>
                  <a:close/>
                  <a:moveTo>
                    <a:pt x="3181" y="1197"/>
                  </a:moveTo>
                  <a:cubicBezTo>
                    <a:pt x="3198" y="1196"/>
                    <a:pt x="3214" y="1207"/>
                    <a:pt x="3216" y="1222"/>
                  </a:cubicBezTo>
                  <a:cubicBezTo>
                    <a:pt x="3218" y="1237"/>
                    <a:pt x="3206" y="1250"/>
                    <a:pt x="3189" y="1251"/>
                  </a:cubicBezTo>
                  <a:cubicBezTo>
                    <a:pt x="3172" y="1252"/>
                    <a:pt x="3156" y="1241"/>
                    <a:pt x="3154" y="1226"/>
                  </a:cubicBezTo>
                  <a:cubicBezTo>
                    <a:pt x="3152" y="1211"/>
                    <a:pt x="3164" y="1198"/>
                    <a:pt x="3181" y="1197"/>
                  </a:cubicBezTo>
                  <a:close/>
                  <a:moveTo>
                    <a:pt x="3238" y="1268"/>
                  </a:moveTo>
                  <a:cubicBezTo>
                    <a:pt x="3255" y="1267"/>
                    <a:pt x="3271" y="1278"/>
                    <a:pt x="3273" y="1292"/>
                  </a:cubicBezTo>
                  <a:cubicBezTo>
                    <a:pt x="3276" y="1307"/>
                    <a:pt x="3263" y="1320"/>
                    <a:pt x="3246" y="1322"/>
                  </a:cubicBezTo>
                  <a:cubicBezTo>
                    <a:pt x="3229" y="1323"/>
                    <a:pt x="3213" y="1312"/>
                    <a:pt x="3211" y="1297"/>
                  </a:cubicBezTo>
                  <a:cubicBezTo>
                    <a:pt x="3209" y="1282"/>
                    <a:pt x="3221" y="1269"/>
                    <a:pt x="3238" y="1268"/>
                  </a:cubicBezTo>
                  <a:close/>
                  <a:moveTo>
                    <a:pt x="3278" y="1190"/>
                  </a:moveTo>
                  <a:cubicBezTo>
                    <a:pt x="3295" y="1189"/>
                    <a:pt x="3311" y="1200"/>
                    <a:pt x="3313" y="1215"/>
                  </a:cubicBezTo>
                  <a:cubicBezTo>
                    <a:pt x="3316" y="1229"/>
                    <a:pt x="3304" y="1243"/>
                    <a:pt x="3286" y="1244"/>
                  </a:cubicBezTo>
                  <a:cubicBezTo>
                    <a:pt x="3269" y="1245"/>
                    <a:pt x="3253" y="1234"/>
                    <a:pt x="3251" y="1219"/>
                  </a:cubicBezTo>
                  <a:cubicBezTo>
                    <a:pt x="3249" y="1204"/>
                    <a:pt x="3261" y="1191"/>
                    <a:pt x="3278" y="1190"/>
                  </a:cubicBezTo>
                  <a:close/>
                  <a:moveTo>
                    <a:pt x="3338" y="1365"/>
                  </a:moveTo>
                  <a:cubicBezTo>
                    <a:pt x="3340" y="1380"/>
                    <a:pt x="3328" y="1393"/>
                    <a:pt x="3310" y="1394"/>
                  </a:cubicBezTo>
                  <a:cubicBezTo>
                    <a:pt x="3292" y="1396"/>
                    <a:pt x="3276" y="1385"/>
                    <a:pt x="3274" y="1370"/>
                  </a:cubicBezTo>
                  <a:cubicBezTo>
                    <a:pt x="3272" y="1355"/>
                    <a:pt x="3284" y="1342"/>
                    <a:pt x="3302" y="1341"/>
                  </a:cubicBezTo>
                  <a:cubicBezTo>
                    <a:pt x="3319" y="1339"/>
                    <a:pt x="3335" y="1350"/>
                    <a:pt x="3338" y="1365"/>
                  </a:cubicBezTo>
                  <a:close/>
                  <a:moveTo>
                    <a:pt x="3361" y="1411"/>
                  </a:moveTo>
                  <a:cubicBezTo>
                    <a:pt x="3378" y="1410"/>
                    <a:pt x="3395" y="1420"/>
                    <a:pt x="3397" y="1435"/>
                  </a:cubicBezTo>
                  <a:cubicBezTo>
                    <a:pt x="3400" y="1450"/>
                    <a:pt x="3387" y="1463"/>
                    <a:pt x="3370" y="1465"/>
                  </a:cubicBezTo>
                  <a:cubicBezTo>
                    <a:pt x="3352" y="1466"/>
                    <a:pt x="3335" y="1455"/>
                    <a:pt x="3333" y="1440"/>
                  </a:cubicBezTo>
                  <a:cubicBezTo>
                    <a:pt x="3331" y="1426"/>
                    <a:pt x="3343" y="1412"/>
                    <a:pt x="3361" y="1411"/>
                  </a:cubicBezTo>
                  <a:close/>
                  <a:moveTo>
                    <a:pt x="3401" y="1333"/>
                  </a:moveTo>
                  <a:cubicBezTo>
                    <a:pt x="3418" y="1331"/>
                    <a:pt x="3434" y="1342"/>
                    <a:pt x="3437" y="1357"/>
                  </a:cubicBezTo>
                  <a:cubicBezTo>
                    <a:pt x="3440" y="1372"/>
                    <a:pt x="3428" y="1385"/>
                    <a:pt x="3410" y="1386"/>
                  </a:cubicBezTo>
                  <a:cubicBezTo>
                    <a:pt x="3392" y="1388"/>
                    <a:pt x="3376" y="1377"/>
                    <a:pt x="3374" y="1362"/>
                  </a:cubicBezTo>
                  <a:cubicBezTo>
                    <a:pt x="3371" y="1347"/>
                    <a:pt x="3383" y="1334"/>
                    <a:pt x="3401" y="1333"/>
                  </a:cubicBezTo>
                  <a:close/>
                  <a:moveTo>
                    <a:pt x="3461" y="1403"/>
                  </a:moveTo>
                  <a:cubicBezTo>
                    <a:pt x="3479" y="1401"/>
                    <a:pt x="3495" y="1412"/>
                    <a:pt x="3498" y="1427"/>
                  </a:cubicBezTo>
                  <a:cubicBezTo>
                    <a:pt x="3501" y="1441"/>
                    <a:pt x="3488" y="1455"/>
                    <a:pt x="3471" y="1456"/>
                  </a:cubicBezTo>
                  <a:cubicBezTo>
                    <a:pt x="3453" y="1458"/>
                    <a:pt x="3436" y="1447"/>
                    <a:pt x="3434" y="1432"/>
                  </a:cubicBezTo>
                  <a:cubicBezTo>
                    <a:pt x="3431" y="1417"/>
                    <a:pt x="3443" y="1404"/>
                    <a:pt x="3461" y="1403"/>
                  </a:cubicBezTo>
                  <a:close/>
                  <a:moveTo>
                    <a:pt x="3500" y="1324"/>
                  </a:moveTo>
                  <a:cubicBezTo>
                    <a:pt x="3517" y="1323"/>
                    <a:pt x="3534" y="1333"/>
                    <a:pt x="3537" y="1348"/>
                  </a:cubicBezTo>
                  <a:cubicBezTo>
                    <a:pt x="3539" y="1363"/>
                    <a:pt x="3527" y="1376"/>
                    <a:pt x="3510" y="1378"/>
                  </a:cubicBezTo>
                  <a:cubicBezTo>
                    <a:pt x="3492" y="1379"/>
                    <a:pt x="3476" y="1369"/>
                    <a:pt x="3473" y="1354"/>
                  </a:cubicBezTo>
                  <a:cubicBezTo>
                    <a:pt x="3470" y="1339"/>
                    <a:pt x="3482" y="1326"/>
                    <a:pt x="3500" y="1324"/>
                  </a:cubicBezTo>
                  <a:close/>
                  <a:moveTo>
                    <a:pt x="3566" y="1498"/>
                  </a:moveTo>
                  <a:cubicBezTo>
                    <a:pt x="3568" y="1513"/>
                    <a:pt x="3556" y="1526"/>
                    <a:pt x="3538" y="1528"/>
                  </a:cubicBezTo>
                  <a:cubicBezTo>
                    <a:pt x="3520" y="1529"/>
                    <a:pt x="3503" y="1519"/>
                    <a:pt x="3501" y="1504"/>
                  </a:cubicBezTo>
                  <a:cubicBezTo>
                    <a:pt x="3498" y="1489"/>
                    <a:pt x="3510" y="1476"/>
                    <a:pt x="3528" y="1474"/>
                  </a:cubicBezTo>
                  <a:cubicBezTo>
                    <a:pt x="3546" y="1473"/>
                    <a:pt x="3563" y="1483"/>
                    <a:pt x="3566" y="1498"/>
                  </a:cubicBezTo>
                  <a:close/>
                  <a:moveTo>
                    <a:pt x="3590" y="1543"/>
                  </a:moveTo>
                  <a:cubicBezTo>
                    <a:pt x="3609" y="1542"/>
                    <a:pt x="3626" y="1552"/>
                    <a:pt x="3629" y="1567"/>
                  </a:cubicBezTo>
                  <a:cubicBezTo>
                    <a:pt x="3631" y="1582"/>
                    <a:pt x="3619" y="1595"/>
                    <a:pt x="3601" y="1597"/>
                  </a:cubicBezTo>
                  <a:cubicBezTo>
                    <a:pt x="3583" y="1599"/>
                    <a:pt x="3566" y="1588"/>
                    <a:pt x="3563" y="1573"/>
                  </a:cubicBezTo>
                  <a:cubicBezTo>
                    <a:pt x="3560" y="1558"/>
                    <a:pt x="3572" y="1545"/>
                    <a:pt x="3590" y="1543"/>
                  </a:cubicBezTo>
                  <a:close/>
                  <a:moveTo>
                    <a:pt x="3629" y="1465"/>
                  </a:moveTo>
                  <a:cubicBezTo>
                    <a:pt x="3647" y="1463"/>
                    <a:pt x="3664" y="1473"/>
                    <a:pt x="3667" y="1488"/>
                  </a:cubicBezTo>
                  <a:cubicBezTo>
                    <a:pt x="3670" y="1503"/>
                    <a:pt x="3658" y="1516"/>
                    <a:pt x="3640" y="1518"/>
                  </a:cubicBezTo>
                  <a:cubicBezTo>
                    <a:pt x="3622" y="1520"/>
                    <a:pt x="3605" y="1509"/>
                    <a:pt x="3602" y="1494"/>
                  </a:cubicBezTo>
                  <a:cubicBezTo>
                    <a:pt x="3599" y="1480"/>
                    <a:pt x="3611" y="1466"/>
                    <a:pt x="3629" y="1465"/>
                  </a:cubicBezTo>
                  <a:close/>
                  <a:moveTo>
                    <a:pt x="3693" y="1533"/>
                  </a:moveTo>
                  <a:cubicBezTo>
                    <a:pt x="3711" y="1531"/>
                    <a:pt x="3728" y="1542"/>
                    <a:pt x="3731" y="1556"/>
                  </a:cubicBezTo>
                  <a:cubicBezTo>
                    <a:pt x="3735" y="1571"/>
                    <a:pt x="3722" y="1585"/>
                    <a:pt x="3704" y="1586"/>
                  </a:cubicBezTo>
                  <a:cubicBezTo>
                    <a:pt x="3686" y="1588"/>
                    <a:pt x="3669" y="1578"/>
                    <a:pt x="3666" y="1563"/>
                  </a:cubicBezTo>
                  <a:cubicBezTo>
                    <a:pt x="3663" y="1548"/>
                    <a:pt x="3675" y="1535"/>
                    <a:pt x="3693" y="1533"/>
                  </a:cubicBezTo>
                  <a:close/>
                  <a:moveTo>
                    <a:pt x="3731" y="1454"/>
                  </a:moveTo>
                  <a:cubicBezTo>
                    <a:pt x="3748" y="1452"/>
                    <a:pt x="3766" y="1463"/>
                    <a:pt x="3769" y="1477"/>
                  </a:cubicBezTo>
                  <a:cubicBezTo>
                    <a:pt x="3772" y="1492"/>
                    <a:pt x="3760" y="1506"/>
                    <a:pt x="3742" y="1507"/>
                  </a:cubicBezTo>
                  <a:cubicBezTo>
                    <a:pt x="3724" y="1509"/>
                    <a:pt x="3707" y="1499"/>
                    <a:pt x="3704" y="1484"/>
                  </a:cubicBezTo>
                  <a:cubicBezTo>
                    <a:pt x="3701" y="1470"/>
                    <a:pt x="3713" y="1456"/>
                    <a:pt x="3731" y="1454"/>
                  </a:cubicBezTo>
                  <a:close/>
                  <a:moveTo>
                    <a:pt x="3803" y="1626"/>
                  </a:moveTo>
                  <a:cubicBezTo>
                    <a:pt x="3806" y="1641"/>
                    <a:pt x="3794" y="1655"/>
                    <a:pt x="3775" y="1657"/>
                  </a:cubicBezTo>
                  <a:cubicBezTo>
                    <a:pt x="3757" y="1659"/>
                    <a:pt x="3739" y="1648"/>
                    <a:pt x="3736" y="1634"/>
                  </a:cubicBezTo>
                  <a:cubicBezTo>
                    <a:pt x="3733" y="1619"/>
                    <a:pt x="3745" y="1605"/>
                    <a:pt x="3764" y="1603"/>
                  </a:cubicBezTo>
                  <a:cubicBezTo>
                    <a:pt x="3782" y="1601"/>
                    <a:pt x="3799" y="1612"/>
                    <a:pt x="3803" y="1626"/>
                  </a:cubicBezTo>
                  <a:close/>
                  <a:moveTo>
                    <a:pt x="3829" y="1671"/>
                  </a:moveTo>
                  <a:cubicBezTo>
                    <a:pt x="3848" y="1669"/>
                    <a:pt x="3865" y="1679"/>
                    <a:pt x="3869" y="1694"/>
                  </a:cubicBezTo>
                  <a:cubicBezTo>
                    <a:pt x="3872" y="1709"/>
                    <a:pt x="3860" y="1722"/>
                    <a:pt x="3841" y="1724"/>
                  </a:cubicBezTo>
                  <a:cubicBezTo>
                    <a:pt x="3823" y="1727"/>
                    <a:pt x="3805" y="1716"/>
                    <a:pt x="3802" y="1702"/>
                  </a:cubicBezTo>
                  <a:cubicBezTo>
                    <a:pt x="3798" y="1687"/>
                    <a:pt x="3811" y="1673"/>
                    <a:pt x="3829" y="1671"/>
                  </a:cubicBezTo>
                  <a:close/>
                  <a:moveTo>
                    <a:pt x="3867" y="1592"/>
                  </a:moveTo>
                  <a:cubicBezTo>
                    <a:pt x="3885" y="1590"/>
                    <a:pt x="3903" y="1600"/>
                    <a:pt x="3906" y="1615"/>
                  </a:cubicBezTo>
                  <a:cubicBezTo>
                    <a:pt x="3910" y="1629"/>
                    <a:pt x="3898" y="1643"/>
                    <a:pt x="3880" y="1645"/>
                  </a:cubicBezTo>
                  <a:cubicBezTo>
                    <a:pt x="3861" y="1647"/>
                    <a:pt x="3844" y="1637"/>
                    <a:pt x="3840" y="1622"/>
                  </a:cubicBezTo>
                  <a:cubicBezTo>
                    <a:pt x="3837" y="1608"/>
                    <a:pt x="3849" y="1594"/>
                    <a:pt x="3867" y="1592"/>
                  </a:cubicBezTo>
                  <a:close/>
                  <a:moveTo>
                    <a:pt x="3934" y="1659"/>
                  </a:moveTo>
                  <a:cubicBezTo>
                    <a:pt x="3952" y="1657"/>
                    <a:pt x="3970" y="1667"/>
                    <a:pt x="3974" y="1682"/>
                  </a:cubicBezTo>
                  <a:cubicBezTo>
                    <a:pt x="3977" y="1696"/>
                    <a:pt x="3965" y="1710"/>
                    <a:pt x="3947" y="1712"/>
                  </a:cubicBezTo>
                  <a:cubicBezTo>
                    <a:pt x="3928" y="1715"/>
                    <a:pt x="3910" y="1704"/>
                    <a:pt x="3907" y="1690"/>
                  </a:cubicBezTo>
                  <a:cubicBezTo>
                    <a:pt x="3903" y="1675"/>
                    <a:pt x="3915" y="1661"/>
                    <a:pt x="3934" y="1659"/>
                  </a:cubicBezTo>
                  <a:close/>
                  <a:moveTo>
                    <a:pt x="3970" y="1580"/>
                  </a:moveTo>
                  <a:cubicBezTo>
                    <a:pt x="3989" y="1577"/>
                    <a:pt x="4006" y="1587"/>
                    <a:pt x="4010" y="1602"/>
                  </a:cubicBezTo>
                  <a:cubicBezTo>
                    <a:pt x="4014" y="1617"/>
                    <a:pt x="4002" y="1630"/>
                    <a:pt x="3984" y="1633"/>
                  </a:cubicBezTo>
                  <a:cubicBezTo>
                    <a:pt x="3965" y="1635"/>
                    <a:pt x="3948" y="1625"/>
                    <a:pt x="3944" y="1610"/>
                  </a:cubicBezTo>
                  <a:cubicBezTo>
                    <a:pt x="3940" y="1596"/>
                    <a:pt x="3952" y="1582"/>
                    <a:pt x="3970" y="1580"/>
                  </a:cubicBezTo>
                  <a:close/>
                  <a:moveTo>
                    <a:pt x="4049" y="1750"/>
                  </a:moveTo>
                  <a:cubicBezTo>
                    <a:pt x="4052" y="1765"/>
                    <a:pt x="4040" y="1779"/>
                    <a:pt x="4021" y="1781"/>
                  </a:cubicBezTo>
                  <a:cubicBezTo>
                    <a:pt x="4003" y="1783"/>
                    <a:pt x="3984" y="1773"/>
                    <a:pt x="3981" y="1759"/>
                  </a:cubicBezTo>
                  <a:cubicBezTo>
                    <a:pt x="3977" y="1744"/>
                    <a:pt x="3989" y="1730"/>
                    <a:pt x="4008" y="1728"/>
                  </a:cubicBezTo>
                  <a:cubicBezTo>
                    <a:pt x="4027" y="1726"/>
                    <a:pt x="4045" y="1736"/>
                    <a:pt x="4049" y="1750"/>
                  </a:cubicBezTo>
                  <a:close/>
                  <a:moveTo>
                    <a:pt x="4038" y="1646"/>
                  </a:moveTo>
                  <a:cubicBezTo>
                    <a:pt x="4057" y="1644"/>
                    <a:pt x="4075" y="1654"/>
                    <a:pt x="4079" y="1669"/>
                  </a:cubicBezTo>
                  <a:cubicBezTo>
                    <a:pt x="4083" y="1683"/>
                    <a:pt x="4071" y="1697"/>
                    <a:pt x="4052" y="1699"/>
                  </a:cubicBezTo>
                  <a:cubicBezTo>
                    <a:pt x="4034" y="1702"/>
                    <a:pt x="4016" y="1692"/>
                    <a:pt x="4012" y="1677"/>
                  </a:cubicBezTo>
                  <a:cubicBezTo>
                    <a:pt x="4008" y="1662"/>
                    <a:pt x="4020" y="1649"/>
                    <a:pt x="4038" y="1646"/>
                  </a:cubicBezTo>
                  <a:close/>
                  <a:moveTo>
                    <a:pt x="4074" y="1567"/>
                  </a:moveTo>
                  <a:cubicBezTo>
                    <a:pt x="4092" y="1564"/>
                    <a:pt x="4110" y="1574"/>
                    <a:pt x="4114" y="1589"/>
                  </a:cubicBezTo>
                  <a:cubicBezTo>
                    <a:pt x="4118" y="1603"/>
                    <a:pt x="4106" y="1617"/>
                    <a:pt x="4088" y="1620"/>
                  </a:cubicBezTo>
                  <a:cubicBezTo>
                    <a:pt x="4070" y="1622"/>
                    <a:pt x="4052" y="1612"/>
                    <a:pt x="4048" y="1597"/>
                  </a:cubicBezTo>
                  <a:cubicBezTo>
                    <a:pt x="4044" y="1583"/>
                    <a:pt x="4056" y="1569"/>
                    <a:pt x="4074" y="1567"/>
                  </a:cubicBezTo>
                  <a:close/>
                  <a:moveTo>
                    <a:pt x="4155" y="1737"/>
                  </a:moveTo>
                  <a:cubicBezTo>
                    <a:pt x="4159" y="1751"/>
                    <a:pt x="4147" y="1765"/>
                    <a:pt x="4128" y="1768"/>
                  </a:cubicBezTo>
                  <a:cubicBezTo>
                    <a:pt x="4109" y="1770"/>
                    <a:pt x="4091" y="1760"/>
                    <a:pt x="4087" y="1745"/>
                  </a:cubicBezTo>
                  <a:cubicBezTo>
                    <a:pt x="4083" y="1731"/>
                    <a:pt x="4095" y="1717"/>
                    <a:pt x="4114" y="1715"/>
                  </a:cubicBezTo>
                  <a:cubicBezTo>
                    <a:pt x="4132" y="1712"/>
                    <a:pt x="4151" y="1722"/>
                    <a:pt x="4155" y="1737"/>
                  </a:cubicBezTo>
                  <a:close/>
                  <a:moveTo>
                    <a:pt x="4143" y="1633"/>
                  </a:moveTo>
                  <a:cubicBezTo>
                    <a:pt x="4161" y="1630"/>
                    <a:pt x="4179" y="1640"/>
                    <a:pt x="4184" y="1655"/>
                  </a:cubicBezTo>
                  <a:cubicBezTo>
                    <a:pt x="4188" y="1669"/>
                    <a:pt x="4176" y="1683"/>
                    <a:pt x="4157" y="1686"/>
                  </a:cubicBezTo>
                  <a:cubicBezTo>
                    <a:pt x="4139" y="1688"/>
                    <a:pt x="4121" y="1678"/>
                    <a:pt x="4117" y="1664"/>
                  </a:cubicBezTo>
                  <a:cubicBezTo>
                    <a:pt x="4113" y="1649"/>
                    <a:pt x="4124" y="1635"/>
                    <a:pt x="4143" y="1633"/>
                  </a:cubicBezTo>
                  <a:close/>
                  <a:moveTo>
                    <a:pt x="4225" y="1802"/>
                  </a:moveTo>
                  <a:cubicBezTo>
                    <a:pt x="4229" y="1817"/>
                    <a:pt x="4217" y="1831"/>
                    <a:pt x="4198" y="1833"/>
                  </a:cubicBezTo>
                  <a:cubicBezTo>
                    <a:pt x="4179" y="1836"/>
                    <a:pt x="4161" y="1826"/>
                    <a:pt x="4157" y="1812"/>
                  </a:cubicBezTo>
                  <a:cubicBezTo>
                    <a:pt x="4153" y="1797"/>
                    <a:pt x="4165" y="1783"/>
                    <a:pt x="4184" y="1781"/>
                  </a:cubicBezTo>
                  <a:cubicBezTo>
                    <a:pt x="4203" y="1778"/>
                    <a:pt x="4221" y="1788"/>
                    <a:pt x="4225" y="1802"/>
                  </a:cubicBezTo>
                  <a:close/>
                  <a:moveTo>
                    <a:pt x="4219" y="1701"/>
                  </a:moveTo>
                  <a:cubicBezTo>
                    <a:pt x="4238" y="1698"/>
                    <a:pt x="4256" y="1708"/>
                    <a:pt x="4261" y="1722"/>
                  </a:cubicBezTo>
                  <a:cubicBezTo>
                    <a:pt x="4265" y="1737"/>
                    <a:pt x="4253" y="1751"/>
                    <a:pt x="4234" y="1753"/>
                  </a:cubicBezTo>
                  <a:cubicBezTo>
                    <a:pt x="4216" y="1756"/>
                    <a:pt x="4197" y="1746"/>
                    <a:pt x="4193" y="1731"/>
                  </a:cubicBezTo>
                  <a:cubicBezTo>
                    <a:pt x="4189" y="1717"/>
                    <a:pt x="4201" y="1703"/>
                    <a:pt x="4219" y="1701"/>
                  </a:cubicBezTo>
                  <a:close/>
                  <a:moveTo>
                    <a:pt x="4247" y="1619"/>
                  </a:moveTo>
                  <a:cubicBezTo>
                    <a:pt x="4266" y="1616"/>
                    <a:pt x="4284" y="1626"/>
                    <a:pt x="4288" y="1640"/>
                  </a:cubicBezTo>
                  <a:cubicBezTo>
                    <a:pt x="4293" y="1655"/>
                    <a:pt x="4281" y="1669"/>
                    <a:pt x="4263" y="1671"/>
                  </a:cubicBezTo>
                  <a:cubicBezTo>
                    <a:pt x="4244" y="1674"/>
                    <a:pt x="4226" y="1664"/>
                    <a:pt x="4222" y="1650"/>
                  </a:cubicBezTo>
                  <a:cubicBezTo>
                    <a:pt x="4217" y="1635"/>
                    <a:pt x="4229" y="1621"/>
                    <a:pt x="4247" y="1619"/>
                  </a:cubicBezTo>
                  <a:close/>
                  <a:moveTo>
                    <a:pt x="4290" y="1766"/>
                  </a:moveTo>
                  <a:cubicBezTo>
                    <a:pt x="4309" y="1763"/>
                    <a:pt x="4328" y="1773"/>
                    <a:pt x="4332" y="1787"/>
                  </a:cubicBezTo>
                  <a:cubicBezTo>
                    <a:pt x="4337" y="1802"/>
                    <a:pt x="4325" y="1816"/>
                    <a:pt x="4306" y="1818"/>
                  </a:cubicBezTo>
                  <a:cubicBezTo>
                    <a:pt x="4287" y="1821"/>
                    <a:pt x="4268" y="1812"/>
                    <a:pt x="4264" y="1797"/>
                  </a:cubicBezTo>
                  <a:cubicBezTo>
                    <a:pt x="4260" y="1782"/>
                    <a:pt x="4272" y="1769"/>
                    <a:pt x="4290" y="1766"/>
                  </a:cubicBezTo>
                  <a:close/>
                  <a:moveTo>
                    <a:pt x="4325" y="1686"/>
                  </a:moveTo>
                  <a:cubicBezTo>
                    <a:pt x="4343" y="1683"/>
                    <a:pt x="4362" y="1692"/>
                    <a:pt x="4366" y="1707"/>
                  </a:cubicBezTo>
                  <a:cubicBezTo>
                    <a:pt x="4371" y="1721"/>
                    <a:pt x="4359" y="1735"/>
                    <a:pt x="4341" y="1738"/>
                  </a:cubicBezTo>
                  <a:cubicBezTo>
                    <a:pt x="4322" y="1741"/>
                    <a:pt x="4303" y="1731"/>
                    <a:pt x="4299" y="1717"/>
                  </a:cubicBezTo>
                  <a:cubicBezTo>
                    <a:pt x="4295" y="1702"/>
                    <a:pt x="4306" y="1688"/>
                    <a:pt x="4325" y="1686"/>
                  </a:cubicBezTo>
                  <a:close/>
                  <a:moveTo>
                    <a:pt x="4352" y="1604"/>
                  </a:moveTo>
                  <a:cubicBezTo>
                    <a:pt x="4370" y="1601"/>
                    <a:pt x="4388" y="1610"/>
                    <a:pt x="4393" y="1625"/>
                  </a:cubicBezTo>
                  <a:cubicBezTo>
                    <a:pt x="4398" y="1639"/>
                    <a:pt x="4386" y="1653"/>
                    <a:pt x="4368" y="1656"/>
                  </a:cubicBezTo>
                  <a:cubicBezTo>
                    <a:pt x="4349" y="1659"/>
                    <a:pt x="4331" y="1649"/>
                    <a:pt x="4326" y="1635"/>
                  </a:cubicBezTo>
                  <a:cubicBezTo>
                    <a:pt x="4322" y="1620"/>
                    <a:pt x="4333" y="1606"/>
                    <a:pt x="4352" y="1604"/>
                  </a:cubicBezTo>
                  <a:close/>
                  <a:moveTo>
                    <a:pt x="4397" y="1750"/>
                  </a:moveTo>
                  <a:cubicBezTo>
                    <a:pt x="4416" y="1748"/>
                    <a:pt x="4435" y="1757"/>
                    <a:pt x="4439" y="1771"/>
                  </a:cubicBezTo>
                  <a:cubicBezTo>
                    <a:pt x="4444" y="1786"/>
                    <a:pt x="4432" y="1800"/>
                    <a:pt x="4413" y="1803"/>
                  </a:cubicBezTo>
                  <a:cubicBezTo>
                    <a:pt x="4394" y="1806"/>
                    <a:pt x="4375" y="1796"/>
                    <a:pt x="4371" y="1782"/>
                  </a:cubicBezTo>
                  <a:cubicBezTo>
                    <a:pt x="4367" y="1767"/>
                    <a:pt x="4378" y="1753"/>
                    <a:pt x="4397" y="1750"/>
                  </a:cubicBezTo>
                  <a:close/>
                  <a:moveTo>
                    <a:pt x="4430" y="1670"/>
                  </a:moveTo>
                  <a:cubicBezTo>
                    <a:pt x="4449" y="1667"/>
                    <a:pt x="4468" y="1676"/>
                    <a:pt x="4472" y="1691"/>
                  </a:cubicBezTo>
                  <a:cubicBezTo>
                    <a:pt x="4477" y="1705"/>
                    <a:pt x="4466" y="1719"/>
                    <a:pt x="4447" y="1722"/>
                  </a:cubicBezTo>
                  <a:cubicBezTo>
                    <a:pt x="4428" y="1725"/>
                    <a:pt x="4409" y="1716"/>
                    <a:pt x="4405" y="1701"/>
                  </a:cubicBezTo>
                  <a:cubicBezTo>
                    <a:pt x="4400" y="1687"/>
                    <a:pt x="4412" y="1673"/>
                    <a:pt x="4430" y="1670"/>
                  </a:cubicBezTo>
                  <a:close/>
                  <a:moveTo>
                    <a:pt x="4486" y="1918"/>
                  </a:moveTo>
                  <a:cubicBezTo>
                    <a:pt x="4490" y="1933"/>
                    <a:pt x="4478" y="1947"/>
                    <a:pt x="4459" y="1950"/>
                  </a:cubicBezTo>
                  <a:cubicBezTo>
                    <a:pt x="4440" y="1953"/>
                    <a:pt x="4420" y="1943"/>
                    <a:pt x="4416" y="1929"/>
                  </a:cubicBezTo>
                  <a:cubicBezTo>
                    <a:pt x="4411" y="1914"/>
                    <a:pt x="4423" y="1900"/>
                    <a:pt x="4443" y="1897"/>
                  </a:cubicBezTo>
                  <a:cubicBezTo>
                    <a:pt x="4462" y="1894"/>
                    <a:pt x="4481" y="1904"/>
                    <a:pt x="4486" y="1918"/>
                  </a:cubicBezTo>
                  <a:close/>
                  <a:moveTo>
                    <a:pt x="4430" y="2032"/>
                  </a:moveTo>
                  <a:cubicBezTo>
                    <a:pt x="4410" y="2035"/>
                    <a:pt x="4391" y="2026"/>
                    <a:pt x="4386" y="2011"/>
                  </a:cubicBezTo>
                  <a:cubicBezTo>
                    <a:pt x="4382" y="1997"/>
                    <a:pt x="4394" y="1983"/>
                    <a:pt x="4414" y="1980"/>
                  </a:cubicBezTo>
                  <a:cubicBezTo>
                    <a:pt x="4433" y="1977"/>
                    <a:pt x="4452" y="1986"/>
                    <a:pt x="4457" y="2001"/>
                  </a:cubicBezTo>
                  <a:cubicBezTo>
                    <a:pt x="4461" y="2015"/>
                    <a:pt x="4449" y="2029"/>
                    <a:pt x="4430" y="2032"/>
                  </a:cubicBezTo>
                  <a:close/>
                  <a:moveTo>
                    <a:pt x="4464" y="2229"/>
                  </a:moveTo>
                  <a:cubicBezTo>
                    <a:pt x="4469" y="2243"/>
                    <a:pt x="4456" y="2257"/>
                    <a:pt x="4436" y="2260"/>
                  </a:cubicBezTo>
                  <a:cubicBezTo>
                    <a:pt x="4415" y="2263"/>
                    <a:pt x="4396" y="2254"/>
                    <a:pt x="4392" y="2239"/>
                  </a:cubicBezTo>
                  <a:cubicBezTo>
                    <a:pt x="4387" y="2225"/>
                    <a:pt x="4400" y="2211"/>
                    <a:pt x="4420" y="2208"/>
                  </a:cubicBezTo>
                  <a:cubicBezTo>
                    <a:pt x="4440" y="2205"/>
                    <a:pt x="4460" y="2214"/>
                    <a:pt x="4464" y="2229"/>
                  </a:cubicBezTo>
                  <a:close/>
                  <a:moveTo>
                    <a:pt x="4403" y="2343"/>
                  </a:moveTo>
                  <a:cubicBezTo>
                    <a:pt x="4383" y="2346"/>
                    <a:pt x="4363" y="2337"/>
                    <a:pt x="4359" y="2322"/>
                  </a:cubicBezTo>
                  <a:cubicBezTo>
                    <a:pt x="4355" y="2308"/>
                    <a:pt x="4368" y="2294"/>
                    <a:pt x="4388" y="2291"/>
                  </a:cubicBezTo>
                  <a:cubicBezTo>
                    <a:pt x="4408" y="2288"/>
                    <a:pt x="4428" y="2297"/>
                    <a:pt x="4432" y="2312"/>
                  </a:cubicBezTo>
                  <a:cubicBezTo>
                    <a:pt x="4436" y="2326"/>
                    <a:pt x="4423" y="2340"/>
                    <a:pt x="4403" y="2343"/>
                  </a:cubicBezTo>
                  <a:close/>
                  <a:moveTo>
                    <a:pt x="4362" y="2424"/>
                  </a:moveTo>
                  <a:cubicBezTo>
                    <a:pt x="4342" y="2427"/>
                    <a:pt x="4322" y="2418"/>
                    <a:pt x="4318" y="2403"/>
                  </a:cubicBezTo>
                  <a:cubicBezTo>
                    <a:pt x="4314" y="2389"/>
                    <a:pt x="4327" y="2375"/>
                    <a:pt x="4348" y="2372"/>
                  </a:cubicBezTo>
                  <a:cubicBezTo>
                    <a:pt x="4368" y="2369"/>
                    <a:pt x="4388" y="2378"/>
                    <a:pt x="4392" y="2393"/>
                  </a:cubicBezTo>
                  <a:cubicBezTo>
                    <a:pt x="4396" y="2407"/>
                    <a:pt x="4383" y="2422"/>
                    <a:pt x="4362" y="2424"/>
                  </a:cubicBezTo>
                  <a:close/>
                  <a:moveTo>
                    <a:pt x="4287" y="2359"/>
                  </a:moveTo>
                  <a:cubicBezTo>
                    <a:pt x="4267" y="2362"/>
                    <a:pt x="4247" y="2353"/>
                    <a:pt x="4243" y="2338"/>
                  </a:cubicBezTo>
                  <a:cubicBezTo>
                    <a:pt x="4240" y="2323"/>
                    <a:pt x="4253" y="2309"/>
                    <a:pt x="4273" y="2307"/>
                  </a:cubicBezTo>
                  <a:cubicBezTo>
                    <a:pt x="4293" y="2304"/>
                    <a:pt x="4313" y="2313"/>
                    <a:pt x="4317" y="2328"/>
                  </a:cubicBezTo>
                  <a:cubicBezTo>
                    <a:pt x="4321" y="2343"/>
                    <a:pt x="4308" y="2357"/>
                    <a:pt x="4287" y="2359"/>
                  </a:cubicBezTo>
                  <a:close/>
                  <a:moveTo>
                    <a:pt x="4245" y="2440"/>
                  </a:moveTo>
                  <a:cubicBezTo>
                    <a:pt x="4225" y="2443"/>
                    <a:pt x="4205" y="2433"/>
                    <a:pt x="4201" y="2419"/>
                  </a:cubicBezTo>
                  <a:cubicBezTo>
                    <a:pt x="4198" y="2404"/>
                    <a:pt x="4211" y="2390"/>
                    <a:pt x="4232" y="2388"/>
                  </a:cubicBezTo>
                  <a:cubicBezTo>
                    <a:pt x="4252" y="2385"/>
                    <a:pt x="4272" y="2394"/>
                    <a:pt x="4276" y="2409"/>
                  </a:cubicBezTo>
                  <a:cubicBezTo>
                    <a:pt x="4279" y="2424"/>
                    <a:pt x="4266" y="2438"/>
                    <a:pt x="4245" y="2440"/>
                  </a:cubicBezTo>
                  <a:close/>
                  <a:moveTo>
                    <a:pt x="4207" y="2292"/>
                  </a:moveTo>
                  <a:cubicBezTo>
                    <a:pt x="4187" y="2295"/>
                    <a:pt x="4167" y="2285"/>
                    <a:pt x="4163" y="2270"/>
                  </a:cubicBezTo>
                  <a:cubicBezTo>
                    <a:pt x="4160" y="2256"/>
                    <a:pt x="4173" y="2242"/>
                    <a:pt x="4193" y="2239"/>
                  </a:cubicBezTo>
                  <a:cubicBezTo>
                    <a:pt x="4213" y="2237"/>
                    <a:pt x="4232" y="2246"/>
                    <a:pt x="4236" y="2261"/>
                  </a:cubicBezTo>
                  <a:cubicBezTo>
                    <a:pt x="4240" y="2276"/>
                    <a:pt x="4227" y="2290"/>
                    <a:pt x="4207" y="2292"/>
                  </a:cubicBezTo>
                  <a:close/>
                  <a:moveTo>
                    <a:pt x="4134" y="2226"/>
                  </a:moveTo>
                  <a:cubicBezTo>
                    <a:pt x="4114" y="2229"/>
                    <a:pt x="4095" y="2219"/>
                    <a:pt x="4091" y="2204"/>
                  </a:cubicBezTo>
                  <a:cubicBezTo>
                    <a:pt x="4088" y="2190"/>
                    <a:pt x="4101" y="2176"/>
                    <a:pt x="4121" y="2173"/>
                  </a:cubicBezTo>
                  <a:cubicBezTo>
                    <a:pt x="4140" y="2171"/>
                    <a:pt x="4160" y="2181"/>
                    <a:pt x="4163" y="2195"/>
                  </a:cubicBezTo>
                  <a:cubicBezTo>
                    <a:pt x="4167" y="2210"/>
                    <a:pt x="4154" y="2224"/>
                    <a:pt x="4134" y="2226"/>
                  </a:cubicBezTo>
                  <a:close/>
                  <a:moveTo>
                    <a:pt x="4092" y="2307"/>
                  </a:moveTo>
                  <a:cubicBezTo>
                    <a:pt x="4072" y="2309"/>
                    <a:pt x="4053" y="2299"/>
                    <a:pt x="4049" y="2285"/>
                  </a:cubicBezTo>
                  <a:cubicBezTo>
                    <a:pt x="4046" y="2270"/>
                    <a:pt x="4059" y="2256"/>
                    <a:pt x="4079" y="2254"/>
                  </a:cubicBezTo>
                  <a:cubicBezTo>
                    <a:pt x="4099" y="2251"/>
                    <a:pt x="4118" y="2261"/>
                    <a:pt x="4122" y="2276"/>
                  </a:cubicBezTo>
                  <a:cubicBezTo>
                    <a:pt x="4126" y="2290"/>
                    <a:pt x="4112" y="2304"/>
                    <a:pt x="4092" y="2307"/>
                  </a:cubicBezTo>
                  <a:close/>
                  <a:moveTo>
                    <a:pt x="4021" y="2240"/>
                  </a:moveTo>
                  <a:cubicBezTo>
                    <a:pt x="4001" y="2243"/>
                    <a:pt x="3982" y="2233"/>
                    <a:pt x="3978" y="2218"/>
                  </a:cubicBezTo>
                  <a:cubicBezTo>
                    <a:pt x="3975" y="2203"/>
                    <a:pt x="3988" y="2190"/>
                    <a:pt x="4008" y="2187"/>
                  </a:cubicBezTo>
                  <a:cubicBezTo>
                    <a:pt x="4028" y="2185"/>
                    <a:pt x="4047" y="2195"/>
                    <a:pt x="4050" y="2209"/>
                  </a:cubicBezTo>
                  <a:cubicBezTo>
                    <a:pt x="4054" y="2224"/>
                    <a:pt x="4041" y="2238"/>
                    <a:pt x="4021" y="2240"/>
                  </a:cubicBezTo>
                  <a:close/>
                  <a:moveTo>
                    <a:pt x="3977" y="2321"/>
                  </a:moveTo>
                  <a:cubicBezTo>
                    <a:pt x="3957" y="2323"/>
                    <a:pt x="3938" y="2313"/>
                    <a:pt x="3935" y="2298"/>
                  </a:cubicBezTo>
                  <a:cubicBezTo>
                    <a:pt x="3932" y="2284"/>
                    <a:pt x="3945" y="2270"/>
                    <a:pt x="3965" y="2267"/>
                  </a:cubicBezTo>
                  <a:cubicBezTo>
                    <a:pt x="3985" y="2265"/>
                    <a:pt x="4004" y="2275"/>
                    <a:pt x="4008" y="2290"/>
                  </a:cubicBezTo>
                  <a:cubicBezTo>
                    <a:pt x="4011" y="2304"/>
                    <a:pt x="3998" y="2318"/>
                    <a:pt x="3977" y="2321"/>
                  </a:cubicBezTo>
                  <a:close/>
                  <a:moveTo>
                    <a:pt x="3907" y="2254"/>
                  </a:moveTo>
                  <a:cubicBezTo>
                    <a:pt x="3887" y="2256"/>
                    <a:pt x="3868" y="2246"/>
                    <a:pt x="3865" y="2231"/>
                  </a:cubicBezTo>
                  <a:cubicBezTo>
                    <a:pt x="3862" y="2216"/>
                    <a:pt x="3875" y="2203"/>
                    <a:pt x="3895" y="2200"/>
                  </a:cubicBezTo>
                  <a:cubicBezTo>
                    <a:pt x="3915" y="2198"/>
                    <a:pt x="3934" y="2208"/>
                    <a:pt x="3937" y="2223"/>
                  </a:cubicBezTo>
                  <a:cubicBezTo>
                    <a:pt x="3941" y="2238"/>
                    <a:pt x="3927" y="2251"/>
                    <a:pt x="3907" y="2254"/>
                  </a:cubicBezTo>
                  <a:close/>
                  <a:moveTo>
                    <a:pt x="3863" y="2334"/>
                  </a:moveTo>
                  <a:cubicBezTo>
                    <a:pt x="3842" y="2336"/>
                    <a:pt x="3824" y="2326"/>
                    <a:pt x="3821" y="2311"/>
                  </a:cubicBezTo>
                  <a:cubicBezTo>
                    <a:pt x="3817" y="2296"/>
                    <a:pt x="3831" y="2283"/>
                    <a:pt x="3851" y="2280"/>
                  </a:cubicBezTo>
                  <a:cubicBezTo>
                    <a:pt x="3871" y="2278"/>
                    <a:pt x="3890" y="2288"/>
                    <a:pt x="3894" y="2303"/>
                  </a:cubicBezTo>
                  <a:cubicBezTo>
                    <a:pt x="3897" y="2318"/>
                    <a:pt x="3883" y="2331"/>
                    <a:pt x="3863" y="2334"/>
                  </a:cubicBezTo>
                  <a:close/>
                  <a:moveTo>
                    <a:pt x="3793" y="2266"/>
                  </a:moveTo>
                  <a:cubicBezTo>
                    <a:pt x="3773" y="2268"/>
                    <a:pt x="3755" y="2258"/>
                    <a:pt x="3752" y="2243"/>
                  </a:cubicBezTo>
                  <a:cubicBezTo>
                    <a:pt x="3749" y="2228"/>
                    <a:pt x="3762" y="2215"/>
                    <a:pt x="3782" y="2213"/>
                  </a:cubicBezTo>
                  <a:cubicBezTo>
                    <a:pt x="3802" y="2211"/>
                    <a:pt x="3821" y="2221"/>
                    <a:pt x="3824" y="2236"/>
                  </a:cubicBezTo>
                  <a:cubicBezTo>
                    <a:pt x="3827" y="2250"/>
                    <a:pt x="3813" y="2264"/>
                    <a:pt x="3793" y="2266"/>
                  </a:cubicBezTo>
                  <a:close/>
                  <a:moveTo>
                    <a:pt x="3748" y="2346"/>
                  </a:moveTo>
                  <a:cubicBezTo>
                    <a:pt x="3728" y="2348"/>
                    <a:pt x="3709" y="2338"/>
                    <a:pt x="3706" y="2323"/>
                  </a:cubicBezTo>
                  <a:cubicBezTo>
                    <a:pt x="3703" y="2308"/>
                    <a:pt x="3717" y="2294"/>
                    <a:pt x="3737" y="2292"/>
                  </a:cubicBezTo>
                  <a:cubicBezTo>
                    <a:pt x="3757" y="2290"/>
                    <a:pt x="3776" y="2301"/>
                    <a:pt x="3779" y="2315"/>
                  </a:cubicBezTo>
                  <a:cubicBezTo>
                    <a:pt x="3782" y="2330"/>
                    <a:pt x="3768" y="2344"/>
                    <a:pt x="3748" y="2346"/>
                  </a:cubicBezTo>
                  <a:close/>
                  <a:moveTo>
                    <a:pt x="3680" y="2278"/>
                  </a:moveTo>
                  <a:cubicBezTo>
                    <a:pt x="3660" y="2280"/>
                    <a:pt x="3641" y="2269"/>
                    <a:pt x="3638" y="2254"/>
                  </a:cubicBezTo>
                  <a:cubicBezTo>
                    <a:pt x="3636" y="2240"/>
                    <a:pt x="3650" y="2226"/>
                    <a:pt x="3669" y="2224"/>
                  </a:cubicBezTo>
                  <a:cubicBezTo>
                    <a:pt x="3689" y="2222"/>
                    <a:pt x="3708" y="2233"/>
                    <a:pt x="3711" y="2247"/>
                  </a:cubicBezTo>
                  <a:cubicBezTo>
                    <a:pt x="3714" y="2262"/>
                    <a:pt x="3700" y="2276"/>
                    <a:pt x="3680" y="2278"/>
                  </a:cubicBezTo>
                  <a:close/>
                  <a:moveTo>
                    <a:pt x="3633" y="2357"/>
                  </a:moveTo>
                  <a:cubicBezTo>
                    <a:pt x="3613" y="2359"/>
                    <a:pt x="3594" y="2349"/>
                    <a:pt x="3592" y="2334"/>
                  </a:cubicBezTo>
                  <a:cubicBezTo>
                    <a:pt x="3589" y="2319"/>
                    <a:pt x="3603" y="2306"/>
                    <a:pt x="3623" y="2304"/>
                  </a:cubicBezTo>
                  <a:cubicBezTo>
                    <a:pt x="3643" y="2302"/>
                    <a:pt x="3662" y="2312"/>
                    <a:pt x="3665" y="2327"/>
                  </a:cubicBezTo>
                  <a:cubicBezTo>
                    <a:pt x="3667" y="2342"/>
                    <a:pt x="3653" y="2355"/>
                    <a:pt x="3633" y="2357"/>
                  </a:cubicBezTo>
                  <a:close/>
                  <a:moveTo>
                    <a:pt x="3592" y="2439"/>
                  </a:moveTo>
                  <a:cubicBezTo>
                    <a:pt x="3571" y="2441"/>
                    <a:pt x="3553" y="2430"/>
                    <a:pt x="3550" y="2415"/>
                  </a:cubicBezTo>
                  <a:cubicBezTo>
                    <a:pt x="3548" y="2401"/>
                    <a:pt x="3562" y="2387"/>
                    <a:pt x="3583" y="2385"/>
                  </a:cubicBezTo>
                  <a:cubicBezTo>
                    <a:pt x="3603" y="2383"/>
                    <a:pt x="3621" y="2394"/>
                    <a:pt x="3624" y="2409"/>
                  </a:cubicBezTo>
                  <a:cubicBezTo>
                    <a:pt x="3627" y="2423"/>
                    <a:pt x="3612" y="2437"/>
                    <a:pt x="3592" y="2439"/>
                  </a:cubicBezTo>
                  <a:close/>
                  <a:moveTo>
                    <a:pt x="3518" y="2368"/>
                  </a:moveTo>
                  <a:cubicBezTo>
                    <a:pt x="3498" y="2370"/>
                    <a:pt x="3479" y="2359"/>
                    <a:pt x="3477" y="2344"/>
                  </a:cubicBezTo>
                  <a:cubicBezTo>
                    <a:pt x="3475" y="2329"/>
                    <a:pt x="3489" y="2316"/>
                    <a:pt x="3509" y="2314"/>
                  </a:cubicBezTo>
                  <a:cubicBezTo>
                    <a:pt x="3529" y="2312"/>
                    <a:pt x="3548" y="2323"/>
                    <a:pt x="3550" y="2338"/>
                  </a:cubicBezTo>
                  <a:cubicBezTo>
                    <a:pt x="3553" y="2352"/>
                    <a:pt x="3538" y="2366"/>
                    <a:pt x="3518" y="2368"/>
                  </a:cubicBezTo>
                  <a:close/>
                  <a:moveTo>
                    <a:pt x="3476" y="2449"/>
                  </a:moveTo>
                  <a:cubicBezTo>
                    <a:pt x="3455" y="2451"/>
                    <a:pt x="3437" y="2440"/>
                    <a:pt x="3434" y="2425"/>
                  </a:cubicBezTo>
                  <a:cubicBezTo>
                    <a:pt x="3432" y="2411"/>
                    <a:pt x="3447" y="2397"/>
                    <a:pt x="3467" y="2395"/>
                  </a:cubicBezTo>
                  <a:cubicBezTo>
                    <a:pt x="3488" y="2394"/>
                    <a:pt x="3506" y="2404"/>
                    <a:pt x="3508" y="2419"/>
                  </a:cubicBezTo>
                  <a:cubicBezTo>
                    <a:pt x="3511" y="2434"/>
                    <a:pt x="3496" y="2447"/>
                    <a:pt x="3476" y="2449"/>
                  </a:cubicBezTo>
                  <a:close/>
                  <a:moveTo>
                    <a:pt x="3403" y="2378"/>
                  </a:moveTo>
                  <a:cubicBezTo>
                    <a:pt x="3383" y="2379"/>
                    <a:pt x="3365" y="2368"/>
                    <a:pt x="3362" y="2354"/>
                  </a:cubicBezTo>
                  <a:cubicBezTo>
                    <a:pt x="3360" y="2339"/>
                    <a:pt x="3375" y="2325"/>
                    <a:pt x="3395" y="2324"/>
                  </a:cubicBezTo>
                  <a:cubicBezTo>
                    <a:pt x="3415" y="2322"/>
                    <a:pt x="3433" y="2333"/>
                    <a:pt x="3436" y="2348"/>
                  </a:cubicBezTo>
                  <a:cubicBezTo>
                    <a:pt x="3438" y="2362"/>
                    <a:pt x="3423" y="2376"/>
                    <a:pt x="3403" y="2378"/>
                  </a:cubicBezTo>
                  <a:close/>
                  <a:moveTo>
                    <a:pt x="3359" y="2459"/>
                  </a:moveTo>
                  <a:cubicBezTo>
                    <a:pt x="3339" y="2460"/>
                    <a:pt x="3321" y="2449"/>
                    <a:pt x="3319" y="2435"/>
                  </a:cubicBezTo>
                  <a:cubicBezTo>
                    <a:pt x="3317" y="2420"/>
                    <a:pt x="3331" y="2406"/>
                    <a:pt x="3352" y="2405"/>
                  </a:cubicBezTo>
                  <a:cubicBezTo>
                    <a:pt x="3372" y="2403"/>
                    <a:pt x="3390" y="2414"/>
                    <a:pt x="3393" y="2429"/>
                  </a:cubicBezTo>
                  <a:cubicBezTo>
                    <a:pt x="3395" y="2444"/>
                    <a:pt x="3380" y="2457"/>
                    <a:pt x="3359" y="2459"/>
                  </a:cubicBezTo>
                  <a:close/>
                  <a:moveTo>
                    <a:pt x="3288" y="2386"/>
                  </a:moveTo>
                  <a:cubicBezTo>
                    <a:pt x="3268" y="2388"/>
                    <a:pt x="3250" y="2377"/>
                    <a:pt x="3248" y="2362"/>
                  </a:cubicBezTo>
                  <a:cubicBezTo>
                    <a:pt x="3246" y="2347"/>
                    <a:pt x="3261" y="2334"/>
                    <a:pt x="3281" y="2332"/>
                  </a:cubicBezTo>
                  <a:cubicBezTo>
                    <a:pt x="3301" y="2331"/>
                    <a:pt x="3319" y="2342"/>
                    <a:pt x="3321" y="2357"/>
                  </a:cubicBezTo>
                  <a:cubicBezTo>
                    <a:pt x="3323" y="2372"/>
                    <a:pt x="3308" y="2385"/>
                    <a:pt x="3288" y="2386"/>
                  </a:cubicBezTo>
                  <a:close/>
                  <a:moveTo>
                    <a:pt x="3224" y="2316"/>
                  </a:moveTo>
                  <a:cubicBezTo>
                    <a:pt x="3204" y="2317"/>
                    <a:pt x="3186" y="2306"/>
                    <a:pt x="3184" y="2292"/>
                  </a:cubicBezTo>
                  <a:cubicBezTo>
                    <a:pt x="3183" y="2277"/>
                    <a:pt x="3197" y="2263"/>
                    <a:pt x="3217" y="2262"/>
                  </a:cubicBezTo>
                  <a:cubicBezTo>
                    <a:pt x="3237" y="2261"/>
                    <a:pt x="3255" y="2272"/>
                    <a:pt x="3257" y="2286"/>
                  </a:cubicBezTo>
                  <a:cubicBezTo>
                    <a:pt x="3259" y="2301"/>
                    <a:pt x="3244" y="2315"/>
                    <a:pt x="3224" y="2316"/>
                  </a:cubicBezTo>
                  <a:close/>
                  <a:moveTo>
                    <a:pt x="3173" y="2394"/>
                  </a:moveTo>
                  <a:cubicBezTo>
                    <a:pt x="3153" y="2396"/>
                    <a:pt x="3135" y="2385"/>
                    <a:pt x="3133" y="2370"/>
                  </a:cubicBezTo>
                  <a:cubicBezTo>
                    <a:pt x="3131" y="2355"/>
                    <a:pt x="3146" y="2342"/>
                    <a:pt x="3166" y="2340"/>
                  </a:cubicBezTo>
                  <a:cubicBezTo>
                    <a:pt x="3187" y="2339"/>
                    <a:pt x="3204" y="2350"/>
                    <a:pt x="3206" y="2365"/>
                  </a:cubicBezTo>
                  <a:cubicBezTo>
                    <a:pt x="3208" y="2380"/>
                    <a:pt x="3193" y="2393"/>
                    <a:pt x="3173" y="2394"/>
                  </a:cubicBezTo>
                  <a:close/>
                  <a:moveTo>
                    <a:pt x="3110" y="2324"/>
                  </a:moveTo>
                  <a:cubicBezTo>
                    <a:pt x="3090" y="2325"/>
                    <a:pt x="3072" y="2314"/>
                    <a:pt x="3071" y="2299"/>
                  </a:cubicBezTo>
                  <a:cubicBezTo>
                    <a:pt x="3069" y="2284"/>
                    <a:pt x="3084" y="2271"/>
                    <a:pt x="3104" y="2269"/>
                  </a:cubicBezTo>
                  <a:cubicBezTo>
                    <a:pt x="3124" y="2268"/>
                    <a:pt x="3142" y="2279"/>
                    <a:pt x="3143" y="2294"/>
                  </a:cubicBezTo>
                  <a:cubicBezTo>
                    <a:pt x="3145" y="2309"/>
                    <a:pt x="3130" y="2322"/>
                    <a:pt x="3110" y="2324"/>
                  </a:cubicBezTo>
                  <a:close/>
                  <a:moveTo>
                    <a:pt x="3058" y="2402"/>
                  </a:moveTo>
                  <a:cubicBezTo>
                    <a:pt x="3037" y="2403"/>
                    <a:pt x="3020" y="2392"/>
                    <a:pt x="3018" y="2377"/>
                  </a:cubicBezTo>
                  <a:cubicBezTo>
                    <a:pt x="3017" y="2362"/>
                    <a:pt x="3032" y="2349"/>
                    <a:pt x="3052" y="2348"/>
                  </a:cubicBezTo>
                  <a:cubicBezTo>
                    <a:pt x="3072" y="2346"/>
                    <a:pt x="3090" y="2358"/>
                    <a:pt x="3092" y="2372"/>
                  </a:cubicBezTo>
                  <a:cubicBezTo>
                    <a:pt x="3093" y="2387"/>
                    <a:pt x="3078" y="2401"/>
                    <a:pt x="3058" y="2402"/>
                  </a:cubicBezTo>
                  <a:close/>
                  <a:moveTo>
                    <a:pt x="2996" y="2330"/>
                  </a:moveTo>
                  <a:cubicBezTo>
                    <a:pt x="2976" y="2331"/>
                    <a:pt x="2959" y="2320"/>
                    <a:pt x="2957" y="2305"/>
                  </a:cubicBezTo>
                  <a:cubicBezTo>
                    <a:pt x="2956" y="2290"/>
                    <a:pt x="2971" y="2277"/>
                    <a:pt x="2991" y="2276"/>
                  </a:cubicBezTo>
                  <a:cubicBezTo>
                    <a:pt x="3011" y="2275"/>
                    <a:pt x="3028" y="2286"/>
                    <a:pt x="3030" y="2301"/>
                  </a:cubicBezTo>
                  <a:cubicBezTo>
                    <a:pt x="3031" y="2316"/>
                    <a:pt x="3016" y="2329"/>
                    <a:pt x="2996" y="2330"/>
                  </a:cubicBezTo>
                  <a:close/>
                  <a:moveTo>
                    <a:pt x="2942" y="2408"/>
                  </a:moveTo>
                  <a:cubicBezTo>
                    <a:pt x="2922" y="2409"/>
                    <a:pt x="2905" y="2398"/>
                    <a:pt x="2903" y="2383"/>
                  </a:cubicBezTo>
                  <a:cubicBezTo>
                    <a:pt x="2902" y="2368"/>
                    <a:pt x="2918" y="2355"/>
                    <a:pt x="2938" y="2354"/>
                  </a:cubicBezTo>
                  <a:cubicBezTo>
                    <a:pt x="2958" y="2353"/>
                    <a:pt x="2975" y="2364"/>
                    <a:pt x="2977" y="2379"/>
                  </a:cubicBezTo>
                  <a:cubicBezTo>
                    <a:pt x="2978" y="2394"/>
                    <a:pt x="2963" y="2407"/>
                    <a:pt x="2942" y="2408"/>
                  </a:cubicBezTo>
                  <a:close/>
                  <a:moveTo>
                    <a:pt x="2882" y="2336"/>
                  </a:moveTo>
                  <a:cubicBezTo>
                    <a:pt x="2862" y="2337"/>
                    <a:pt x="2845" y="2326"/>
                    <a:pt x="2844" y="2311"/>
                  </a:cubicBezTo>
                  <a:cubicBezTo>
                    <a:pt x="2842" y="2296"/>
                    <a:pt x="2858" y="2283"/>
                    <a:pt x="2878" y="2282"/>
                  </a:cubicBezTo>
                  <a:cubicBezTo>
                    <a:pt x="2898" y="2281"/>
                    <a:pt x="2915" y="2292"/>
                    <a:pt x="2916" y="2307"/>
                  </a:cubicBezTo>
                  <a:cubicBezTo>
                    <a:pt x="2917" y="2322"/>
                    <a:pt x="2902" y="2335"/>
                    <a:pt x="2882" y="2336"/>
                  </a:cubicBezTo>
                  <a:close/>
                  <a:moveTo>
                    <a:pt x="2827" y="2414"/>
                  </a:moveTo>
                  <a:cubicBezTo>
                    <a:pt x="2807" y="2415"/>
                    <a:pt x="2790" y="2403"/>
                    <a:pt x="2789" y="2388"/>
                  </a:cubicBezTo>
                  <a:cubicBezTo>
                    <a:pt x="2788" y="2373"/>
                    <a:pt x="2803" y="2360"/>
                    <a:pt x="2823" y="2359"/>
                  </a:cubicBezTo>
                  <a:cubicBezTo>
                    <a:pt x="2844" y="2359"/>
                    <a:pt x="2861" y="2370"/>
                    <a:pt x="2862" y="2385"/>
                  </a:cubicBezTo>
                  <a:cubicBezTo>
                    <a:pt x="2863" y="2400"/>
                    <a:pt x="2848" y="2413"/>
                    <a:pt x="2827" y="2414"/>
                  </a:cubicBezTo>
                  <a:close/>
                  <a:moveTo>
                    <a:pt x="2768" y="2341"/>
                  </a:moveTo>
                  <a:cubicBezTo>
                    <a:pt x="2748" y="2342"/>
                    <a:pt x="2731" y="2331"/>
                    <a:pt x="2730" y="2316"/>
                  </a:cubicBezTo>
                  <a:cubicBezTo>
                    <a:pt x="2729" y="2301"/>
                    <a:pt x="2744" y="2288"/>
                    <a:pt x="2764" y="2287"/>
                  </a:cubicBezTo>
                  <a:cubicBezTo>
                    <a:pt x="2784" y="2286"/>
                    <a:pt x="2801" y="2298"/>
                    <a:pt x="2802" y="2313"/>
                  </a:cubicBezTo>
                  <a:cubicBezTo>
                    <a:pt x="2803" y="2328"/>
                    <a:pt x="2788" y="2341"/>
                    <a:pt x="2768" y="2341"/>
                  </a:cubicBezTo>
                  <a:close/>
                  <a:moveTo>
                    <a:pt x="2747" y="2390"/>
                  </a:moveTo>
                  <a:cubicBezTo>
                    <a:pt x="2748" y="2405"/>
                    <a:pt x="2732" y="2418"/>
                    <a:pt x="2712" y="2419"/>
                  </a:cubicBezTo>
                  <a:cubicBezTo>
                    <a:pt x="2692" y="2419"/>
                    <a:pt x="2675" y="2408"/>
                    <a:pt x="2674" y="2393"/>
                  </a:cubicBezTo>
                  <a:cubicBezTo>
                    <a:pt x="2673" y="2378"/>
                    <a:pt x="2689" y="2365"/>
                    <a:pt x="2709" y="2364"/>
                  </a:cubicBezTo>
                  <a:cubicBezTo>
                    <a:pt x="2729" y="2363"/>
                    <a:pt x="2746" y="2375"/>
                    <a:pt x="2747" y="2390"/>
                  </a:cubicBezTo>
                  <a:close/>
                  <a:moveTo>
                    <a:pt x="2654" y="2346"/>
                  </a:moveTo>
                  <a:cubicBezTo>
                    <a:pt x="2634" y="2346"/>
                    <a:pt x="2617" y="2335"/>
                    <a:pt x="2616" y="2320"/>
                  </a:cubicBezTo>
                  <a:cubicBezTo>
                    <a:pt x="2615" y="2305"/>
                    <a:pt x="2631" y="2292"/>
                    <a:pt x="2651" y="2291"/>
                  </a:cubicBezTo>
                  <a:cubicBezTo>
                    <a:pt x="2671" y="2291"/>
                    <a:pt x="2688" y="2302"/>
                    <a:pt x="2689" y="2317"/>
                  </a:cubicBezTo>
                  <a:cubicBezTo>
                    <a:pt x="2690" y="2332"/>
                    <a:pt x="2674" y="2345"/>
                    <a:pt x="2654" y="2346"/>
                  </a:cubicBezTo>
                  <a:close/>
                  <a:moveTo>
                    <a:pt x="2632" y="2394"/>
                  </a:moveTo>
                  <a:cubicBezTo>
                    <a:pt x="2633" y="2409"/>
                    <a:pt x="2617" y="2422"/>
                    <a:pt x="2597" y="2423"/>
                  </a:cubicBezTo>
                  <a:cubicBezTo>
                    <a:pt x="2576" y="2423"/>
                    <a:pt x="2559" y="2411"/>
                    <a:pt x="2559" y="2396"/>
                  </a:cubicBezTo>
                  <a:cubicBezTo>
                    <a:pt x="2558" y="2381"/>
                    <a:pt x="2574" y="2369"/>
                    <a:pt x="2594" y="2368"/>
                  </a:cubicBezTo>
                  <a:cubicBezTo>
                    <a:pt x="2615" y="2367"/>
                    <a:pt x="2632" y="2379"/>
                    <a:pt x="2632" y="2394"/>
                  </a:cubicBezTo>
                  <a:close/>
                  <a:moveTo>
                    <a:pt x="2540" y="2349"/>
                  </a:moveTo>
                  <a:cubicBezTo>
                    <a:pt x="2519" y="2350"/>
                    <a:pt x="2503" y="2338"/>
                    <a:pt x="2502" y="2323"/>
                  </a:cubicBezTo>
                  <a:cubicBezTo>
                    <a:pt x="2502" y="2308"/>
                    <a:pt x="2518" y="2295"/>
                    <a:pt x="2538" y="2295"/>
                  </a:cubicBezTo>
                  <a:cubicBezTo>
                    <a:pt x="2558" y="2294"/>
                    <a:pt x="2574" y="2306"/>
                    <a:pt x="2575" y="2321"/>
                  </a:cubicBezTo>
                  <a:cubicBezTo>
                    <a:pt x="2576" y="2336"/>
                    <a:pt x="2560" y="2349"/>
                    <a:pt x="2540" y="2349"/>
                  </a:cubicBezTo>
                  <a:close/>
                  <a:moveTo>
                    <a:pt x="2517" y="2398"/>
                  </a:moveTo>
                  <a:cubicBezTo>
                    <a:pt x="2518" y="2413"/>
                    <a:pt x="2502" y="2425"/>
                    <a:pt x="2481" y="2426"/>
                  </a:cubicBezTo>
                  <a:cubicBezTo>
                    <a:pt x="2461" y="2426"/>
                    <a:pt x="2444" y="2414"/>
                    <a:pt x="2444" y="2399"/>
                  </a:cubicBezTo>
                  <a:cubicBezTo>
                    <a:pt x="2444" y="2384"/>
                    <a:pt x="2460" y="2372"/>
                    <a:pt x="2480" y="2371"/>
                  </a:cubicBezTo>
                  <a:cubicBezTo>
                    <a:pt x="2500" y="2371"/>
                    <a:pt x="2517" y="2382"/>
                    <a:pt x="2517" y="2398"/>
                  </a:cubicBezTo>
                  <a:close/>
                  <a:moveTo>
                    <a:pt x="2425" y="2352"/>
                  </a:moveTo>
                  <a:cubicBezTo>
                    <a:pt x="2405" y="2352"/>
                    <a:pt x="2389" y="2340"/>
                    <a:pt x="2389" y="2325"/>
                  </a:cubicBezTo>
                  <a:cubicBezTo>
                    <a:pt x="2388" y="2310"/>
                    <a:pt x="2404" y="2298"/>
                    <a:pt x="2424" y="2297"/>
                  </a:cubicBezTo>
                  <a:cubicBezTo>
                    <a:pt x="2444" y="2297"/>
                    <a:pt x="2461" y="2309"/>
                    <a:pt x="2461" y="2324"/>
                  </a:cubicBezTo>
                  <a:cubicBezTo>
                    <a:pt x="2462" y="2339"/>
                    <a:pt x="2446" y="2351"/>
                    <a:pt x="2425" y="2352"/>
                  </a:cubicBezTo>
                  <a:close/>
                  <a:moveTo>
                    <a:pt x="2402" y="2400"/>
                  </a:moveTo>
                  <a:cubicBezTo>
                    <a:pt x="2403" y="2415"/>
                    <a:pt x="2386" y="2428"/>
                    <a:pt x="2366" y="2428"/>
                  </a:cubicBezTo>
                  <a:cubicBezTo>
                    <a:pt x="2346" y="2428"/>
                    <a:pt x="2329" y="2416"/>
                    <a:pt x="2329" y="2401"/>
                  </a:cubicBezTo>
                  <a:cubicBezTo>
                    <a:pt x="2329" y="2386"/>
                    <a:pt x="2345" y="2374"/>
                    <a:pt x="2365" y="2373"/>
                  </a:cubicBezTo>
                  <a:cubicBezTo>
                    <a:pt x="2386" y="2373"/>
                    <a:pt x="2402" y="2385"/>
                    <a:pt x="2402" y="2400"/>
                  </a:cubicBezTo>
                  <a:close/>
                  <a:moveTo>
                    <a:pt x="2311" y="2354"/>
                  </a:moveTo>
                  <a:cubicBezTo>
                    <a:pt x="2291" y="2354"/>
                    <a:pt x="2275" y="2342"/>
                    <a:pt x="2275" y="2327"/>
                  </a:cubicBezTo>
                  <a:cubicBezTo>
                    <a:pt x="2275" y="2312"/>
                    <a:pt x="2291" y="2299"/>
                    <a:pt x="2311" y="2299"/>
                  </a:cubicBezTo>
                  <a:cubicBezTo>
                    <a:pt x="2331" y="2299"/>
                    <a:pt x="2347" y="2311"/>
                    <a:pt x="2347" y="2326"/>
                  </a:cubicBezTo>
                  <a:cubicBezTo>
                    <a:pt x="2348" y="2341"/>
                    <a:pt x="2331" y="2353"/>
                    <a:pt x="2311" y="2354"/>
                  </a:cubicBezTo>
                  <a:close/>
                  <a:moveTo>
                    <a:pt x="2287" y="2402"/>
                  </a:moveTo>
                  <a:cubicBezTo>
                    <a:pt x="2287" y="2417"/>
                    <a:pt x="2271" y="2429"/>
                    <a:pt x="2251" y="2430"/>
                  </a:cubicBezTo>
                  <a:cubicBezTo>
                    <a:pt x="2230" y="2430"/>
                    <a:pt x="2214" y="2418"/>
                    <a:pt x="2214" y="2402"/>
                  </a:cubicBezTo>
                  <a:cubicBezTo>
                    <a:pt x="2214" y="2387"/>
                    <a:pt x="2231" y="2375"/>
                    <a:pt x="2251" y="2375"/>
                  </a:cubicBezTo>
                  <a:cubicBezTo>
                    <a:pt x="2271" y="2375"/>
                    <a:pt x="2287" y="2387"/>
                    <a:pt x="2287" y="2402"/>
                  </a:cubicBezTo>
                  <a:close/>
                  <a:moveTo>
                    <a:pt x="2197" y="2355"/>
                  </a:moveTo>
                  <a:cubicBezTo>
                    <a:pt x="2177" y="2355"/>
                    <a:pt x="2161" y="2343"/>
                    <a:pt x="2161" y="2327"/>
                  </a:cubicBezTo>
                  <a:cubicBezTo>
                    <a:pt x="2161" y="2312"/>
                    <a:pt x="2178" y="2300"/>
                    <a:pt x="2198" y="2300"/>
                  </a:cubicBezTo>
                  <a:cubicBezTo>
                    <a:pt x="2218" y="2300"/>
                    <a:pt x="2234" y="2312"/>
                    <a:pt x="2234" y="2327"/>
                  </a:cubicBezTo>
                  <a:cubicBezTo>
                    <a:pt x="2233" y="2342"/>
                    <a:pt x="2217" y="2355"/>
                    <a:pt x="2197" y="2355"/>
                  </a:cubicBezTo>
                  <a:close/>
                  <a:moveTo>
                    <a:pt x="2172" y="2403"/>
                  </a:moveTo>
                  <a:cubicBezTo>
                    <a:pt x="2172" y="2418"/>
                    <a:pt x="2156" y="2430"/>
                    <a:pt x="2135" y="2430"/>
                  </a:cubicBezTo>
                  <a:cubicBezTo>
                    <a:pt x="2115" y="2430"/>
                    <a:pt x="2099" y="2418"/>
                    <a:pt x="2099" y="2403"/>
                  </a:cubicBezTo>
                  <a:cubicBezTo>
                    <a:pt x="2099" y="2388"/>
                    <a:pt x="2116" y="2376"/>
                    <a:pt x="2136" y="2375"/>
                  </a:cubicBezTo>
                  <a:cubicBezTo>
                    <a:pt x="2157" y="2375"/>
                    <a:pt x="2173" y="2388"/>
                    <a:pt x="2172" y="2403"/>
                  </a:cubicBezTo>
                  <a:close/>
                  <a:moveTo>
                    <a:pt x="2083" y="2355"/>
                  </a:moveTo>
                  <a:cubicBezTo>
                    <a:pt x="2063" y="2355"/>
                    <a:pt x="2047" y="2343"/>
                    <a:pt x="2047" y="2327"/>
                  </a:cubicBezTo>
                  <a:cubicBezTo>
                    <a:pt x="2048" y="2312"/>
                    <a:pt x="2064" y="2300"/>
                    <a:pt x="2084" y="2300"/>
                  </a:cubicBezTo>
                  <a:cubicBezTo>
                    <a:pt x="2104" y="2300"/>
                    <a:pt x="2120" y="2312"/>
                    <a:pt x="2120" y="2328"/>
                  </a:cubicBezTo>
                  <a:cubicBezTo>
                    <a:pt x="2119" y="2343"/>
                    <a:pt x="2103" y="2355"/>
                    <a:pt x="2083" y="2355"/>
                  </a:cubicBezTo>
                  <a:close/>
                  <a:moveTo>
                    <a:pt x="2057" y="2403"/>
                  </a:moveTo>
                  <a:cubicBezTo>
                    <a:pt x="2057" y="2418"/>
                    <a:pt x="2040" y="2430"/>
                    <a:pt x="2020" y="2430"/>
                  </a:cubicBezTo>
                  <a:cubicBezTo>
                    <a:pt x="1999" y="2430"/>
                    <a:pt x="1983" y="2418"/>
                    <a:pt x="1984" y="2402"/>
                  </a:cubicBezTo>
                  <a:cubicBezTo>
                    <a:pt x="1985" y="2387"/>
                    <a:pt x="2002" y="2375"/>
                    <a:pt x="2022" y="2375"/>
                  </a:cubicBezTo>
                  <a:cubicBezTo>
                    <a:pt x="2042" y="2375"/>
                    <a:pt x="2058" y="2388"/>
                    <a:pt x="2057" y="2403"/>
                  </a:cubicBezTo>
                  <a:close/>
                  <a:moveTo>
                    <a:pt x="1968" y="2354"/>
                  </a:moveTo>
                  <a:cubicBezTo>
                    <a:pt x="1948" y="2354"/>
                    <a:pt x="1933" y="2342"/>
                    <a:pt x="1933" y="2327"/>
                  </a:cubicBezTo>
                  <a:cubicBezTo>
                    <a:pt x="1934" y="2311"/>
                    <a:pt x="1951" y="2299"/>
                    <a:pt x="1971" y="2300"/>
                  </a:cubicBezTo>
                  <a:cubicBezTo>
                    <a:pt x="1991" y="2300"/>
                    <a:pt x="2007" y="2312"/>
                    <a:pt x="2006" y="2327"/>
                  </a:cubicBezTo>
                  <a:cubicBezTo>
                    <a:pt x="2005" y="2342"/>
                    <a:pt x="1989" y="2354"/>
                    <a:pt x="1968" y="2354"/>
                  </a:cubicBezTo>
                  <a:close/>
                  <a:moveTo>
                    <a:pt x="1943" y="2402"/>
                  </a:moveTo>
                  <a:cubicBezTo>
                    <a:pt x="1942" y="2417"/>
                    <a:pt x="1925" y="2429"/>
                    <a:pt x="1904" y="2429"/>
                  </a:cubicBezTo>
                  <a:cubicBezTo>
                    <a:pt x="1884" y="2429"/>
                    <a:pt x="1868" y="2416"/>
                    <a:pt x="1869" y="2401"/>
                  </a:cubicBezTo>
                  <a:cubicBezTo>
                    <a:pt x="1870" y="2386"/>
                    <a:pt x="1887" y="2374"/>
                    <a:pt x="1907" y="2374"/>
                  </a:cubicBezTo>
                  <a:cubicBezTo>
                    <a:pt x="1927" y="2375"/>
                    <a:pt x="1943" y="2387"/>
                    <a:pt x="1943" y="2402"/>
                  </a:cubicBezTo>
                  <a:close/>
                  <a:moveTo>
                    <a:pt x="1854" y="2353"/>
                  </a:moveTo>
                  <a:cubicBezTo>
                    <a:pt x="1834" y="2353"/>
                    <a:pt x="1819" y="2340"/>
                    <a:pt x="1820" y="2325"/>
                  </a:cubicBezTo>
                  <a:cubicBezTo>
                    <a:pt x="1820" y="2310"/>
                    <a:pt x="1837" y="2298"/>
                    <a:pt x="1857" y="2298"/>
                  </a:cubicBezTo>
                  <a:cubicBezTo>
                    <a:pt x="1877" y="2298"/>
                    <a:pt x="1893" y="2311"/>
                    <a:pt x="1892" y="2326"/>
                  </a:cubicBezTo>
                  <a:cubicBezTo>
                    <a:pt x="1891" y="2341"/>
                    <a:pt x="1874" y="2353"/>
                    <a:pt x="1854" y="2353"/>
                  </a:cubicBezTo>
                  <a:close/>
                  <a:moveTo>
                    <a:pt x="1828" y="2401"/>
                  </a:moveTo>
                  <a:cubicBezTo>
                    <a:pt x="1827" y="2416"/>
                    <a:pt x="1809" y="2428"/>
                    <a:pt x="1789" y="2427"/>
                  </a:cubicBezTo>
                  <a:cubicBezTo>
                    <a:pt x="1769" y="2427"/>
                    <a:pt x="1753" y="2414"/>
                    <a:pt x="1754" y="2399"/>
                  </a:cubicBezTo>
                  <a:cubicBezTo>
                    <a:pt x="1755" y="2384"/>
                    <a:pt x="1773" y="2372"/>
                    <a:pt x="1793" y="2372"/>
                  </a:cubicBezTo>
                  <a:cubicBezTo>
                    <a:pt x="1813" y="2373"/>
                    <a:pt x="1828" y="2385"/>
                    <a:pt x="1828" y="2401"/>
                  </a:cubicBezTo>
                  <a:close/>
                  <a:moveTo>
                    <a:pt x="1740" y="2351"/>
                  </a:moveTo>
                  <a:cubicBezTo>
                    <a:pt x="1720" y="2350"/>
                    <a:pt x="1705" y="2337"/>
                    <a:pt x="1706" y="2322"/>
                  </a:cubicBezTo>
                  <a:cubicBezTo>
                    <a:pt x="1707" y="2307"/>
                    <a:pt x="1724" y="2295"/>
                    <a:pt x="1744" y="2296"/>
                  </a:cubicBezTo>
                  <a:cubicBezTo>
                    <a:pt x="1764" y="2296"/>
                    <a:pt x="1779" y="2309"/>
                    <a:pt x="1778" y="2324"/>
                  </a:cubicBezTo>
                  <a:cubicBezTo>
                    <a:pt x="1777" y="2339"/>
                    <a:pt x="1760" y="2351"/>
                    <a:pt x="1740" y="2351"/>
                  </a:cubicBezTo>
                  <a:close/>
                  <a:moveTo>
                    <a:pt x="1713" y="2398"/>
                  </a:moveTo>
                  <a:cubicBezTo>
                    <a:pt x="1711" y="2413"/>
                    <a:pt x="1694" y="2425"/>
                    <a:pt x="1674" y="2425"/>
                  </a:cubicBezTo>
                  <a:cubicBezTo>
                    <a:pt x="1653" y="2424"/>
                    <a:pt x="1638" y="2411"/>
                    <a:pt x="1639" y="2396"/>
                  </a:cubicBezTo>
                  <a:cubicBezTo>
                    <a:pt x="1641" y="2381"/>
                    <a:pt x="1658" y="2369"/>
                    <a:pt x="1678" y="2370"/>
                  </a:cubicBezTo>
                  <a:cubicBezTo>
                    <a:pt x="1698" y="2370"/>
                    <a:pt x="1714" y="2383"/>
                    <a:pt x="1713" y="2398"/>
                  </a:cubicBezTo>
                  <a:close/>
                  <a:moveTo>
                    <a:pt x="1626" y="2348"/>
                  </a:moveTo>
                  <a:cubicBezTo>
                    <a:pt x="1606" y="2347"/>
                    <a:pt x="1590" y="2334"/>
                    <a:pt x="1592" y="2319"/>
                  </a:cubicBezTo>
                  <a:cubicBezTo>
                    <a:pt x="1593" y="2304"/>
                    <a:pt x="1611" y="2292"/>
                    <a:pt x="1631" y="2293"/>
                  </a:cubicBezTo>
                  <a:cubicBezTo>
                    <a:pt x="1651" y="2293"/>
                    <a:pt x="1666" y="2306"/>
                    <a:pt x="1665" y="2321"/>
                  </a:cubicBezTo>
                  <a:cubicBezTo>
                    <a:pt x="1663" y="2336"/>
                    <a:pt x="1646" y="2348"/>
                    <a:pt x="1626" y="2348"/>
                  </a:cubicBezTo>
                  <a:close/>
                  <a:moveTo>
                    <a:pt x="1598" y="2395"/>
                  </a:moveTo>
                  <a:cubicBezTo>
                    <a:pt x="1596" y="2410"/>
                    <a:pt x="1579" y="2422"/>
                    <a:pt x="1558" y="2421"/>
                  </a:cubicBezTo>
                  <a:cubicBezTo>
                    <a:pt x="1538" y="2421"/>
                    <a:pt x="1523" y="2408"/>
                    <a:pt x="1524" y="2393"/>
                  </a:cubicBezTo>
                  <a:cubicBezTo>
                    <a:pt x="1526" y="2377"/>
                    <a:pt x="1543" y="2366"/>
                    <a:pt x="1564" y="2366"/>
                  </a:cubicBezTo>
                  <a:cubicBezTo>
                    <a:pt x="1584" y="2367"/>
                    <a:pt x="1599" y="2380"/>
                    <a:pt x="1598" y="2395"/>
                  </a:cubicBezTo>
                  <a:close/>
                  <a:moveTo>
                    <a:pt x="1512" y="2344"/>
                  </a:moveTo>
                  <a:cubicBezTo>
                    <a:pt x="1491" y="2343"/>
                    <a:pt x="1476" y="2330"/>
                    <a:pt x="1478" y="2315"/>
                  </a:cubicBezTo>
                  <a:cubicBezTo>
                    <a:pt x="1480" y="2300"/>
                    <a:pt x="1497" y="2288"/>
                    <a:pt x="1517" y="2289"/>
                  </a:cubicBezTo>
                  <a:cubicBezTo>
                    <a:pt x="1537" y="2290"/>
                    <a:pt x="1552" y="2302"/>
                    <a:pt x="1551" y="2318"/>
                  </a:cubicBezTo>
                  <a:cubicBezTo>
                    <a:pt x="1549" y="2333"/>
                    <a:pt x="1532" y="2345"/>
                    <a:pt x="1512" y="2344"/>
                  </a:cubicBezTo>
                  <a:close/>
                  <a:moveTo>
                    <a:pt x="1483" y="2391"/>
                  </a:moveTo>
                  <a:cubicBezTo>
                    <a:pt x="1481" y="2406"/>
                    <a:pt x="1463" y="2418"/>
                    <a:pt x="1443" y="2417"/>
                  </a:cubicBezTo>
                  <a:cubicBezTo>
                    <a:pt x="1423" y="2416"/>
                    <a:pt x="1408" y="2403"/>
                    <a:pt x="1409" y="2388"/>
                  </a:cubicBezTo>
                  <a:cubicBezTo>
                    <a:pt x="1411" y="2373"/>
                    <a:pt x="1429" y="2361"/>
                    <a:pt x="1449" y="2362"/>
                  </a:cubicBezTo>
                  <a:cubicBezTo>
                    <a:pt x="1469" y="2363"/>
                    <a:pt x="1484" y="2376"/>
                    <a:pt x="1483" y="2391"/>
                  </a:cubicBezTo>
                  <a:close/>
                  <a:moveTo>
                    <a:pt x="1397" y="2339"/>
                  </a:moveTo>
                  <a:cubicBezTo>
                    <a:pt x="1377" y="2338"/>
                    <a:pt x="1362" y="2325"/>
                    <a:pt x="1364" y="2310"/>
                  </a:cubicBezTo>
                  <a:cubicBezTo>
                    <a:pt x="1366" y="2295"/>
                    <a:pt x="1384" y="2283"/>
                    <a:pt x="1404" y="2284"/>
                  </a:cubicBezTo>
                  <a:cubicBezTo>
                    <a:pt x="1424" y="2285"/>
                    <a:pt x="1439" y="2298"/>
                    <a:pt x="1437" y="2313"/>
                  </a:cubicBezTo>
                  <a:cubicBezTo>
                    <a:pt x="1435" y="2328"/>
                    <a:pt x="1417" y="2340"/>
                    <a:pt x="1397" y="2339"/>
                  </a:cubicBezTo>
                  <a:close/>
                  <a:moveTo>
                    <a:pt x="1368" y="2386"/>
                  </a:moveTo>
                  <a:cubicBezTo>
                    <a:pt x="1366" y="2401"/>
                    <a:pt x="1348" y="2413"/>
                    <a:pt x="1328" y="2412"/>
                  </a:cubicBezTo>
                  <a:cubicBezTo>
                    <a:pt x="1307" y="2411"/>
                    <a:pt x="1292" y="2398"/>
                    <a:pt x="1294" y="2383"/>
                  </a:cubicBezTo>
                  <a:cubicBezTo>
                    <a:pt x="1296" y="2367"/>
                    <a:pt x="1314" y="2356"/>
                    <a:pt x="1335" y="2357"/>
                  </a:cubicBezTo>
                  <a:cubicBezTo>
                    <a:pt x="1355" y="2358"/>
                    <a:pt x="1370" y="2371"/>
                    <a:pt x="1368" y="2386"/>
                  </a:cubicBezTo>
                  <a:close/>
                  <a:moveTo>
                    <a:pt x="1283" y="2334"/>
                  </a:moveTo>
                  <a:cubicBezTo>
                    <a:pt x="1263" y="2333"/>
                    <a:pt x="1248" y="2319"/>
                    <a:pt x="1251" y="2304"/>
                  </a:cubicBezTo>
                  <a:cubicBezTo>
                    <a:pt x="1253" y="2289"/>
                    <a:pt x="1271" y="2278"/>
                    <a:pt x="1291" y="2279"/>
                  </a:cubicBezTo>
                  <a:cubicBezTo>
                    <a:pt x="1311" y="2280"/>
                    <a:pt x="1325" y="2293"/>
                    <a:pt x="1323" y="2308"/>
                  </a:cubicBezTo>
                  <a:cubicBezTo>
                    <a:pt x="1321" y="2323"/>
                    <a:pt x="1303" y="2335"/>
                    <a:pt x="1283" y="2334"/>
                  </a:cubicBezTo>
                  <a:close/>
                  <a:moveTo>
                    <a:pt x="1253" y="2380"/>
                  </a:moveTo>
                  <a:cubicBezTo>
                    <a:pt x="1251" y="2396"/>
                    <a:pt x="1233" y="2407"/>
                    <a:pt x="1212" y="2406"/>
                  </a:cubicBezTo>
                  <a:cubicBezTo>
                    <a:pt x="1192" y="2405"/>
                    <a:pt x="1177" y="2392"/>
                    <a:pt x="1180" y="2376"/>
                  </a:cubicBezTo>
                  <a:cubicBezTo>
                    <a:pt x="1182" y="2361"/>
                    <a:pt x="1200" y="2350"/>
                    <a:pt x="1220" y="2351"/>
                  </a:cubicBezTo>
                  <a:cubicBezTo>
                    <a:pt x="1240" y="2352"/>
                    <a:pt x="1255" y="2365"/>
                    <a:pt x="1253" y="2380"/>
                  </a:cubicBezTo>
                  <a:close/>
                  <a:moveTo>
                    <a:pt x="1169" y="2327"/>
                  </a:moveTo>
                  <a:cubicBezTo>
                    <a:pt x="1149" y="2326"/>
                    <a:pt x="1135" y="2313"/>
                    <a:pt x="1137" y="2298"/>
                  </a:cubicBezTo>
                  <a:cubicBezTo>
                    <a:pt x="1139" y="2283"/>
                    <a:pt x="1157" y="2271"/>
                    <a:pt x="1177" y="2272"/>
                  </a:cubicBezTo>
                  <a:cubicBezTo>
                    <a:pt x="1197" y="2274"/>
                    <a:pt x="1212" y="2287"/>
                    <a:pt x="1209" y="2302"/>
                  </a:cubicBezTo>
                  <a:cubicBezTo>
                    <a:pt x="1207" y="2317"/>
                    <a:pt x="1189" y="2328"/>
                    <a:pt x="1169" y="2327"/>
                  </a:cubicBezTo>
                  <a:close/>
                  <a:moveTo>
                    <a:pt x="1138" y="2374"/>
                  </a:moveTo>
                  <a:cubicBezTo>
                    <a:pt x="1136" y="2389"/>
                    <a:pt x="1117" y="2400"/>
                    <a:pt x="1097" y="2399"/>
                  </a:cubicBezTo>
                  <a:cubicBezTo>
                    <a:pt x="1077" y="2398"/>
                    <a:pt x="1062" y="2385"/>
                    <a:pt x="1065" y="2369"/>
                  </a:cubicBezTo>
                  <a:cubicBezTo>
                    <a:pt x="1067" y="2354"/>
                    <a:pt x="1086" y="2343"/>
                    <a:pt x="1106" y="2344"/>
                  </a:cubicBezTo>
                  <a:cubicBezTo>
                    <a:pt x="1126" y="2346"/>
                    <a:pt x="1140" y="2359"/>
                    <a:pt x="1138" y="2374"/>
                  </a:cubicBezTo>
                  <a:close/>
                  <a:moveTo>
                    <a:pt x="1055" y="2320"/>
                  </a:moveTo>
                  <a:cubicBezTo>
                    <a:pt x="1035" y="2319"/>
                    <a:pt x="1021" y="2305"/>
                    <a:pt x="1023" y="2290"/>
                  </a:cubicBezTo>
                  <a:cubicBezTo>
                    <a:pt x="1026" y="2275"/>
                    <a:pt x="1044" y="2264"/>
                    <a:pt x="1064" y="2265"/>
                  </a:cubicBezTo>
                  <a:cubicBezTo>
                    <a:pt x="1084" y="2267"/>
                    <a:pt x="1098" y="2280"/>
                    <a:pt x="1096" y="2295"/>
                  </a:cubicBezTo>
                  <a:cubicBezTo>
                    <a:pt x="1093" y="2310"/>
                    <a:pt x="1075" y="2322"/>
                    <a:pt x="1055" y="2320"/>
                  </a:cubicBezTo>
                  <a:close/>
                  <a:moveTo>
                    <a:pt x="1023" y="2367"/>
                  </a:moveTo>
                  <a:cubicBezTo>
                    <a:pt x="1021" y="2382"/>
                    <a:pt x="1002" y="2393"/>
                    <a:pt x="982" y="2392"/>
                  </a:cubicBezTo>
                  <a:cubicBezTo>
                    <a:pt x="961" y="2390"/>
                    <a:pt x="947" y="2377"/>
                    <a:pt x="950" y="2362"/>
                  </a:cubicBezTo>
                  <a:cubicBezTo>
                    <a:pt x="953" y="2346"/>
                    <a:pt x="971" y="2335"/>
                    <a:pt x="991" y="2337"/>
                  </a:cubicBezTo>
                  <a:cubicBezTo>
                    <a:pt x="1011" y="2338"/>
                    <a:pt x="1026" y="2352"/>
                    <a:pt x="1023" y="2367"/>
                  </a:cubicBezTo>
                  <a:close/>
                  <a:moveTo>
                    <a:pt x="941" y="2312"/>
                  </a:moveTo>
                  <a:cubicBezTo>
                    <a:pt x="921" y="2311"/>
                    <a:pt x="907" y="2297"/>
                    <a:pt x="910" y="2282"/>
                  </a:cubicBezTo>
                  <a:cubicBezTo>
                    <a:pt x="912" y="2267"/>
                    <a:pt x="931" y="2256"/>
                    <a:pt x="951" y="2257"/>
                  </a:cubicBezTo>
                  <a:cubicBezTo>
                    <a:pt x="971" y="2259"/>
                    <a:pt x="985" y="2272"/>
                    <a:pt x="982" y="2287"/>
                  </a:cubicBezTo>
                  <a:cubicBezTo>
                    <a:pt x="979" y="2303"/>
                    <a:pt x="961" y="2314"/>
                    <a:pt x="941" y="2312"/>
                  </a:cubicBezTo>
                  <a:close/>
                  <a:moveTo>
                    <a:pt x="896" y="2230"/>
                  </a:moveTo>
                  <a:cubicBezTo>
                    <a:pt x="876" y="2228"/>
                    <a:pt x="862" y="2214"/>
                    <a:pt x="865" y="2199"/>
                  </a:cubicBezTo>
                  <a:cubicBezTo>
                    <a:pt x="868" y="2184"/>
                    <a:pt x="886" y="2173"/>
                    <a:pt x="906" y="2175"/>
                  </a:cubicBezTo>
                  <a:cubicBezTo>
                    <a:pt x="926" y="2176"/>
                    <a:pt x="940" y="2190"/>
                    <a:pt x="937" y="2205"/>
                  </a:cubicBezTo>
                  <a:cubicBezTo>
                    <a:pt x="934" y="2220"/>
                    <a:pt x="916" y="2231"/>
                    <a:pt x="896" y="2230"/>
                  </a:cubicBezTo>
                  <a:close/>
                  <a:moveTo>
                    <a:pt x="868" y="2279"/>
                  </a:moveTo>
                  <a:cubicBezTo>
                    <a:pt x="866" y="2294"/>
                    <a:pt x="847" y="2305"/>
                    <a:pt x="827" y="2304"/>
                  </a:cubicBezTo>
                  <a:cubicBezTo>
                    <a:pt x="807" y="2302"/>
                    <a:pt x="793" y="2288"/>
                    <a:pt x="796" y="2273"/>
                  </a:cubicBezTo>
                  <a:cubicBezTo>
                    <a:pt x="799" y="2258"/>
                    <a:pt x="818" y="2247"/>
                    <a:pt x="838" y="2249"/>
                  </a:cubicBezTo>
                  <a:cubicBezTo>
                    <a:pt x="858" y="2250"/>
                    <a:pt x="871" y="2264"/>
                    <a:pt x="868" y="2279"/>
                  </a:cubicBezTo>
                  <a:close/>
                  <a:moveTo>
                    <a:pt x="783" y="2220"/>
                  </a:moveTo>
                  <a:cubicBezTo>
                    <a:pt x="763" y="2219"/>
                    <a:pt x="749" y="2205"/>
                    <a:pt x="753" y="2190"/>
                  </a:cubicBezTo>
                  <a:cubicBezTo>
                    <a:pt x="756" y="2175"/>
                    <a:pt x="774" y="2164"/>
                    <a:pt x="794" y="2166"/>
                  </a:cubicBezTo>
                  <a:cubicBezTo>
                    <a:pt x="814" y="2167"/>
                    <a:pt x="827" y="2181"/>
                    <a:pt x="824" y="2196"/>
                  </a:cubicBezTo>
                  <a:cubicBezTo>
                    <a:pt x="821" y="2211"/>
                    <a:pt x="803" y="2222"/>
                    <a:pt x="783" y="2220"/>
                  </a:cubicBezTo>
                  <a:close/>
                  <a:moveTo>
                    <a:pt x="755" y="2270"/>
                  </a:moveTo>
                  <a:cubicBezTo>
                    <a:pt x="752" y="2285"/>
                    <a:pt x="733" y="2296"/>
                    <a:pt x="713" y="2294"/>
                  </a:cubicBezTo>
                  <a:cubicBezTo>
                    <a:pt x="693" y="2292"/>
                    <a:pt x="679" y="2278"/>
                    <a:pt x="682" y="2263"/>
                  </a:cubicBezTo>
                  <a:cubicBezTo>
                    <a:pt x="686" y="2248"/>
                    <a:pt x="705" y="2237"/>
                    <a:pt x="724" y="2239"/>
                  </a:cubicBezTo>
                  <a:cubicBezTo>
                    <a:pt x="744" y="2241"/>
                    <a:pt x="758" y="2255"/>
                    <a:pt x="755" y="2270"/>
                  </a:cubicBezTo>
                  <a:close/>
                  <a:moveTo>
                    <a:pt x="670" y="2210"/>
                  </a:moveTo>
                  <a:cubicBezTo>
                    <a:pt x="650" y="2209"/>
                    <a:pt x="637" y="2195"/>
                    <a:pt x="640" y="2180"/>
                  </a:cubicBezTo>
                  <a:cubicBezTo>
                    <a:pt x="644" y="2165"/>
                    <a:pt x="662" y="2154"/>
                    <a:pt x="682" y="2156"/>
                  </a:cubicBezTo>
                  <a:cubicBezTo>
                    <a:pt x="702" y="2157"/>
                    <a:pt x="715" y="2171"/>
                    <a:pt x="712" y="2186"/>
                  </a:cubicBezTo>
                  <a:cubicBezTo>
                    <a:pt x="709" y="2201"/>
                    <a:pt x="690" y="2212"/>
                    <a:pt x="670" y="2210"/>
                  </a:cubicBezTo>
                  <a:close/>
                  <a:moveTo>
                    <a:pt x="641" y="2260"/>
                  </a:moveTo>
                  <a:cubicBezTo>
                    <a:pt x="638" y="2275"/>
                    <a:pt x="619" y="2285"/>
                    <a:pt x="599" y="2284"/>
                  </a:cubicBezTo>
                  <a:cubicBezTo>
                    <a:pt x="579" y="2282"/>
                    <a:pt x="565" y="2268"/>
                    <a:pt x="569" y="2253"/>
                  </a:cubicBezTo>
                  <a:cubicBezTo>
                    <a:pt x="572" y="2238"/>
                    <a:pt x="591" y="2227"/>
                    <a:pt x="611" y="2229"/>
                  </a:cubicBezTo>
                  <a:cubicBezTo>
                    <a:pt x="631" y="2231"/>
                    <a:pt x="645" y="2244"/>
                    <a:pt x="641" y="2260"/>
                  </a:cubicBezTo>
                  <a:close/>
                  <a:moveTo>
                    <a:pt x="557" y="2200"/>
                  </a:moveTo>
                  <a:cubicBezTo>
                    <a:pt x="537" y="2198"/>
                    <a:pt x="524" y="2184"/>
                    <a:pt x="528" y="2169"/>
                  </a:cubicBezTo>
                  <a:cubicBezTo>
                    <a:pt x="532" y="2154"/>
                    <a:pt x="551" y="2143"/>
                    <a:pt x="570" y="2145"/>
                  </a:cubicBezTo>
                  <a:cubicBezTo>
                    <a:pt x="590" y="2147"/>
                    <a:pt x="603" y="2161"/>
                    <a:pt x="600" y="2176"/>
                  </a:cubicBezTo>
                  <a:cubicBezTo>
                    <a:pt x="596" y="2191"/>
                    <a:pt x="577" y="2202"/>
                    <a:pt x="557" y="2200"/>
                  </a:cubicBezTo>
                  <a:close/>
                  <a:moveTo>
                    <a:pt x="528" y="2249"/>
                  </a:moveTo>
                  <a:cubicBezTo>
                    <a:pt x="524" y="2264"/>
                    <a:pt x="505" y="2274"/>
                    <a:pt x="485" y="2272"/>
                  </a:cubicBezTo>
                  <a:cubicBezTo>
                    <a:pt x="465" y="2270"/>
                    <a:pt x="452" y="2256"/>
                    <a:pt x="455" y="2241"/>
                  </a:cubicBezTo>
                  <a:cubicBezTo>
                    <a:pt x="459" y="2226"/>
                    <a:pt x="478" y="2216"/>
                    <a:pt x="498" y="2218"/>
                  </a:cubicBezTo>
                  <a:cubicBezTo>
                    <a:pt x="518" y="2220"/>
                    <a:pt x="531" y="2234"/>
                    <a:pt x="528" y="2249"/>
                  </a:cubicBezTo>
                  <a:close/>
                  <a:moveTo>
                    <a:pt x="445" y="2188"/>
                  </a:moveTo>
                  <a:cubicBezTo>
                    <a:pt x="425" y="2186"/>
                    <a:pt x="412" y="2172"/>
                    <a:pt x="416" y="2157"/>
                  </a:cubicBezTo>
                  <a:cubicBezTo>
                    <a:pt x="420" y="2142"/>
                    <a:pt x="439" y="2131"/>
                    <a:pt x="458" y="2133"/>
                  </a:cubicBezTo>
                  <a:cubicBezTo>
                    <a:pt x="478" y="2135"/>
                    <a:pt x="491" y="2149"/>
                    <a:pt x="487" y="2165"/>
                  </a:cubicBezTo>
                  <a:cubicBezTo>
                    <a:pt x="484" y="2180"/>
                    <a:pt x="465" y="2190"/>
                    <a:pt x="445" y="2188"/>
                  </a:cubicBezTo>
                  <a:close/>
                  <a:moveTo>
                    <a:pt x="411" y="2107"/>
                  </a:moveTo>
                  <a:cubicBezTo>
                    <a:pt x="391" y="2105"/>
                    <a:pt x="378" y="2091"/>
                    <a:pt x="382" y="2076"/>
                  </a:cubicBezTo>
                  <a:cubicBezTo>
                    <a:pt x="386" y="2061"/>
                    <a:pt x="405" y="2050"/>
                    <a:pt x="425" y="2052"/>
                  </a:cubicBezTo>
                  <a:cubicBezTo>
                    <a:pt x="444" y="2054"/>
                    <a:pt x="457" y="2068"/>
                    <a:pt x="453" y="2084"/>
                  </a:cubicBezTo>
                  <a:cubicBezTo>
                    <a:pt x="450" y="2099"/>
                    <a:pt x="430" y="2109"/>
                    <a:pt x="411" y="2107"/>
                  </a:cubicBezTo>
                  <a:close/>
                  <a:moveTo>
                    <a:pt x="373" y="2022"/>
                  </a:moveTo>
                  <a:cubicBezTo>
                    <a:pt x="354" y="2020"/>
                    <a:pt x="341" y="2006"/>
                    <a:pt x="345" y="1991"/>
                  </a:cubicBezTo>
                  <a:cubicBezTo>
                    <a:pt x="349" y="1976"/>
                    <a:pt x="368" y="1966"/>
                    <a:pt x="388" y="1968"/>
                  </a:cubicBezTo>
                  <a:cubicBezTo>
                    <a:pt x="407" y="1970"/>
                    <a:pt x="419" y="1984"/>
                    <a:pt x="415" y="1999"/>
                  </a:cubicBezTo>
                  <a:cubicBezTo>
                    <a:pt x="411" y="2014"/>
                    <a:pt x="392" y="2025"/>
                    <a:pt x="373" y="2022"/>
                  </a:cubicBezTo>
                  <a:close/>
                  <a:moveTo>
                    <a:pt x="341" y="1941"/>
                  </a:moveTo>
                  <a:cubicBezTo>
                    <a:pt x="322" y="1939"/>
                    <a:pt x="310" y="1925"/>
                    <a:pt x="314" y="1910"/>
                  </a:cubicBezTo>
                  <a:cubicBezTo>
                    <a:pt x="318" y="1894"/>
                    <a:pt x="337" y="1884"/>
                    <a:pt x="356" y="1886"/>
                  </a:cubicBezTo>
                  <a:cubicBezTo>
                    <a:pt x="375" y="1889"/>
                    <a:pt x="388" y="1903"/>
                    <a:pt x="384" y="1918"/>
                  </a:cubicBezTo>
                  <a:cubicBezTo>
                    <a:pt x="380" y="1933"/>
                    <a:pt x="361" y="1943"/>
                    <a:pt x="341" y="1941"/>
                  </a:cubicBezTo>
                  <a:close/>
                  <a:moveTo>
                    <a:pt x="367" y="1518"/>
                  </a:moveTo>
                  <a:cubicBezTo>
                    <a:pt x="372" y="1503"/>
                    <a:pt x="390" y="1493"/>
                    <a:pt x="408" y="1495"/>
                  </a:cubicBezTo>
                  <a:cubicBezTo>
                    <a:pt x="426" y="1498"/>
                    <a:pt x="437" y="1512"/>
                    <a:pt x="433" y="1527"/>
                  </a:cubicBezTo>
                  <a:cubicBezTo>
                    <a:pt x="429" y="1542"/>
                    <a:pt x="411" y="1552"/>
                    <a:pt x="393" y="1550"/>
                  </a:cubicBezTo>
                  <a:cubicBezTo>
                    <a:pt x="374" y="1548"/>
                    <a:pt x="363" y="1533"/>
                    <a:pt x="367" y="1518"/>
                  </a:cubicBezTo>
                  <a:close/>
                  <a:moveTo>
                    <a:pt x="440" y="1580"/>
                  </a:moveTo>
                  <a:cubicBezTo>
                    <a:pt x="459" y="1582"/>
                    <a:pt x="470" y="1596"/>
                    <a:pt x="466" y="1611"/>
                  </a:cubicBezTo>
                  <a:cubicBezTo>
                    <a:pt x="462" y="1626"/>
                    <a:pt x="444" y="1637"/>
                    <a:pt x="425" y="1635"/>
                  </a:cubicBezTo>
                  <a:cubicBezTo>
                    <a:pt x="407" y="1632"/>
                    <a:pt x="396" y="1618"/>
                    <a:pt x="400" y="1603"/>
                  </a:cubicBezTo>
                  <a:cubicBezTo>
                    <a:pt x="404" y="1588"/>
                    <a:pt x="422" y="1578"/>
                    <a:pt x="440" y="1580"/>
                  </a:cubicBezTo>
                  <a:close/>
                  <a:moveTo>
                    <a:pt x="443" y="1450"/>
                  </a:moveTo>
                  <a:cubicBezTo>
                    <a:pt x="447" y="1435"/>
                    <a:pt x="465" y="1424"/>
                    <a:pt x="482" y="1427"/>
                  </a:cubicBezTo>
                  <a:cubicBezTo>
                    <a:pt x="500" y="1429"/>
                    <a:pt x="511" y="1443"/>
                    <a:pt x="507" y="1458"/>
                  </a:cubicBezTo>
                  <a:cubicBezTo>
                    <a:pt x="503" y="1473"/>
                    <a:pt x="485" y="1484"/>
                    <a:pt x="467" y="1481"/>
                  </a:cubicBezTo>
                  <a:cubicBezTo>
                    <a:pt x="449" y="1479"/>
                    <a:pt x="438" y="1465"/>
                    <a:pt x="443" y="1450"/>
                  </a:cubicBezTo>
                  <a:close/>
                  <a:moveTo>
                    <a:pt x="510" y="1508"/>
                  </a:moveTo>
                  <a:cubicBezTo>
                    <a:pt x="528" y="1510"/>
                    <a:pt x="540" y="1524"/>
                    <a:pt x="536" y="1539"/>
                  </a:cubicBezTo>
                  <a:cubicBezTo>
                    <a:pt x="532" y="1554"/>
                    <a:pt x="514" y="1565"/>
                    <a:pt x="496" y="1563"/>
                  </a:cubicBezTo>
                  <a:cubicBezTo>
                    <a:pt x="477" y="1560"/>
                    <a:pt x="466" y="1546"/>
                    <a:pt x="470" y="1531"/>
                  </a:cubicBezTo>
                  <a:cubicBezTo>
                    <a:pt x="474" y="1516"/>
                    <a:pt x="492" y="1506"/>
                    <a:pt x="510" y="1508"/>
                  </a:cubicBezTo>
                  <a:close/>
                  <a:moveTo>
                    <a:pt x="544" y="1592"/>
                  </a:moveTo>
                  <a:cubicBezTo>
                    <a:pt x="562" y="1594"/>
                    <a:pt x="574" y="1608"/>
                    <a:pt x="570" y="1623"/>
                  </a:cubicBezTo>
                  <a:cubicBezTo>
                    <a:pt x="566" y="1638"/>
                    <a:pt x="548" y="1649"/>
                    <a:pt x="530" y="1647"/>
                  </a:cubicBezTo>
                  <a:cubicBezTo>
                    <a:pt x="511" y="1645"/>
                    <a:pt x="500" y="1631"/>
                    <a:pt x="504" y="1616"/>
                  </a:cubicBezTo>
                  <a:cubicBezTo>
                    <a:pt x="508" y="1601"/>
                    <a:pt x="526" y="1590"/>
                    <a:pt x="544" y="1592"/>
                  </a:cubicBezTo>
                  <a:close/>
                  <a:moveTo>
                    <a:pt x="544" y="1462"/>
                  </a:moveTo>
                  <a:cubicBezTo>
                    <a:pt x="548" y="1447"/>
                    <a:pt x="566" y="1437"/>
                    <a:pt x="584" y="1439"/>
                  </a:cubicBezTo>
                  <a:cubicBezTo>
                    <a:pt x="601" y="1441"/>
                    <a:pt x="613" y="1455"/>
                    <a:pt x="609" y="1470"/>
                  </a:cubicBezTo>
                  <a:cubicBezTo>
                    <a:pt x="605" y="1485"/>
                    <a:pt x="587" y="1496"/>
                    <a:pt x="569" y="1494"/>
                  </a:cubicBezTo>
                  <a:cubicBezTo>
                    <a:pt x="551" y="1491"/>
                    <a:pt x="540" y="1477"/>
                    <a:pt x="544" y="1462"/>
                  </a:cubicBezTo>
                  <a:close/>
                  <a:moveTo>
                    <a:pt x="613" y="1520"/>
                  </a:moveTo>
                  <a:cubicBezTo>
                    <a:pt x="631" y="1522"/>
                    <a:pt x="642" y="1535"/>
                    <a:pt x="639" y="1551"/>
                  </a:cubicBezTo>
                  <a:cubicBezTo>
                    <a:pt x="635" y="1566"/>
                    <a:pt x="617" y="1576"/>
                    <a:pt x="599" y="1574"/>
                  </a:cubicBezTo>
                  <a:cubicBezTo>
                    <a:pt x="581" y="1572"/>
                    <a:pt x="569" y="1558"/>
                    <a:pt x="573" y="1543"/>
                  </a:cubicBezTo>
                  <a:cubicBezTo>
                    <a:pt x="577" y="1528"/>
                    <a:pt x="595" y="1518"/>
                    <a:pt x="613" y="1520"/>
                  </a:cubicBezTo>
                  <a:close/>
                  <a:moveTo>
                    <a:pt x="648" y="1604"/>
                  </a:moveTo>
                  <a:cubicBezTo>
                    <a:pt x="666" y="1606"/>
                    <a:pt x="678" y="1619"/>
                    <a:pt x="674" y="1635"/>
                  </a:cubicBezTo>
                  <a:cubicBezTo>
                    <a:pt x="670" y="1650"/>
                    <a:pt x="653" y="1660"/>
                    <a:pt x="634" y="1658"/>
                  </a:cubicBezTo>
                  <a:cubicBezTo>
                    <a:pt x="616" y="1656"/>
                    <a:pt x="604" y="1643"/>
                    <a:pt x="608" y="1627"/>
                  </a:cubicBezTo>
                  <a:cubicBezTo>
                    <a:pt x="611" y="1612"/>
                    <a:pt x="629" y="1602"/>
                    <a:pt x="648" y="1604"/>
                  </a:cubicBezTo>
                  <a:close/>
                  <a:moveTo>
                    <a:pt x="646" y="1474"/>
                  </a:moveTo>
                  <a:cubicBezTo>
                    <a:pt x="649" y="1459"/>
                    <a:pt x="667" y="1448"/>
                    <a:pt x="685" y="1450"/>
                  </a:cubicBezTo>
                  <a:cubicBezTo>
                    <a:pt x="703" y="1452"/>
                    <a:pt x="714" y="1466"/>
                    <a:pt x="711" y="1481"/>
                  </a:cubicBezTo>
                  <a:cubicBezTo>
                    <a:pt x="707" y="1496"/>
                    <a:pt x="690" y="1507"/>
                    <a:pt x="672" y="1505"/>
                  </a:cubicBezTo>
                  <a:cubicBezTo>
                    <a:pt x="654" y="1503"/>
                    <a:pt x="642" y="1489"/>
                    <a:pt x="646" y="1474"/>
                  </a:cubicBezTo>
                  <a:close/>
                  <a:moveTo>
                    <a:pt x="715" y="1531"/>
                  </a:moveTo>
                  <a:cubicBezTo>
                    <a:pt x="733" y="1533"/>
                    <a:pt x="745" y="1546"/>
                    <a:pt x="741" y="1561"/>
                  </a:cubicBezTo>
                  <a:cubicBezTo>
                    <a:pt x="738" y="1577"/>
                    <a:pt x="720" y="1587"/>
                    <a:pt x="702" y="1585"/>
                  </a:cubicBezTo>
                  <a:cubicBezTo>
                    <a:pt x="684" y="1584"/>
                    <a:pt x="672" y="1570"/>
                    <a:pt x="676" y="1555"/>
                  </a:cubicBezTo>
                  <a:cubicBezTo>
                    <a:pt x="679" y="1539"/>
                    <a:pt x="697" y="1529"/>
                    <a:pt x="715" y="1531"/>
                  </a:cubicBezTo>
                  <a:close/>
                  <a:moveTo>
                    <a:pt x="751" y="1614"/>
                  </a:moveTo>
                  <a:cubicBezTo>
                    <a:pt x="769" y="1616"/>
                    <a:pt x="781" y="1630"/>
                    <a:pt x="778" y="1645"/>
                  </a:cubicBezTo>
                  <a:cubicBezTo>
                    <a:pt x="775" y="1660"/>
                    <a:pt x="757" y="1671"/>
                    <a:pt x="739" y="1669"/>
                  </a:cubicBezTo>
                  <a:cubicBezTo>
                    <a:pt x="720" y="1667"/>
                    <a:pt x="708" y="1654"/>
                    <a:pt x="712" y="1638"/>
                  </a:cubicBezTo>
                  <a:cubicBezTo>
                    <a:pt x="715" y="1623"/>
                    <a:pt x="733" y="1613"/>
                    <a:pt x="751" y="1614"/>
                  </a:cubicBezTo>
                  <a:close/>
                  <a:moveTo>
                    <a:pt x="747" y="1485"/>
                  </a:moveTo>
                  <a:cubicBezTo>
                    <a:pt x="751" y="1470"/>
                    <a:pt x="768" y="1459"/>
                    <a:pt x="786" y="1461"/>
                  </a:cubicBezTo>
                  <a:cubicBezTo>
                    <a:pt x="804" y="1463"/>
                    <a:pt x="816" y="1476"/>
                    <a:pt x="812" y="1491"/>
                  </a:cubicBezTo>
                  <a:cubicBezTo>
                    <a:pt x="809" y="1507"/>
                    <a:pt x="792" y="1517"/>
                    <a:pt x="774" y="1516"/>
                  </a:cubicBezTo>
                  <a:cubicBezTo>
                    <a:pt x="756" y="1514"/>
                    <a:pt x="744" y="1500"/>
                    <a:pt x="747" y="1485"/>
                  </a:cubicBezTo>
                  <a:close/>
                  <a:moveTo>
                    <a:pt x="817" y="1541"/>
                  </a:moveTo>
                  <a:cubicBezTo>
                    <a:pt x="836" y="1543"/>
                    <a:pt x="848" y="1556"/>
                    <a:pt x="844" y="1572"/>
                  </a:cubicBezTo>
                  <a:cubicBezTo>
                    <a:pt x="841" y="1587"/>
                    <a:pt x="824" y="1598"/>
                    <a:pt x="805" y="1596"/>
                  </a:cubicBezTo>
                  <a:cubicBezTo>
                    <a:pt x="787" y="1594"/>
                    <a:pt x="775" y="1580"/>
                    <a:pt x="779" y="1565"/>
                  </a:cubicBezTo>
                  <a:cubicBezTo>
                    <a:pt x="782" y="1550"/>
                    <a:pt x="799" y="1539"/>
                    <a:pt x="817" y="1541"/>
                  </a:cubicBezTo>
                  <a:close/>
                  <a:moveTo>
                    <a:pt x="855" y="1624"/>
                  </a:moveTo>
                  <a:cubicBezTo>
                    <a:pt x="873" y="1626"/>
                    <a:pt x="885" y="1640"/>
                    <a:pt x="882" y="1655"/>
                  </a:cubicBezTo>
                  <a:cubicBezTo>
                    <a:pt x="879" y="1670"/>
                    <a:pt x="862" y="1681"/>
                    <a:pt x="843" y="1679"/>
                  </a:cubicBezTo>
                  <a:cubicBezTo>
                    <a:pt x="825" y="1678"/>
                    <a:pt x="812" y="1664"/>
                    <a:pt x="816" y="1649"/>
                  </a:cubicBezTo>
                  <a:cubicBezTo>
                    <a:pt x="819" y="1634"/>
                    <a:pt x="837" y="1623"/>
                    <a:pt x="855" y="1624"/>
                  </a:cubicBezTo>
                  <a:close/>
                  <a:moveTo>
                    <a:pt x="849" y="1495"/>
                  </a:moveTo>
                  <a:cubicBezTo>
                    <a:pt x="852" y="1480"/>
                    <a:pt x="870" y="1469"/>
                    <a:pt x="887" y="1471"/>
                  </a:cubicBezTo>
                  <a:cubicBezTo>
                    <a:pt x="905" y="1472"/>
                    <a:pt x="917" y="1486"/>
                    <a:pt x="914" y="1501"/>
                  </a:cubicBezTo>
                  <a:cubicBezTo>
                    <a:pt x="911" y="1516"/>
                    <a:pt x="894" y="1527"/>
                    <a:pt x="876" y="1526"/>
                  </a:cubicBezTo>
                  <a:cubicBezTo>
                    <a:pt x="858" y="1524"/>
                    <a:pt x="846" y="1510"/>
                    <a:pt x="849" y="1495"/>
                  </a:cubicBezTo>
                  <a:close/>
                  <a:moveTo>
                    <a:pt x="914" y="1421"/>
                  </a:moveTo>
                  <a:cubicBezTo>
                    <a:pt x="917" y="1406"/>
                    <a:pt x="934" y="1395"/>
                    <a:pt x="951" y="1397"/>
                  </a:cubicBezTo>
                  <a:cubicBezTo>
                    <a:pt x="969" y="1399"/>
                    <a:pt x="981" y="1412"/>
                    <a:pt x="978" y="1427"/>
                  </a:cubicBezTo>
                  <a:cubicBezTo>
                    <a:pt x="975" y="1442"/>
                    <a:pt x="958" y="1453"/>
                    <a:pt x="940" y="1452"/>
                  </a:cubicBezTo>
                  <a:cubicBezTo>
                    <a:pt x="922" y="1450"/>
                    <a:pt x="911" y="1437"/>
                    <a:pt x="914" y="1421"/>
                  </a:cubicBezTo>
                  <a:close/>
                  <a:moveTo>
                    <a:pt x="989" y="1480"/>
                  </a:moveTo>
                  <a:cubicBezTo>
                    <a:pt x="1007" y="1481"/>
                    <a:pt x="1019" y="1495"/>
                    <a:pt x="1016" y="1510"/>
                  </a:cubicBezTo>
                  <a:cubicBezTo>
                    <a:pt x="1013" y="1525"/>
                    <a:pt x="996" y="1536"/>
                    <a:pt x="978" y="1535"/>
                  </a:cubicBezTo>
                  <a:cubicBezTo>
                    <a:pt x="960" y="1533"/>
                    <a:pt x="948" y="1520"/>
                    <a:pt x="951" y="1504"/>
                  </a:cubicBezTo>
                  <a:cubicBezTo>
                    <a:pt x="954" y="1489"/>
                    <a:pt x="971" y="1478"/>
                    <a:pt x="989" y="1480"/>
                  </a:cubicBezTo>
                  <a:close/>
                  <a:moveTo>
                    <a:pt x="1014" y="1430"/>
                  </a:moveTo>
                  <a:cubicBezTo>
                    <a:pt x="1017" y="1415"/>
                    <a:pt x="1034" y="1404"/>
                    <a:pt x="1052" y="1406"/>
                  </a:cubicBezTo>
                  <a:cubicBezTo>
                    <a:pt x="1069" y="1407"/>
                    <a:pt x="1081" y="1421"/>
                    <a:pt x="1079" y="1436"/>
                  </a:cubicBezTo>
                  <a:cubicBezTo>
                    <a:pt x="1076" y="1451"/>
                    <a:pt x="1059" y="1462"/>
                    <a:pt x="1041" y="1461"/>
                  </a:cubicBezTo>
                  <a:cubicBezTo>
                    <a:pt x="1023" y="1459"/>
                    <a:pt x="1011" y="1446"/>
                    <a:pt x="1014" y="1430"/>
                  </a:cubicBezTo>
                  <a:close/>
                  <a:moveTo>
                    <a:pt x="1090" y="1488"/>
                  </a:moveTo>
                  <a:cubicBezTo>
                    <a:pt x="1108" y="1490"/>
                    <a:pt x="1120" y="1503"/>
                    <a:pt x="1118" y="1518"/>
                  </a:cubicBezTo>
                  <a:cubicBezTo>
                    <a:pt x="1115" y="1534"/>
                    <a:pt x="1098" y="1545"/>
                    <a:pt x="1080" y="1543"/>
                  </a:cubicBezTo>
                  <a:cubicBezTo>
                    <a:pt x="1062" y="1542"/>
                    <a:pt x="1050" y="1528"/>
                    <a:pt x="1053" y="1513"/>
                  </a:cubicBezTo>
                  <a:cubicBezTo>
                    <a:pt x="1056" y="1498"/>
                    <a:pt x="1072" y="1487"/>
                    <a:pt x="1090" y="1488"/>
                  </a:cubicBezTo>
                  <a:close/>
                  <a:moveTo>
                    <a:pt x="1081" y="1359"/>
                  </a:moveTo>
                  <a:cubicBezTo>
                    <a:pt x="1084" y="1344"/>
                    <a:pt x="1101" y="1333"/>
                    <a:pt x="1118" y="1335"/>
                  </a:cubicBezTo>
                  <a:cubicBezTo>
                    <a:pt x="1136" y="1336"/>
                    <a:pt x="1148" y="1349"/>
                    <a:pt x="1145" y="1365"/>
                  </a:cubicBezTo>
                  <a:cubicBezTo>
                    <a:pt x="1142" y="1380"/>
                    <a:pt x="1126" y="1391"/>
                    <a:pt x="1108" y="1389"/>
                  </a:cubicBezTo>
                  <a:cubicBezTo>
                    <a:pt x="1091" y="1388"/>
                    <a:pt x="1079" y="1375"/>
                    <a:pt x="1081" y="1359"/>
                  </a:cubicBezTo>
                  <a:close/>
                  <a:moveTo>
                    <a:pt x="1143" y="1285"/>
                  </a:moveTo>
                  <a:cubicBezTo>
                    <a:pt x="1145" y="1270"/>
                    <a:pt x="1161" y="1259"/>
                    <a:pt x="1179" y="1260"/>
                  </a:cubicBezTo>
                  <a:cubicBezTo>
                    <a:pt x="1196" y="1261"/>
                    <a:pt x="1208" y="1275"/>
                    <a:pt x="1205" y="1290"/>
                  </a:cubicBezTo>
                  <a:cubicBezTo>
                    <a:pt x="1203" y="1305"/>
                    <a:pt x="1187" y="1316"/>
                    <a:pt x="1169" y="1315"/>
                  </a:cubicBezTo>
                  <a:cubicBezTo>
                    <a:pt x="1152" y="1314"/>
                    <a:pt x="1140" y="1300"/>
                    <a:pt x="1143" y="1285"/>
                  </a:cubicBezTo>
                  <a:close/>
                  <a:moveTo>
                    <a:pt x="1170" y="1131"/>
                  </a:moveTo>
                  <a:cubicBezTo>
                    <a:pt x="1173" y="1116"/>
                    <a:pt x="1189" y="1105"/>
                    <a:pt x="1205" y="1106"/>
                  </a:cubicBezTo>
                  <a:cubicBezTo>
                    <a:pt x="1222" y="1108"/>
                    <a:pt x="1234" y="1121"/>
                    <a:pt x="1231" y="1136"/>
                  </a:cubicBezTo>
                  <a:cubicBezTo>
                    <a:pt x="1229" y="1151"/>
                    <a:pt x="1213" y="1163"/>
                    <a:pt x="1196" y="1161"/>
                  </a:cubicBezTo>
                  <a:cubicBezTo>
                    <a:pt x="1179" y="1160"/>
                    <a:pt x="1167" y="1146"/>
                    <a:pt x="1170" y="1131"/>
                  </a:cubicBezTo>
                  <a:close/>
                  <a:moveTo>
                    <a:pt x="1243" y="1188"/>
                  </a:moveTo>
                  <a:cubicBezTo>
                    <a:pt x="1260" y="1190"/>
                    <a:pt x="1272" y="1203"/>
                    <a:pt x="1269" y="1218"/>
                  </a:cubicBezTo>
                  <a:cubicBezTo>
                    <a:pt x="1267" y="1233"/>
                    <a:pt x="1251" y="1245"/>
                    <a:pt x="1234" y="1243"/>
                  </a:cubicBezTo>
                  <a:cubicBezTo>
                    <a:pt x="1216" y="1242"/>
                    <a:pt x="1205" y="1229"/>
                    <a:pt x="1207" y="1214"/>
                  </a:cubicBezTo>
                  <a:cubicBezTo>
                    <a:pt x="1210" y="1198"/>
                    <a:pt x="1226" y="1187"/>
                    <a:pt x="1243" y="1188"/>
                  </a:cubicBezTo>
                  <a:close/>
                  <a:moveTo>
                    <a:pt x="1266" y="1139"/>
                  </a:moveTo>
                  <a:cubicBezTo>
                    <a:pt x="1268" y="1124"/>
                    <a:pt x="1284" y="1112"/>
                    <a:pt x="1301" y="1114"/>
                  </a:cubicBezTo>
                  <a:cubicBezTo>
                    <a:pt x="1318" y="1115"/>
                    <a:pt x="1330" y="1128"/>
                    <a:pt x="1327" y="1143"/>
                  </a:cubicBezTo>
                  <a:cubicBezTo>
                    <a:pt x="1325" y="1158"/>
                    <a:pt x="1309" y="1170"/>
                    <a:pt x="1292" y="1169"/>
                  </a:cubicBezTo>
                  <a:cubicBezTo>
                    <a:pt x="1275" y="1167"/>
                    <a:pt x="1264" y="1154"/>
                    <a:pt x="1266" y="1139"/>
                  </a:cubicBezTo>
                  <a:close/>
                  <a:moveTo>
                    <a:pt x="1340" y="1195"/>
                  </a:moveTo>
                  <a:cubicBezTo>
                    <a:pt x="1357" y="1197"/>
                    <a:pt x="1369" y="1210"/>
                    <a:pt x="1366" y="1225"/>
                  </a:cubicBezTo>
                  <a:cubicBezTo>
                    <a:pt x="1364" y="1240"/>
                    <a:pt x="1348" y="1252"/>
                    <a:pt x="1331" y="1250"/>
                  </a:cubicBezTo>
                  <a:cubicBezTo>
                    <a:pt x="1314" y="1249"/>
                    <a:pt x="1302" y="1236"/>
                    <a:pt x="1304" y="1221"/>
                  </a:cubicBezTo>
                  <a:cubicBezTo>
                    <a:pt x="1307" y="1206"/>
                    <a:pt x="1322" y="1194"/>
                    <a:pt x="1340" y="1195"/>
                  </a:cubicBezTo>
                  <a:close/>
                  <a:moveTo>
                    <a:pt x="1362" y="1146"/>
                  </a:moveTo>
                  <a:cubicBezTo>
                    <a:pt x="1364" y="1130"/>
                    <a:pt x="1380" y="1119"/>
                    <a:pt x="1397" y="1120"/>
                  </a:cubicBezTo>
                  <a:cubicBezTo>
                    <a:pt x="1413" y="1121"/>
                    <a:pt x="1425" y="1135"/>
                    <a:pt x="1423" y="1150"/>
                  </a:cubicBezTo>
                  <a:cubicBezTo>
                    <a:pt x="1421" y="1165"/>
                    <a:pt x="1406" y="1176"/>
                    <a:pt x="1389" y="1175"/>
                  </a:cubicBezTo>
                  <a:cubicBezTo>
                    <a:pt x="1372" y="1174"/>
                    <a:pt x="1360" y="1161"/>
                    <a:pt x="1362" y="1146"/>
                  </a:cubicBezTo>
                  <a:close/>
                  <a:moveTo>
                    <a:pt x="1385" y="992"/>
                  </a:moveTo>
                  <a:cubicBezTo>
                    <a:pt x="1387" y="977"/>
                    <a:pt x="1402" y="965"/>
                    <a:pt x="1419" y="966"/>
                  </a:cubicBezTo>
                  <a:cubicBezTo>
                    <a:pt x="1435" y="968"/>
                    <a:pt x="1447" y="981"/>
                    <a:pt x="1445" y="996"/>
                  </a:cubicBezTo>
                  <a:cubicBezTo>
                    <a:pt x="1443" y="1011"/>
                    <a:pt x="1427" y="1022"/>
                    <a:pt x="1411" y="1021"/>
                  </a:cubicBezTo>
                  <a:cubicBezTo>
                    <a:pt x="1394" y="1020"/>
                    <a:pt x="1383" y="1007"/>
                    <a:pt x="1385" y="992"/>
                  </a:cubicBezTo>
                  <a:close/>
                  <a:moveTo>
                    <a:pt x="1457" y="1048"/>
                  </a:moveTo>
                  <a:cubicBezTo>
                    <a:pt x="1474" y="1049"/>
                    <a:pt x="1486" y="1062"/>
                    <a:pt x="1484" y="1077"/>
                  </a:cubicBezTo>
                  <a:cubicBezTo>
                    <a:pt x="1482" y="1092"/>
                    <a:pt x="1467" y="1104"/>
                    <a:pt x="1450" y="1103"/>
                  </a:cubicBezTo>
                  <a:cubicBezTo>
                    <a:pt x="1433" y="1102"/>
                    <a:pt x="1421" y="1089"/>
                    <a:pt x="1423" y="1073"/>
                  </a:cubicBezTo>
                  <a:cubicBezTo>
                    <a:pt x="1425" y="1058"/>
                    <a:pt x="1441" y="1047"/>
                    <a:pt x="1457" y="1048"/>
                  </a:cubicBezTo>
                  <a:close/>
                  <a:moveTo>
                    <a:pt x="1479" y="998"/>
                  </a:moveTo>
                  <a:cubicBezTo>
                    <a:pt x="1481" y="983"/>
                    <a:pt x="1496" y="971"/>
                    <a:pt x="1512" y="972"/>
                  </a:cubicBezTo>
                  <a:cubicBezTo>
                    <a:pt x="1528" y="973"/>
                    <a:pt x="1540" y="986"/>
                    <a:pt x="1538" y="1002"/>
                  </a:cubicBezTo>
                  <a:cubicBezTo>
                    <a:pt x="1537" y="1017"/>
                    <a:pt x="1522" y="1028"/>
                    <a:pt x="1505" y="1027"/>
                  </a:cubicBezTo>
                  <a:cubicBezTo>
                    <a:pt x="1488" y="1026"/>
                    <a:pt x="1477" y="1013"/>
                    <a:pt x="1479" y="998"/>
                  </a:cubicBezTo>
                  <a:close/>
                  <a:moveTo>
                    <a:pt x="1552" y="1054"/>
                  </a:moveTo>
                  <a:cubicBezTo>
                    <a:pt x="1568" y="1054"/>
                    <a:pt x="1580" y="1067"/>
                    <a:pt x="1579" y="1083"/>
                  </a:cubicBezTo>
                  <a:cubicBezTo>
                    <a:pt x="1577" y="1098"/>
                    <a:pt x="1562" y="1109"/>
                    <a:pt x="1545" y="1108"/>
                  </a:cubicBezTo>
                  <a:cubicBezTo>
                    <a:pt x="1528" y="1108"/>
                    <a:pt x="1516" y="1094"/>
                    <a:pt x="1518" y="1079"/>
                  </a:cubicBezTo>
                  <a:cubicBezTo>
                    <a:pt x="1520" y="1064"/>
                    <a:pt x="1535" y="1053"/>
                    <a:pt x="1552" y="1054"/>
                  </a:cubicBezTo>
                  <a:close/>
                  <a:moveTo>
                    <a:pt x="1572" y="1004"/>
                  </a:moveTo>
                  <a:cubicBezTo>
                    <a:pt x="1574" y="988"/>
                    <a:pt x="1589" y="977"/>
                    <a:pt x="1605" y="978"/>
                  </a:cubicBezTo>
                  <a:cubicBezTo>
                    <a:pt x="1622" y="979"/>
                    <a:pt x="1634" y="992"/>
                    <a:pt x="1632" y="1007"/>
                  </a:cubicBezTo>
                  <a:cubicBezTo>
                    <a:pt x="1631" y="1022"/>
                    <a:pt x="1616" y="1033"/>
                    <a:pt x="1599" y="1033"/>
                  </a:cubicBezTo>
                  <a:cubicBezTo>
                    <a:pt x="1583" y="1032"/>
                    <a:pt x="1571" y="1019"/>
                    <a:pt x="1572" y="1004"/>
                  </a:cubicBezTo>
                  <a:close/>
                  <a:moveTo>
                    <a:pt x="1646" y="1058"/>
                  </a:moveTo>
                  <a:cubicBezTo>
                    <a:pt x="1663" y="1059"/>
                    <a:pt x="1675" y="1072"/>
                    <a:pt x="1674" y="1087"/>
                  </a:cubicBezTo>
                  <a:cubicBezTo>
                    <a:pt x="1672" y="1103"/>
                    <a:pt x="1657" y="1114"/>
                    <a:pt x="1641" y="1113"/>
                  </a:cubicBezTo>
                  <a:cubicBezTo>
                    <a:pt x="1624" y="1113"/>
                    <a:pt x="1611" y="1100"/>
                    <a:pt x="1613" y="1084"/>
                  </a:cubicBezTo>
                  <a:cubicBezTo>
                    <a:pt x="1615" y="1069"/>
                    <a:pt x="1630" y="1058"/>
                    <a:pt x="1646" y="1058"/>
                  </a:cubicBezTo>
                  <a:close/>
                  <a:moveTo>
                    <a:pt x="1666" y="1008"/>
                  </a:moveTo>
                  <a:cubicBezTo>
                    <a:pt x="1668" y="993"/>
                    <a:pt x="1682" y="982"/>
                    <a:pt x="1699" y="982"/>
                  </a:cubicBezTo>
                  <a:cubicBezTo>
                    <a:pt x="1715" y="983"/>
                    <a:pt x="1727" y="996"/>
                    <a:pt x="1726" y="1011"/>
                  </a:cubicBezTo>
                  <a:cubicBezTo>
                    <a:pt x="1725" y="1026"/>
                    <a:pt x="1710" y="1038"/>
                    <a:pt x="1693" y="1037"/>
                  </a:cubicBezTo>
                  <a:cubicBezTo>
                    <a:pt x="1677" y="1036"/>
                    <a:pt x="1665" y="1024"/>
                    <a:pt x="1666" y="1008"/>
                  </a:cubicBezTo>
                  <a:close/>
                  <a:moveTo>
                    <a:pt x="1741" y="1063"/>
                  </a:moveTo>
                  <a:cubicBezTo>
                    <a:pt x="1757" y="1063"/>
                    <a:pt x="1770" y="1076"/>
                    <a:pt x="1769" y="1091"/>
                  </a:cubicBezTo>
                  <a:cubicBezTo>
                    <a:pt x="1767" y="1107"/>
                    <a:pt x="1753" y="1118"/>
                    <a:pt x="1736" y="1118"/>
                  </a:cubicBezTo>
                  <a:cubicBezTo>
                    <a:pt x="1719" y="1117"/>
                    <a:pt x="1707" y="1104"/>
                    <a:pt x="1708" y="1089"/>
                  </a:cubicBezTo>
                  <a:cubicBezTo>
                    <a:pt x="1709" y="1074"/>
                    <a:pt x="1724" y="1062"/>
                    <a:pt x="1741" y="1063"/>
                  </a:cubicBezTo>
                  <a:close/>
                  <a:moveTo>
                    <a:pt x="1760" y="1013"/>
                  </a:moveTo>
                  <a:cubicBezTo>
                    <a:pt x="1761" y="997"/>
                    <a:pt x="1776" y="986"/>
                    <a:pt x="1792" y="986"/>
                  </a:cubicBezTo>
                  <a:cubicBezTo>
                    <a:pt x="1809" y="987"/>
                    <a:pt x="1821" y="1000"/>
                    <a:pt x="1820" y="1015"/>
                  </a:cubicBezTo>
                  <a:cubicBezTo>
                    <a:pt x="1819" y="1030"/>
                    <a:pt x="1804" y="1042"/>
                    <a:pt x="1788" y="1041"/>
                  </a:cubicBezTo>
                  <a:cubicBezTo>
                    <a:pt x="1771" y="1041"/>
                    <a:pt x="1759" y="1028"/>
                    <a:pt x="1760" y="1013"/>
                  </a:cubicBezTo>
                  <a:close/>
                  <a:moveTo>
                    <a:pt x="1835" y="1066"/>
                  </a:moveTo>
                  <a:cubicBezTo>
                    <a:pt x="1852" y="1067"/>
                    <a:pt x="1865" y="1080"/>
                    <a:pt x="1864" y="1095"/>
                  </a:cubicBezTo>
                  <a:cubicBezTo>
                    <a:pt x="1863" y="1110"/>
                    <a:pt x="1848" y="1122"/>
                    <a:pt x="1831" y="1121"/>
                  </a:cubicBezTo>
                  <a:cubicBezTo>
                    <a:pt x="1815" y="1121"/>
                    <a:pt x="1802" y="1108"/>
                    <a:pt x="1803" y="1093"/>
                  </a:cubicBezTo>
                  <a:cubicBezTo>
                    <a:pt x="1804" y="1078"/>
                    <a:pt x="1819" y="1066"/>
                    <a:pt x="1835" y="1066"/>
                  </a:cubicBezTo>
                  <a:close/>
                  <a:moveTo>
                    <a:pt x="1854" y="1016"/>
                  </a:moveTo>
                  <a:cubicBezTo>
                    <a:pt x="1855" y="1001"/>
                    <a:pt x="1869" y="989"/>
                    <a:pt x="1885" y="990"/>
                  </a:cubicBezTo>
                  <a:cubicBezTo>
                    <a:pt x="1902" y="990"/>
                    <a:pt x="1915" y="1003"/>
                    <a:pt x="1914" y="1018"/>
                  </a:cubicBezTo>
                  <a:cubicBezTo>
                    <a:pt x="1913" y="1033"/>
                    <a:pt x="1898" y="1045"/>
                    <a:pt x="1882" y="1044"/>
                  </a:cubicBezTo>
                  <a:cubicBezTo>
                    <a:pt x="1865" y="1044"/>
                    <a:pt x="1853" y="1031"/>
                    <a:pt x="1854" y="1016"/>
                  </a:cubicBezTo>
                  <a:close/>
                  <a:moveTo>
                    <a:pt x="1930" y="1069"/>
                  </a:moveTo>
                  <a:cubicBezTo>
                    <a:pt x="1947" y="1070"/>
                    <a:pt x="1960" y="1082"/>
                    <a:pt x="1959" y="1097"/>
                  </a:cubicBezTo>
                  <a:cubicBezTo>
                    <a:pt x="1958" y="1113"/>
                    <a:pt x="1944" y="1125"/>
                    <a:pt x="1927" y="1124"/>
                  </a:cubicBezTo>
                  <a:cubicBezTo>
                    <a:pt x="1910" y="1124"/>
                    <a:pt x="1897" y="1111"/>
                    <a:pt x="1898" y="1096"/>
                  </a:cubicBezTo>
                  <a:cubicBezTo>
                    <a:pt x="1899" y="1081"/>
                    <a:pt x="1913" y="1069"/>
                    <a:pt x="1930" y="1069"/>
                  </a:cubicBezTo>
                  <a:close/>
                  <a:moveTo>
                    <a:pt x="1948" y="1019"/>
                  </a:moveTo>
                  <a:cubicBezTo>
                    <a:pt x="1948" y="1004"/>
                    <a:pt x="1962" y="992"/>
                    <a:pt x="1979" y="992"/>
                  </a:cubicBezTo>
                  <a:cubicBezTo>
                    <a:pt x="1995" y="993"/>
                    <a:pt x="2008" y="1005"/>
                    <a:pt x="2007" y="1020"/>
                  </a:cubicBezTo>
                  <a:cubicBezTo>
                    <a:pt x="2007" y="1036"/>
                    <a:pt x="1993" y="1048"/>
                    <a:pt x="1976" y="1047"/>
                  </a:cubicBezTo>
                  <a:cubicBezTo>
                    <a:pt x="1959" y="1047"/>
                    <a:pt x="1947" y="1034"/>
                    <a:pt x="1948" y="1019"/>
                  </a:cubicBezTo>
                  <a:close/>
                  <a:moveTo>
                    <a:pt x="2025" y="1072"/>
                  </a:moveTo>
                  <a:cubicBezTo>
                    <a:pt x="2041" y="1072"/>
                    <a:pt x="2054" y="1084"/>
                    <a:pt x="2054" y="1100"/>
                  </a:cubicBezTo>
                  <a:cubicBezTo>
                    <a:pt x="2053" y="1115"/>
                    <a:pt x="2039" y="1127"/>
                    <a:pt x="2022" y="1126"/>
                  </a:cubicBezTo>
                  <a:cubicBezTo>
                    <a:pt x="2005" y="1126"/>
                    <a:pt x="1992" y="1113"/>
                    <a:pt x="1993" y="1098"/>
                  </a:cubicBezTo>
                  <a:cubicBezTo>
                    <a:pt x="1994" y="1083"/>
                    <a:pt x="2008" y="1071"/>
                    <a:pt x="2025" y="1072"/>
                  </a:cubicBezTo>
                  <a:close/>
                  <a:moveTo>
                    <a:pt x="2041" y="1021"/>
                  </a:moveTo>
                  <a:cubicBezTo>
                    <a:pt x="2042" y="1006"/>
                    <a:pt x="2056" y="994"/>
                    <a:pt x="2072" y="994"/>
                  </a:cubicBezTo>
                  <a:cubicBezTo>
                    <a:pt x="2089" y="995"/>
                    <a:pt x="2102" y="1007"/>
                    <a:pt x="2101" y="1022"/>
                  </a:cubicBezTo>
                  <a:cubicBezTo>
                    <a:pt x="2101" y="1037"/>
                    <a:pt x="2087" y="1049"/>
                    <a:pt x="2070" y="1049"/>
                  </a:cubicBezTo>
                  <a:cubicBezTo>
                    <a:pt x="2054" y="1049"/>
                    <a:pt x="2041" y="1036"/>
                    <a:pt x="2041" y="1021"/>
                  </a:cubicBezTo>
                  <a:close/>
                  <a:moveTo>
                    <a:pt x="2119" y="1073"/>
                  </a:moveTo>
                  <a:cubicBezTo>
                    <a:pt x="2136" y="1073"/>
                    <a:pt x="2149" y="1086"/>
                    <a:pt x="2149" y="1101"/>
                  </a:cubicBezTo>
                  <a:cubicBezTo>
                    <a:pt x="2148" y="1116"/>
                    <a:pt x="2135" y="1128"/>
                    <a:pt x="2118" y="1128"/>
                  </a:cubicBezTo>
                  <a:cubicBezTo>
                    <a:pt x="2101" y="1128"/>
                    <a:pt x="2088" y="1115"/>
                    <a:pt x="2088" y="1100"/>
                  </a:cubicBezTo>
                  <a:cubicBezTo>
                    <a:pt x="2089" y="1085"/>
                    <a:pt x="2103" y="1073"/>
                    <a:pt x="2119" y="1073"/>
                  </a:cubicBezTo>
                  <a:close/>
                  <a:moveTo>
                    <a:pt x="2135" y="1023"/>
                  </a:moveTo>
                  <a:cubicBezTo>
                    <a:pt x="2136" y="1008"/>
                    <a:pt x="2149" y="995"/>
                    <a:pt x="2166" y="996"/>
                  </a:cubicBezTo>
                  <a:cubicBezTo>
                    <a:pt x="2182" y="996"/>
                    <a:pt x="2195" y="1008"/>
                    <a:pt x="2195" y="1023"/>
                  </a:cubicBezTo>
                  <a:cubicBezTo>
                    <a:pt x="2195" y="1038"/>
                    <a:pt x="2181" y="1050"/>
                    <a:pt x="2165" y="1050"/>
                  </a:cubicBezTo>
                  <a:cubicBezTo>
                    <a:pt x="2148" y="1050"/>
                    <a:pt x="2135" y="1038"/>
                    <a:pt x="2135" y="1023"/>
                  </a:cubicBezTo>
                  <a:close/>
                  <a:moveTo>
                    <a:pt x="2186" y="948"/>
                  </a:moveTo>
                  <a:cubicBezTo>
                    <a:pt x="2186" y="933"/>
                    <a:pt x="2200" y="921"/>
                    <a:pt x="2216" y="921"/>
                  </a:cubicBezTo>
                  <a:cubicBezTo>
                    <a:pt x="2232" y="921"/>
                    <a:pt x="2245" y="933"/>
                    <a:pt x="2245" y="948"/>
                  </a:cubicBezTo>
                  <a:cubicBezTo>
                    <a:pt x="2245" y="963"/>
                    <a:pt x="2232" y="976"/>
                    <a:pt x="2215" y="975"/>
                  </a:cubicBezTo>
                  <a:cubicBezTo>
                    <a:pt x="2199" y="975"/>
                    <a:pt x="2186" y="963"/>
                    <a:pt x="2186" y="948"/>
                  </a:cubicBezTo>
                  <a:close/>
                  <a:moveTo>
                    <a:pt x="2259" y="996"/>
                  </a:moveTo>
                  <a:cubicBezTo>
                    <a:pt x="2276" y="996"/>
                    <a:pt x="2289" y="1009"/>
                    <a:pt x="2289" y="1024"/>
                  </a:cubicBezTo>
                  <a:cubicBezTo>
                    <a:pt x="2289" y="1039"/>
                    <a:pt x="2275" y="1051"/>
                    <a:pt x="2259" y="1051"/>
                  </a:cubicBezTo>
                  <a:cubicBezTo>
                    <a:pt x="2242" y="1051"/>
                    <a:pt x="2229" y="1039"/>
                    <a:pt x="2229" y="1023"/>
                  </a:cubicBezTo>
                  <a:cubicBezTo>
                    <a:pt x="2229" y="1008"/>
                    <a:pt x="2243" y="996"/>
                    <a:pt x="2259" y="996"/>
                  </a:cubicBezTo>
                  <a:close/>
                  <a:moveTo>
                    <a:pt x="2279" y="948"/>
                  </a:moveTo>
                  <a:cubicBezTo>
                    <a:pt x="2279" y="933"/>
                    <a:pt x="2292" y="921"/>
                    <a:pt x="2308" y="921"/>
                  </a:cubicBezTo>
                  <a:cubicBezTo>
                    <a:pt x="2324" y="921"/>
                    <a:pt x="2338" y="933"/>
                    <a:pt x="2338" y="948"/>
                  </a:cubicBezTo>
                  <a:cubicBezTo>
                    <a:pt x="2338" y="964"/>
                    <a:pt x="2325" y="976"/>
                    <a:pt x="2308" y="976"/>
                  </a:cubicBezTo>
                  <a:cubicBezTo>
                    <a:pt x="2292" y="976"/>
                    <a:pt x="2279" y="964"/>
                    <a:pt x="2279" y="948"/>
                  </a:cubicBezTo>
                  <a:close/>
                  <a:moveTo>
                    <a:pt x="2353" y="996"/>
                  </a:moveTo>
                  <a:cubicBezTo>
                    <a:pt x="2369" y="996"/>
                    <a:pt x="2383" y="1008"/>
                    <a:pt x="2383" y="1023"/>
                  </a:cubicBezTo>
                  <a:cubicBezTo>
                    <a:pt x="2383" y="1038"/>
                    <a:pt x="2370" y="1051"/>
                    <a:pt x="2353" y="1051"/>
                  </a:cubicBezTo>
                  <a:cubicBezTo>
                    <a:pt x="2337" y="1051"/>
                    <a:pt x="2323" y="1039"/>
                    <a:pt x="2323" y="1024"/>
                  </a:cubicBezTo>
                  <a:cubicBezTo>
                    <a:pt x="2323" y="1009"/>
                    <a:pt x="2336" y="996"/>
                    <a:pt x="2353" y="996"/>
                  </a:cubicBezTo>
                  <a:close/>
                  <a:moveTo>
                    <a:pt x="2371" y="948"/>
                  </a:moveTo>
                  <a:cubicBezTo>
                    <a:pt x="2371" y="933"/>
                    <a:pt x="2384" y="921"/>
                    <a:pt x="2401" y="921"/>
                  </a:cubicBezTo>
                  <a:cubicBezTo>
                    <a:pt x="2417" y="921"/>
                    <a:pt x="2430" y="933"/>
                    <a:pt x="2431" y="948"/>
                  </a:cubicBezTo>
                  <a:cubicBezTo>
                    <a:pt x="2431" y="963"/>
                    <a:pt x="2418" y="975"/>
                    <a:pt x="2401" y="975"/>
                  </a:cubicBezTo>
                  <a:cubicBezTo>
                    <a:pt x="2385" y="976"/>
                    <a:pt x="2372" y="963"/>
                    <a:pt x="2371" y="948"/>
                  </a:cubicBezTo>
                  <a:close/>
                  <a:moveTo>
                    <a:pt x="2446" y="996"/>
                  </a:moveTo>
                  <a:cubicBezTo>
                    <a:pt x="2463" y="995"/>
                    <a:pt x="2476" y="1007"/>
                    <a:pt x="2477" y="1022"/>
                  </a:cubicBezTo>
                  <a:cubicBezTo>
                    <a:pt x="2477" y="1038"/>
                    <a:pt x="2464" y="1050"/>
                    <a:pt x="2447" y="1050"/>
                  </a:cubicBezTo>
                  <a:cubicBezTo>
                    <a:pt x="2431" y="1050"/>
                    <a:pt x="2417" y="1038"/>
                    <a:pt x="2417" y="1023"/>
                  </a:cubicBezTo>
                  <a:cubicBezTo>
                    <a:pt x="2417" y="1008"/>
                    <a:pt x="2430" y="996"/>
                    <a:pt x="2446" y="996"/>
                  </a:cubicBezTo>
                  <a:close/>
                  <a:moveTo>
                    <a:pt x="2464" y="948"/>
                  </a:moveTo>
                  <a:cubicBezTo>
                    <a:pt x="2464" y="932"/>
                    <a:pt x="2477" y="920"/>
                    <a:pt x="2493" y="920"/>
                  </a:cubicBezTo>
                  <a:cubicBezTo>
                    <a:pt x="2509" y="920"/>
                    <a:pt x="2523" y="932"/>
                    <a:pt x="2523" y="947"/>
                  </a:cubicBezTo>
                  <a:cubicBezTo>
                    <a:pt x="2524" y="962"/>
                    <a:pt x="2511" y="974"/>
                    <a:pt x="2495" y="974"/>
                  </a:cubicBezTo>
                  <a:cubicBezTo>
                    <a:pt x="2478" y="975"/>
                    <a:pt x="2465" y="963"/>
                    <a:pt x="2464" y="948"/>
                  </a:cubicBezTo>
                  <a:close/>
                  <a:moveTo>
                    <a:pt x="2540" y="994"/>
                  </a:moveTo>
                  <a:cubicBezTo>
                    <a:pt x="2556" y="994"/>
                    <a:pt x="2570" y="1006"/>
                    <a:pt x="2571" y="1021"/>
                  </a:cubicBezTo>
                  <a:cubicBezTo>
                    <a:pt x="2571" y="1036"/>
                    <a:pt x="2558" y="1048"/>
                    <a:pt x="2542" y="1049"/>
                  </a:cubicBezTo>
                  <a:cubicBezTo>
                    <a:pt x="2525" y="1049"/>
                    <a:pt x="2511" y="1037"/>
                    <a:pt x="2511" y="1022"/>
                  </a:cubicBezTo>
                  <a:cubicBezTo>
                    <a:pt x="2510" y="1007"/>
                    <a:pt x="2523" y="995"/>
                    <a:pt x="2540" y="994"/>
                  </a:cubicBezTo>
                  <a:close/>
                  <a:moveTo>
                    <a:pt x="2557" y="946"/>
                  </a:moveTo>
                  <a:cubicBezTo>
                    <a:pt x="2556" y="931"/>
                    <a:pt x="2569" y="919"/>
                    <a:pt x="2585" y="918"/>
                  </a:cubicBezTo>
                  <a:cubicBezTo>
                    <a:pt x="2601" y="918"/>
                    <a:pt x="2615" y="930"/>
                    <a:pt x="2616" y="945"/>
                  </a:cubicBezTo>
                  <a:cubicBezTo>
                    <a:pt x="2617" y="960"/>
                    <a:pt x="2604" y="972"/>
                    <a:pt x="2588" y="973"/>
                  </a:cubicBezTo>
                  <a:cubicBezTo>
                    <a:pt x="2571" y="973"/>
                    <a:pt x="2557" y="961"/>
                    <a:pt x="2557" y="946"/>
                  </a:cubicBezTo>
                  <a:close/>
                  <a:moveTo>
                    <a:pt x="2633" y="992"/>
                  </a:moveTo>
                  <a:cubicBezTo>
                    <a:pt x="2649" y="992"/>
                    <a:pt x="2664" y="1004"/>
                    <a:pt x="2664" y="1019"/>
                  </a:cubicBezTo>
                  <a:cubicBezTo>
                    <a:pt x="2665" y="1034"/>
                    <a:pt x="2653" y="1046"/>
                    <a:pt x="2636" y="1047"/>
                  </a:cubicBezTo>
                  <a:cubicBezTo>
                    <a:pt x="2619" y="1047"/>
                    <a:pt x="2605" y="1035"/>
                    <a:pt x="2605" y="1020"/>
                  </a:cubicBezTo>
                  <a:cubicBezTo>
                    <a:pt x="2604" y="1005"/>
                    <a:pt x="2616" y="993"/>
                    <a:pt x="2633" y="992"/>
                  </a:cubicBezTo>
                  <a:close/>
                  <a:moveTo>
                    <a:pt x="2677" y="916"/>
                  </a:moveTo>
                  <a:cubicBezTo>
                    <a:pt x="2694" y="916"/>
                    <a:pt x="2708" y="927"/>
                    <a:pt x="2709" y="942"/>
                  </a:cubicBezTo>
                  <a:cubicBezTo>
                    <a:pt x="2710" y="957"/>
                    <a:pt x="2697" y="970"/>
                    <a:pt x="2681" y="970"/>
                  </a:cubicBezTo>
                  <a:cubicBezTo>
                    <a:pt x="2664" y="971"/>
                    <a:pt x="2650" y="959"/>
                    <a:pt x="2650" y="944"/>
                  </a:cubicBezTo>
                  <a:cubicBezTo>
                    <a:pt x="2649" y="929"/>
                    <a:pt x="2661" y="917"/>
                    <a:pt x="2677" y="916"/>
                  </a:cubicBezTo>
                  <a:close/>
                  <a:moveTo>
                    <a:pt x="2726" y="990"/>
                  </a:moveTo>
                  <a:cubicBezTo>
                    <a:pt x="2743" y="989"/>
                    <a:pt x="2757" y="1001"/>
                    <a:pt x="2758" y="1016"/>
                  </a:cubicBezTo>
                  <a:cubicBezTo>
                    <a:pt x="2759" y="1031"/>
                    <a:pt x="2747" y="1043"/>
                    <a:pt x="2730" y="1044"/>
                  </a:cubicBezTo>
                  <a:cubicBezTo>
                    <a:pt x="2714" y="1044"/>
                    <a:pt x="2699" y="1033"/>
                    <a:pt x="2698" y="1018"/>
                  </a:cubicBezTo>
                  <a:cubicBezTo>
                    <a:pt x="2697" y="1003"/>
                    <a:pt x="2710" y="990"/>
                    <a:pt x="2726" y="990"/>
                  </a:cubicBezTo>
                  <a:close/>
                  <a:moveTo>
                    <a:pt x="2770" y="913"/>
                  </a:moveTo>
                  <a:cubicBezTo>
                    <a:pt x="2786" y="913"/>
                    <a:pt x="2800" y="924"/>
                    <a:pt x="2801" y="939"/>
                  </a:cubicBezTo>
                  <a:cubicBezTo>
                    <a:pt x="2803" y="954"/>
                    <a:pt x="2790" y="967"/>
                    <a:pt x="2774" y="967"/>
                  </a:cubicBezTo>
                  <a:cubicBezTo>
                    <a:pt x="2758" y="968"/>
                    <a:pt x="2743" y="956"/>
                    <a:pt x="2742" y="941"/>
                  </a:cubicBezTo>
                  <a:cubicBezTo>
                    <a:pt x="2741" y="926"/>
                    <a:pt x="2753" y="914"/>
                    <a:pt x="2770" y="913"/>
                  </a:cubicBezTo>
                  <a:close/>
                  <a:moveTo>
                    <a:pt x="2820" y="986"/>
                  </a:moveTo>
                  <a:cubicBezTo>
                    <a:pt x="2836" y="986"/>
                    <a:pt x="2851" y="997"/>
                    <a:pt x="2852" y="1012"/>
                  </a:cubicBezTo>
                  <a:cubicBezTo>
                    <a:pt x="2853" y="1027"/>
                    <a:pt x="2841" y="1040"/>
                    <a:pt x="2824" y="1040"/>
                  </a:cubicBezTo>
                  <a:cubicBezTo>
                    <a:pt x="2808" y="1041"/>
                    <a:pt x="2793" y="1029"/>
                    <a:pt x="2792" y="1014"/>
                  </a:cubicBezTo>
                  <a:cubicBezTo>
                    <a:pt x="2791" y="999"/>
                    <a:pt x="2803" y="987"/>
                    <a:pt x="2820" y="986"/>
                  </a:cubicBezTo>
                  <a:close/>
                  <a:moveTo>
                    <a:pt x="2876" y="1061"/>
                  </a:moveTo>
                  <a:cubicBezTo>
                    <a:pt x="2893" y="1061"/>
                    <a:pt x="2908" y="1072"/>
                    <a:pt x="2909" y="1087"/>
                  </a:cubicBezTo>
                  <a:cubicBezTo>
                    <a:pt x="2911" y="1102"/>
                    <a:pt x="2898" y="1115"/>
                    <a:pt x="2881" y="1116"/>
                  </a:cubicBezTo>
                  <a:cubicBezTo>
                    <a:pt x="2865" y="1116"/>
                    <a:pt x="2850" y="1105"/>
                    <a:pt x="2848" y="1090"/>
                  </a:cubicBezTo>
                  <a:cubicBezTo>
                    <a:pt x="2847" y="1075"/>
                    <a:pt x="2860" y="1062"/>
                    <a:pt x="2876" y="1061"/>
                  </a:cubicBezTo>
                  <a:close/>
                  <a:moveTo>
                    <a:pt x="2913" y="982"/>
                  </a:moveTo>
                  <a:cubicBezTo>
                    <a:pt x="2930" y="981"/>
                    <a:pt x="2944" y="993"/>
                    <a:pt x="2946" y="1008"/>
                  </a:cubicBezTo>
                  <a:cubicBezTo>
                    <a:pt x="2947" y="1023"/>
                    <a:pt x="2935" y="1036"/>
                    <a:pt x="2919" y="1036"/>
                  </a:cubicBezTo>
                  <a:cubicBezTo>
                    <a:pt x="2902" y="1037"/>
                    <a:pt x="2887" y="1026"/>
                    <a:pt x="2886" y="1011"/>
                  </a:cubicBezTo>
                  <a:cubicBezTo>
                    <a:pt x="2885" y="996"/>
                    <a:pt x="2897" y="983"/>
                    <a:pt x="2913" y="982"/>
                  </a:cubicBezTo>
                  <a:close/>
                  <a:moveTo>
                    <a:pt x="2971" y="1057"/>
                  </a:moveTo>
                  <a:cubicBezTo>
                    <a:pt x="2987" y="1056"/>
                    <a:pt x="3002" y="1067"/>
                    <a:pt x="3004" y="1082"/>
                  </a:cubicBezTo>
                  <a:cubicBezTo>
                    <a:pt x="3006" y="1097"/>
                    <a:pt x="2994" y="1110"/>
                    <a:pt x="2977" y="1111"/>
                  </a:cubicBezTo>
                  <a:cubicBezTo>
                    <a:pt x="2960" y="1112"/>
                    <a:pt x="2945" y="1100"/>
                    <a:pt x="2943" y="1085"/>
                  </a:cubicBezTo>
                  <a:cubicBezTo>
                    <a:pt x="2942" y="1071"/>
                    <a:pt x="2954" y="1058"/>
                    <a:pt x="2971" y="1057"/>
                  </a:cubicBezTo>
                  <a:close/>
                  <a:moveTo>
                    <a:pt x="3007" y="977"/>
                  </a:moveTo>
                  <a:cubicBezTo>
                    <a:pt x="3023" y="977"/>
                    <a:pt x="3038" y="988"/>
                    <a:pt x="3040" y="1003"/>
                  </a:cubicBezTo>
                  <a:cubicBezTo>
                    <a:pt x="3041" y="1018"/>
                    <a:pt x="3029" y="1031"/>
                    <a:pt x="3013" y="1032"/>
                  </a:cubicBezTo>
                  <a:cubicBezTo>
                    <a:pt x="2996" y="1032"/>
                    <a:pt x="2981" y="1021"/>
                    <a:pt x="2980" y="1006"/>
                  </a:cubicBezTo>
                  <a:cubicBezTo>
                    <a:pt x="2978" y="991"/>
                    <a:pt x="2990" y="978"/>
                    <a:pt x="3007" y="977"/>
                  </a:cubicBezTo>
                  <a:close/>
                  <a:moveTo>
                    <a:pt x="3065" y="1052"/>
                  </a:moveTo>
                  <a:cubicBezTo>
                    <a:pt x="3082" y="1051"/>
                    <a:pt x="3097" y="1062"/>
                    <a:pt x="3099" y="1077"/>
                  </a:cubicBezTo>
                  <a:cubicBezTo>
                    <a:pt x="3101" y="1092"/>
                    <a:pt x="3089" y="1105"/>
                    <a:pt x="3072" y="1106"/>
                  </a:cubicBezTo>
                  <a:cubicBezTo>
                    <a:pt x="3055" y="1107"/>
                    <a:pt x="3040" y="1095"/>
                    <a:pt x="3038" y="1080"/>
                  </a:cubicBezTo>
                  <a:cubicBezTo>
                    <a:pt x="3037" y="1066"/>
                    <a:pt x="3049" y="1053"/>
                    <a:pt x="3065" y="1052"/>
                  </a:cubicBezTo>
                  <a:close/>
                  <a:moveTo>
                    <a:pt x="3120" y="1123"/>
                  </a:moveTo>
                  <a:cubicBezTo>
                    <a:pt x="3137" y="1122"/>
                    <a:pt x="3152" y="1133"/>
                    <a:pt x="3154" y="1148"/>
                  </a:cubicBezTo>
                  <a:cubicBezTo>
                    <a:pt x="3156" y="1163"/>
                    <a:pt x="3144" y="1176"/>
                    <a:pt x="3127" y="1177"/>
                  </a:cubicBezTo>
                  <a:cubicBezTo>
                    <a:pt x="3110" y="1178"/>
                    <a:pt x="3095" y="1167"/>
                    <a:pt x="3093" y="1152"/>
                  </a:cubicBezTo>
                  <a:cubicBezTo>
                    <a:pt x="3091" y="1137"/>
                    <a:pt x="3103" y="1124"/>
                    <a:pt x="3120" y="1123"/>
                  </a:cubicBezTo>
                  <a:close/>
                  <a:moveTo>
                    <a:pt x="3160" y="1046"/>
                  </a:moveTo>
                  <a:cubicBezTo>
                    <a:pt x="3177" y="1045"/>
                    <a:pt x="3192" y="1056"/>
                    <a:pt x="3194" y="1071"/>
                  </a:cubicBezTo>
                  <a:cubicBezTo>
                    <a:pt x="3196" y="1086"/>
                    <a:pt x="3184" y="1099"/>
                    <a:pt x="3167" y="1100"/>
                  </a:cubicBezTo>
                  <a:cubicBezTo>
                    <a:pt x="3151" y="1101"/>
                    <a:pt x="3135" y="1090"/>
                    <a:pt x="3133" y="1075"/>
                  </a:cubicBezTo>
                  <a:cubicBezTo>
                    <a:pt x="3131" y="1060"/>
                    <a:pt x="3143" y="1047"/>
                    <a:pt x="3160" y="1046"/>
                  </a:cubicBezTo>
                  <a:close/>
                  <a:moveTo>
                    <a:pt x="3216" y="1117"/>
                  </a:moveTo>
                  <a:cubicBezTo>
                    <a:pt x="3232" y="1116"/>
                    <a:pt x="3248" y="1127"/>
                    <a:pt x="3250" y="1142"/>
                  </a:cubicBezTo>
                  <a:cubicBezTo>
                    <a:pt x="3253" y="1157"/>
                    <a:pt x="3241" y="1170"/>
                    <a:pt x="3224" y="1171"/>
                  </a:cubicBezTo>
                  <a:cubicBezTo>
                    <a:pt x="3207" y="1172"/>
                    <a:pt x="3191" y="1161"/>
                    <a:pt x="3189" y="1146"/>
                  </a:cubicBezTo>
                  <a:cubicBezTo>
                    <a:pt x="3187" y="1131"/>
                    <a:pt x="3199" y="1118"/>
                    <a:pt x="3216" y="1117"/>
                  </a:cubicBezTo>
                  <a:close/>
                  <a:moveTo>
                    <a:pt x="3254" y="1039"/>
                  </a:moveTo>
                  <a:cubicBezTo>
                    <a:pt x="3271" y="1038"/>
                    <a:pt x="3286" y="1049"/>
                    <a:pt x="3289" y="1064"/>
                  </a:cubicBezTo>
                  <a:cubicBezTo>
                    <a:pt x="3291" y="1079"/>
                    <a:pt x="3280" y="1092"/>
                    <a:pt x="3263" y="1093"/>
                  </a:cubicBezTo>
                  <a:cubicBezTo>
                    <a:pt x="3246" y="1094"/>
                    <a:pt x="3231" y="1083"/>
                    <a:pt x="3228" y="1068"/>
                  </a:cubicBezTo>
                  <a:cubicBezTo>
                    <a:pt x="3226" y="1054"/>
                    <a:pt x="3238" y="1041"/>
                    <a:pt x="3254" y="1039"/>
                  </a:cubicBezTo>
                  <a:close/>
                  <a:moveTo>
                    <a:pt x="3311" y="1110"/>
                  </a:moveTo>
                  <a:cubicBezTo>
                    <a:pt x="3328" y="1109"/>
                    <a:pt x="3344" y="1120"/>
                    <a:pt x="3346" y="1134"/>
                  </a:cubicBezTo>
                  <a:cubicBezTo>
                    <a:pt x="3349" y="1149"/>
                    <a:pt x="3337" y="1162"/>
                    <a:pt x="3320" y="1164"/>
                  </a:cubicBezTo>
                  <a:cubicBezTo>
                    <a:pt x="3303" y="1165"/>
                    <a:pt x="3287" y="1154"/>
                    <a:pt x="3285" y="1139"/>
                  </a:cubicBezTo>
                  <a:cubicBezTo>
                    <a:pt x="3283" y="1124"/>
                    <a:pt x="3294" y="1111"/>
                    <a:pt x="3311" y="1110"/>
                  </a:cubicBezTo>
                  <a:close/>
                  <a:moveTo>
                    <a:pt x="3372" y="1285"/>
                  </a:moveTo>
                  <a:cubicBezTo>
                    <a:pt x="3374" y="1300"/>
                    <a:pt x="3362" y="1313"/>
                    <a:pt x="3345" y="1314"/>
                  </a:cubicBezTo>
                  <a:cubicBezTo>
                    <a:pt x="3327" y="1316"/>
                    <a:pt x="3311" y="1305"/>
                    <a:pt x="3309" y="1290"/>
                  </a:cubicBezTo>
                  <a:cubicBezTo>
                    <a:pt x="3307" y="1275"/>
                    <a:pt x="3319" y="1262"/>
                    <a:pt x="3336" y="1260"/>
                  </a:cubicBezTo>
                  <a:cubicBezTo>
                    <a:pt x="3353" y="1259"/>
                    <a:pt x="3369" y="1270"/>
                    <a:pt x="3372" y="1285"/>
                  </a:cubicBezTo>
                  <a:close/>
                  <a:moveTo>
                    <a:pt x="3375" y="1182"/>
                  </a:moveTo>
                  <a:cubicBezTo>
                    <a:pt x="3392" y="1181"/>
                    <a:pt x="3408" y="1192"/>
                    <a:pt x="3410" y="1207"/>
                  </a:cubicBezTo>
                  <a:cubicBezTo>
                    <a:pt x="3413" y="1222"/>
                    <a:pt x="3401" y="1235"/>
                    <a:pt x="3384" y="1236"/>
                  </a:cubicBezTo>
                  <a:cubicBezTo>
                    <a:pt x="3367" y="1238"/>
                    <a:pt x="3351" y="1227"/>
                    <a:pt x="3348" y="1212"/>
                  </a:cubicBezTo>
                  <a:cubicBezTo>
                    <a:pt x="3346" y="1197"/>
                    <a:pt x="3358" y="1184"/>
                    <a:pt x="3375" y="1182"/>
                  </a:cubicBezTo>
                  <a:close/>
                  <a:moveTo>
                    <a:pt x="3434" y="1252"/>
                  </a:moveTo>
                  <a:cubicBezTo>
                    <a:pt x="3451" y="1251"/>
                    <a:pt x="3467" y="1262"/>
                    <a:pt x="3470" y="1277"/>
                  </a:cubicBezTo>
                  <a:cubicBezTo>
                    <a:pt x="3473" y="1291"/>
                    <a:pt x="3461" y="1305"/>
                    <a:pt x="3443" y="1306"/>
                  </a:cubicBezTo>
                  <a:cubicBezTo>
                    <a:pt x="3426" y="1308"/>
                    <a:pt x="3410" y="1297"/>
                    <a:pt x="3407" y="1282"/>
                  </a:cubicBezTo>
                  <a:cubicBezTo>
                    <a:pt x="3405" y="1267"/>
                    <a:pt x="3417" y="1254"/>
                    <a:pt x="3434" y="1252"/>
                  </a:cubicBezTo>
                  <a:close/>
                  <a:moveTo>
                    <a:pt x="3471" y="1174"/>
                  </a:moveTo>
                  <a:cubicBezTo>
                    <a:pt x="3489" y="1173"/>
                    <a:pt x="3505" y="1183"/>
                    <a:pt x="3507" y="1198"/>
                  </a:cubicBezTo>
                  <a:cubicBezTo>
                    <a:pt x="3510" y="1213"/>
                    <a:pt x="3499" y="1226"/>
                    <a:pt x="3482" y="1228"/>
                  </a:cubicBezTo>
                  <a:cubicBezTo>
                    <a:pt x="3464" y="1229"/>
                    <a:pt x="3448" y="1219"/>
                    <a:pt x="3446" y="1204"/>
                  </a:cubicBezTo>
                  <a:cubicBezTo>
                    <a:pt x="3443" y="1189"/>
                    <a:pt x="3454" y="1176"/>
                    <a:pt x="3471" y="1174"/>
                  </a:cubicBezTo>
                  <a:close/>
                  <a:moveTo>
                    <a:pt x="3532" y="1244"/>
                  </a:moveTo>
                  <a:cubicBezTo>
                    <a:pt x="3549" y="1242"/>
                    <a:pt x="3565" y="1253"/>
                    <a:pt x="3568" y="1267"/>
                  </a:cubicBezTo>
                  <a:cubicBezTo>
                    <a:pt x="3571" y="1282"/>
                    <a:pt x="3560" y="1296"/>
                    <a:pt x="3542" y="1297"/>
                  </a:cubicBezTo>
                  <a:cubicBezTo>
                    <a:pt x="3525" y="1299"/>
                    <a:pt x="3508" y="1288"/>
                    <a:pt x="3506" y="1273"/>
                  </a:cubicBezTo>
                  <a:cubicBezTo>
                    <a:pt x="3503" y="1259"/>
                    <a:pt x="3514" y="1245"/>
                    <a:pt x="3532" y="1244"/>
                  </a:cubicBezTo>
                  <a:close/>
                  <a:moveTo>
                    <a:pt x="3598" y="1417"/>
                  </a:moveTo>
                  <a:cubicBezTo>
                    <a:pt x="3601" y="1432"/>
                    <a:pt x="3589" y="1445"/>
                    <a:pt x="3572" y="1447"/>
                  </a:cubicBezTo>
                  <a:cubicBezTo>
                    <a:pt x="3554" y="1449"/>
                    <a:pt x="3537" y="1438"/>
                    <a:pt x="3534" y="1423"/>
                  </a:cubicBezTo>
                  <a:cubicBezTo>
                    <a:pt x="3531" y="1408"/>
                    <a:pt x="3543" y="1395"/>
                    <a:pt x="3561" y="1394"/>
                  </a:cubicBezTo>
                  <a:cubicBezTo>
                    <a:pt x="3579" y="1392"/>
                    <a:pt x="3595" y="1402"/>
                    <a:pt x="3598" y="1417"/>
                  </a:cubicBezTo>
                  <a:close/>
                  <a:moveTo>
                    <a:pt x="3599" y="1315"/>
                  </a:moveTo>
                  <a:cubicBezTo>
                    <a:pt x="3616" y="1313"/>
                    <a:pt x="3633" y="1324"/>
                    <a:pt x="3636" y="1339"/>
                  </a:cubicBezTo>
                  <a:cubicBezTo>
                    <a:pt x="3639" y="1353"/>
                    <a:pt x="3627" y="1367"/>
                    <a:pt x="3610" y="1368"/>
                  </a:cubicBezTo>
                  <a:cubicBezTo>
                    <a:pt x="3592" y="1370"/>
                    <a:pt x="3575" y="1359"/>
                    <a:pt x="3572" y="1345"/>
                  </a:cubicBezTo>
                  <a:cubicBezTo>
                    <a:pt x="3570" y="1330"/>
                    <a:pt x="3581" y="1317"/>
                    <a:pt x="3599" y="1315"/>
                  </a:cubicBezTo>
                  <a:close/>
                  <a:moveTo>
                    <a:pt x="3661" y="1384"/>
                  </a:moveTo>
                  <a:cubicBezTo>
                    <a:pt x="3679" y="1382"/>
                    <a:pt x="3696" y="1392"/>
                    <a:pt x="3699" y="1407"/>
                  </a:cubicBezTo>
                  <a:cubicBezTo>
                    <a:pt x="3702" y="1422"/>
                    <a:pt x="3690" y="1435"/>
                    <a:pt x="3672" y="1437"/>
                  </a:cubicBezTo>
                  <a:cubicBezTo>
                    <a:pt x="3655" y="1439"/>
                    <a:pt x="3638" y="1428"/>
                    <a:pt x="3635" y="1414"/>
                  </a:cubicBezTo>
                  <a:cubicBezTo>
                    <a:pt x="3632" y="1399"/>
                    <a:pt x="3644" y="1386"/>
                    <a:pt x="3661" y="1384"/>
                  </a:cubicBezTo>
                  <a:close/>
                  <a:moveTo>
                    <a:pt x="3698" y="1305"/>
                  </a:moveTo>
                  <a:cubicBezTo>
                    <a:pt x="3715" y="1303"/>
                    <a:pt x="3732" y="1314"/>
                    <a:pt x="3735" y="1328"/>
                  </a:cubicBezTo>
                  <a:cubicBezTo>
                    <a:pt x="3739" y="1343"/>
                    <a:pt x="3727" y="1356"/>
                    <a:pt x="3709" y="1358"/>
                  </a:cubicBezTo>
                  <a:cubicBezTo>
                    <a:pt x="3692" y="1360"/>
                    <a:pt x="3675" y="1350"/>
                    <a:pt x="3672" y="1335"/>
                  </a:cubicBezTo>
                  <a:cubicBezTo>
                    <a:pt x="3669" y="1320"/>
                    <a:pt x="3680" y="1307"/>
                    <a:pt x="3698" y="1305"/>
                  </a:cubicBezTo>
                  <a:close/>
                  <a:moveTo>
                    <a:pt x="3761" y="1373"/>
                  </a:moveTo>
                  <a:cubicBezTo>
                    <a:pt x="3779" y="1371"/>
                    <a:pt x="3796" y="1382"/>
                    <a:pt x="3799" y="1396"/>
                  </a:cubicBezTo>
                  <a:cubicBezTo>
                    <a:pt x="3803" y="1411"/>
                    <a:pt x="3791" y="1424"/>
                    <a:pt x="3773" y="1426"/>
                  </a:cubicBezTo>
                  <a:cubicBezTo>
                    <a:pt x="3756" y="1428"/>
                    <a:pt x="3738" y="1418"/>
                    <a:pt x="3735" y="1403"/>
                  </a:cubicBezTo>
                  <a:cubicBezTo>
                    <a:pt x="3732" y="1389"/>
                    <a:pt x="3744" y="1375"/>
                    <a:pt x="3761" y="1373"/>
                  </a:cubicBezTo>
                  <a:close/>
                  <a:moveTo>
                    <a:pt x="3834" y="1545"/>
                  </a:moveTo>
                  <a:cubicBezTo>
                    <a:pt x="3838" y="1560"/>
                    <a:pt x="3826" y="1573"/>
                    <a:pt x="3807" y="1575"/>
                  </a:cubicBezTo>
                  <a:cubicBezTo>
                    <a:pt x="3789" y="1577"/>
                    <a:pt x="3772" y="1567"/>
                    <a:pt x="3768" y="1552"/>
                  </a:cubicBezTo>
                  <a:cubicBezTo>
                    <a:pt x="3765" y="1538"/>
                    <a:pt x="3777" y="1524"/>
                    <a:pt x="3795" y="1522"/>
                  </a:cubicBezTo>
                  <a:cubicBezTo>
                    <a:pt x="3813" y="1520"/>
                    <a:pt x="3831" y="1531"/>
                    <a:pt x="3834" y="1545"/>
                  </a:cubicBezTo>
                  <a:close/>
                  <a:moveTo>
                    <a:pt x="3832" y="1443"/>
                  </a:moveTo>
                  <a:cubicBezTo>
                    <a:pt x="3850" y="1441"/>
                    <a:pt x="3867" y="1451"/>
                    <a:pt x="3870" y="1466"/>
                  </a:cubicBezTo>
                  <a:cubicBezTo>
                    <a:pt x="3874" y="1481"/>
                    <a:pt x="3862" y="1494"/>
                    <a:pt x="3844" y="1496"/>
                  </a:cubicBezTo>
                  <a:cubicBezTo>
                    <a:pt x="3826" y="1498"/>
                    <a:pt x="3809" y="1488"/>
                    <a:pt x="3806" y="1473"/>
                  </a:cubicBezTo>
                  <a:cubicBezTo>
                    <a:pt x="3802" y="1459"/>
                    <a:pt x="3814" y="1445"/>
                    <a:pt x="3832" y="1443"/>
                  </a:cubicBezTo>
                  <a:close/>
                  <a:moveTo>
                    <a:pt x="3861" y="1362"/>
                  </a:moveTo>
                  <a:cubicBezTo>
                    <a:pt x="3879" y="1360"/>
                    <a:pt x="3896" y="1370"/>
                    <a:pt x="3900" y="1385"/>
                  </a:cubicBezTo>
                  <a:cubicBezTo>
                    <a:pt x="3903" y="1399"/>
                    <a:pt x="3892" y="1413"/>
                    <a:pt x="3874" y="1415"/>
                  </a:cubicBezTo>
                  <a:cubicBezTo>
                    <a:pt x="3856" y="1417"/>
                    <a:pt x="3839" y="1407"/>
                    <a:pt x="3836" y="1392"/>
                  </a:cubicBezTo>
                  <a:cubicBezTo>
                    <a:pt x="3832" y="1378"/>
                    <a:pt x="3844" y="1364"/>
                    <a:pt x="3861" y="1362"/>
                  </a:cubicBezTo>
                  <a:close/>
                  <a:moveTo>
                    <a:pt x="3937" y="1533"/>
                  </a:moveTo>
                  <a:cubicBezTo>
                    <a:pt x="3940" y="1548"/>
                    <a:pt x="3929" y="1562"/>
                    <a:pt x="3910" y="1564"/>
                  </a:cubicBezTo>
                  <a:cubicBezTo>
                    <a:pt x="3892" y="1566"/>
                    <a:pt x="3875" y="1556"/>
                    <a:pt x="3871" y="1541"/>
                  </a:cubicBezTo>
                  <a:cubicBezTo>
                    <a:pt x="3868" y="1526"/>
                    <a:pt x="3879" y="1513"/>
                    <a:pt x="3898" y="1511"/>
                  </a:cubicBezTo>
                  <a:cubicBezTo>
                    <a:pt x="3916" y="1508"/>
                    <a:pt x="3933" y="1519"/>
                    <a:pt x="3937" y="1533"/>
                  </a:cubicBezTo>
                  <a:close/>
                  <a:moveTo>
                    <a:pt x="3933" y="1431"/>
                  </a:moveTo>
                  <a:cubicBezTo>
                    <a:pt x="3951" y="1429"/>
                    <a:pt x="3968" y="1439"/>
                    <a:pt x="3972" y="1454"/>
                  </a:cubicBezTo>
                  <a:cubicBezTo>
                    <a:pt x="3976" y="1468"/>
                    <a:pt x="3964" y="1482"/>
                    <a:pt x="3946" y="1484"/>
                  </a:cubicBezTo>
                  <a:cubicBezTo>
                    <a:pt x="3928" y="1486"/>
                    <a:pt x="3911" y="1476"/>
                    <a:pt x="3907" y="1462"/>
                  </a:cubicBezTo>
                  <a:cubicBezTo>
                    <a:pt x="3904" y="1447"/>
                    <a:pt x="3915" y="1433"/>
                    <a:pt x="3933" y="1431"/>
                  </a:cubicBezTo>
                  <a:close/>
                  <a:moveTo>
                    <a:pt x="3961" y="1350"/>
                  </a:moveTo>
                  <a:cubicBezTo>
                    <a:pt x="3979" y="1348"/>
                    <a:pt x="3996" y="1358"/>
                    <a:pt x="4000" y="1372"/>
                  </a:cubicBezTo>
                  <a:cubicBezTo>
                    <a:pt x="4004" y="1387"/>
                    <a:pt x="3993" y="1401"/>
                    <a:pt x="3975" y="1403"/>
                  </a:cubicBezTo>
                  <a:cubicBezTo>
                    <a:pt x="3957" y="1405"/>
                    <a:pt x="3940" y="1395"/>
                    <a:pt x="3936" y="1380"/>
                  </a:cubicBezTo>
                  <a:cubicBezTo>
                    <a:pt x="3932" y="1366"/>
                    <a:pt x="3944" y="1352"/>
                    <a:pt x="3961" y="1350"/>
                  </a:cubicBezTo>
                  <a:close/>
                  <a:moveTo>
                    <a:pt x="4039" y="1521"/>
                  </a:moveTo>
                  <a:cubicBezTo>
                    <a:pt x="4043" y="1535"/>
                    <a:pt x="4032" y="1549"/>
                    <a:pt x="4014" y="1551"/>
                  </a:cubicBezTo>
                  <a:cubicBezTo>
                    <a:pt x="3995" y="1553"/>
                    <a:pt x="3978" y="1543"/>
                    <a:pt x="3974" y="1529"/>
                  </a:cubicBezTo>
                  <a:cubicBezTo>
                    <a:pt x="3970" y="1514"/>
                    <a:pt x="3982" y="1500"/>
                    <a:pt x="4000" y="1498"/>
                  </a:cubicBezTo>
                  <a:cubicBezTo>
                    <a:pt x="4018" y="1496"/>
                    <a:pt x="4035" y="1506"/>
                    <a:pt x="4039" y="1521"/>
                  </a:cubicBezTo>
                  <a:close/>
                  <a:moveTo>
                    <a:pt x="4034" y="1419"/>
                  </a:moveTo>
                  <a:cubicBezTo>
                    <a:pt x="4052" y="1416"/>
                    <a:pt x="4069" y="1426"/>
                    <a:pt x="4073" y="1441"/>
                  </a:cubicBezTo>
                  <a:cubicBezTo>
                    <a:pt x="4077" y="1456"/>
                    <a:pt x="4066" y="1469"/>
                    <a:pt x="4048" y="1472"/>
                  </a:cubicBezTo>
                  <a:cubicBezTo>
                    <a:pt x="4030" y="1474"/>
                    <a:pt x="4013" y="1464"/>
                    <a:pt x="4009" y="1449"/>
                  </a:cubicBezTo>
                  <a:cubicBezTo>
                    <a:pt x="4005" y="1435"/>
                    <a:pt x="4016" y="1421"/>
                    <a:pt x="4034" y="1419"/>
                  </a:cubicBezTo>
                  <a:close/>
                  <a:moveTo>
                    <a:pt x="4061" y="1337"/>
                  </a:moveTo>
                  <a:cubicBezTo>
                    <a:pt x="4079" y="1335"/>
                    <a:pt x="4096" y="1345"/>
                    <a:pt x="4100" y="1359"/>
                  </a:cubicBezTo>
                  <a:cubicBezTo>
                    <a:pt x="4104" y="1374"/>
                    <a:pt x="4093" y="1388"/>
                    <a:pt x="4076" y="1390"/>
                  </a:cubicBezTo>
                  <a:cubicBezTo>
                    <a:pt x="4058" y="1392"/>
                    <a:pt x="4040" y="1382"/>
                    <a:pt x="4036" y="1368"/>
                  </a:cubicBezTo>
                  <a:cubicBezTo>
                    <a:pt x="4032" y="1353"/>
                    <a:pt x="4043" y="1340"/>
                    <a:pt x="4061" y="1337"/>
                  </a:cubicBezTo>
                  <a:close/>
                  <a:moveTo>
                    <a:pt x="4102" y="1485"/>
                  </a:moveTo>
                  <a:cubicBezTo>
                    <a:pt x="4120" y="1483"/>
                    <a:pt x="4138" y="1493"/>
                    <a:pt x="4142" y="1507"/>
                  </a:cubicBezTo>
                  <a:cubicBezTo>
                    <a:pt x="4146" y="1522"/>
                    <a:pt x="4135" y="1535"/>
                    <a:pt x="4117" y="1538"/>
                  </a:cubicBezTo>
                  <a:cubicBezTo>
                    <a:pt x="4098" y="1540"/>
                    <a:pt x="4080" y="1530"/>
                    <a:pt x="4076" y="1516"/>
                  </a:cubicBezTo>
                  <a:cubicBezTo>
                    <a:pt x="4073" y="1501"/>
                    <a:pt x="4084" y="1487"/>
                    <a:pt x="4102" y="1485"/>
                  </a:cubicBezTo>
                  <a:close/>
                  <a:moveTo>
                    <a:pt x="4135" y="1405"/>
                  </a:moveTo>
                  <a:cubicBezTo>
                    <a:pt x="4153" y="1403"/>
                    <a:pt x="4171" y="1413"/>
                    <a:pt x="4175" y="1427"/>
                  </a:cubicBezTo>
                  <a:cubicBezTo>
                    <a:pt x="4179" y="1442"/>
                    <a:pt x="4168" y="1456"/>
                    <a:pt x="4150" y="1458"/>
                  </a:cubicBezTo>
                  <a:cubicBezTo>
                    <a:pt x="4132" y="1461"/>
                    <a:pt x="4114" y="1451"/>
                    <a:pt x="4110" y="1436"/>
                  </a:cubicBezTo>
                  <a:cubicBezTo>
                    <a:pt x="4106" y="1422"/>
                    <a:pt x="4117" y="1408"/>
                    <a:pt x="4135" y="1405"/>
                  </a:cubicBezTo>
                  <a:close/>
                  <a:moveTo>
                    <a:pt x="4177" y="1553"/>
                  </a:moveTo>
                  <a:cubicBezTo>
                    <a:pt x="4195" y="1551"/>
                    <a:pt x="4213" y="1560"/>
                    <a:pt x="4218" y="1575"/>
                  </a:cubicBezTo>
                  <a:cubicBezTo>
                    <a:pt x="4222" y="1589"/>
                    <a:pt x="4210" y="1603"/>
                    <a:pt x="4192" y="1606"/>
                  </a:cubicBezTo>
                  <a:cubicBezTo>
                    <a:pt x="4174" y="1608"/>
                    <a:pt x="4156" y="1598"/>
                    <a:pt x="4152" y="1584"/>
                  </a:cubicBezTo>
                  <a:cubicBezTo>
                    <a:pt x="4147" y="1569"/>
                    <a:pt x="4159" y="1555"/>
                    <a:pt x="4177" y="1553"/>
                  </a:cubicBezTo>
                  <a:close/>
                  <a:moveTo>
                    <a:pt x="4204" y="1471"/>
                  </a:moveTo>
                  <a:cubicBezTo>
                    <a:pt x="4222" y="1469"/>
                    <a:pt x="4240" y="1478"/>
                    <a:pt x="4244" y="1493"/>
                  </a:cubicBezTo>
                  <a:cubicBezTo>
                    <a:pt x="4249" y="1507"/>
                    <a:pt x="4238" y="1521"/>
                    <a:pt x="4219" y="1524"/>
                  </a:cubicBezTo>
                  <a:cubicBezTo>
                    <a:pt x="4201" y="1526"/>
                    <a:pt x="4183" y="1517"/>
                    <a:pt x="4179" y="1502"/>
                  </a:cubicBezTo>
                  <a:cubicBezTo>
                    <a:pt x="4175" y="1488"/>
                    <a:pt x="4186" y="1474"/>
                    <a:pt x="4204" y="1471"/>
                  </a:cubicBezTo>
                  <a:close/>
                  <a:moveTo>
                    <a:pt x="4236" y="1391"/>
                  </a:moveTo>
                  <a:cubicBezTo>
                    <a:pt x="4254" y="1389"/>
                    <a:pt x="4272" y="1399"/>
                    <a:pt x="4276" y="1413"/>
                  </a:cubicBezTo>
                  <a:cubicBezTo>
                    <a:pt x="4281" y="1428"/>
                    <a:pt x="4270" y="1441"/>
                    <a:pt x="4252" y="1444"/>
                  </a:cubicBezTo>
                  <a:cubicBezTo>
                    <a:pt x="4234" y="1446"/>
                    <a:pt x="4216" y="1437"/>
                    <a:pt x="4211" y="1422"/>
                  </a:cubicBezTo>
                  <a:cubicBezTo>
                    <a:pt x="4207" y="1408"/>
                    <a:pt x="4218" y="1394"/>
                    <a:pt x="4236" y="1391"/>
                  </a:cubicBezTo>
                  <a:close/>
                  <a:moveTo>
                    <a:pt x="4280" y="1539"/>
                  </a:moveTo>
                  <a:cubicBezTo>
                    <a:pt x="4298" y="1536"/>
                    <a:pt x="4317" y="1545"/>
                    <a:pt x="4321" y="1560"/>
                  </a:cubicBezTo>
                  <a:cubicBezTo>
                    <a:pt x="4326" y="1574"/>
                    <a:pt x="4315" y="1588"/>
                    <a:pt x="4296" y="1591"/>
                  </a:cubicBezTo>
                  <a:cubicBezTo>
                    <a:pt x="4278" y="1594"/>
                    <a:pt x="4259" y="1584"/>
                    <a:pt x="4255" y="1569"/>
                  </a:cubicBezTo>
                  <a:cubicBezTo>
                    <a:pt x="4251" y="1555"/>
                    <a:pt x="4262" y="1541"/>
                    <a:pt x="4280" y="1539"/>
                  </a:cubicBezTo>
                  <a:close/>
                  <a:moveTo>
                    <a:pt x="4306" y="1457"/>
                  </a:moveTo>
                  <a:cubicBezTo>
                    <a:pt x="4324" y="1454"/>
                    <a:pt x="4342" y="1464"/>
                    <a:pt x="4347" y="1478"/>
                  </a:cubicBezTo>
                  <a:cubicBezTo>
                    <a:pt x="4351" y="1493"/>
                    <a:pt x="4340" y="1506"/>
                    <a:pt x="4322" y="1509"/>
                  </a:cubicBezTo>
                  <a:cubicBezTo>
                    <a:pt x="4304" y="1512"/>
                    <a:pt x="4286" y="1502"/>
                    <a:pt x="4281" y="1488"/>
                  </a:cubicBezTo>
                  <a:cubicBezTo>
                    <a:pt x="4277" y="1473"/>
                    <a:pt x="4288" y="1459"/>
                    <a:pt x="4306" y="1457"/>
                  </a:cubicBezTo>
                  <a:close/>
                  <a:moveTo>
                    <a:pt x="4337" y="1377"/>
                  </a:moveTo>
                  <a:cubicBezTo>
                    <a:pt x="4354" y="1374"/>
                    <a:pt x="4373" y="1384"/>
                    <a:pt x="4377" y="1398"/>
                  </a:cubicBezTo>
                  <a:cubicBezTo>
                    <a:pt x="4382" y="1412"/>
                    <a:pt x="4371" y="1426"/>
                    <a:pt x="4353" y="1429"/>
                  </a:cubicBezTo>
                  <a:cubicBezTo>
                    <a:pt x="4335" y="1432"/>
                    <a:pt x="4317" y="1422"/>
                    <a:pt x="4313" y="1408"/>
                  </a:cubicBezTo>
                  <a:cubicBezTo>
                    <a:pt x="4308" y="1393"/>
                    <a:pt x="4319" y="1379"/>
                    <a:pt x="4337" y="1377"/>
                  </a:cubicBezTo>
                  <a:close/>
                  <a:moveTo>
                    <a:pt x="4383" y="1523"/>
                  </a:moveTo>
                  <a:cubicBezTo>
                    <a:pt x="4402" y="1521"/>
                    <a:pt x="4420" y="1530"/>
                    <a:pt x="4425" y="1544"/>
                  </a:cubicBezTo>
                  <a:cubicBezTo>
                    <a:pt x="4429" y="1559"/>
                    <a:pt x="4418" y="1573"/>
                    <a:pt x="4400" y="1576"/>
                  </a:cubicBezTo>
                  <a:cubicBezTo>
                    <a:pt x="4382" y="1578"/>
                    <a:pt x="4363" y="1569"/>
                    <a:pt x="4359" y="1554"/>
                  </a:cubicBezTo>
                  <a:cubicBezTo>
                    <a:pt x="4354" y="1540"/>
                    <a:pt x="4365" y="1526"/>
                    <a:pt x="4383" y="1523"/>
                  </a:cubicBezTo>
                  <a:close/>
                  <a:moveTo>
                    <a:pt x="4408" y="1441"/>
                  </a:moveTo>
                  <a:cubicBezTo>
                    <a:pt x="4426" y="1439"/>
                    <a:pt x="4444" y="1448"/>
                    <a:pt x="4449" y="1462"/>
                  </a:cubicBezTo>
                  <a:cubicBezTo>
                    <a:pt x="4454" y="1477"/>
                    <a:pt x="4443" y="1491"/>
                    <a:pt x="4425" y="1494"/>
                  </a:cubicBezTo>
                  <a:cubicBezTo>
                    <a:pt x="4407" y="1496"/>
                    <a:pt x="4388" y="1487"/>
                    <a:pt x="4384" y="1472"/>
                  </a:cubicBezTo>
                  <a:cubicBezTo>
                    <a:pt x="4379" y="1458"/>
                    <a:pt x="4390" y="1444"/>
                    <a:pt x="4408" y="1441"/>
                  </a:cubicBezTo>
                  <a:close/>
                  <a:moveTo>
                    <a:pt x="4437" y="1361"/>
                  </a:moveTo>
                  <a:cubicBezTo>
                    <a:pt x="4455" y="1358"/>
                    <a:pt x="4474" y="1368"/>
                    <a:pt x="4478" y="1382"/>
                  </a:cubicBezTo>
                  <a:cubicBezTo>
                    <a:pt x="4483" y="1397"/>
                    <a:pt x="4473" y="1411"/>
                    <a:pt x="4455" y="1413"/>
                  </a:cubicBezTo>
                  <a:cubicBezTo>
                    <a:pt x="4437" y="1416"/>
                    <a:pt x="4419" y="1407"/>
                    <a:pt x="4414" y="1392"/>
                  </a:cubicBezTo>
                  <a:cubicBezTo>
                    <a:pt x="4409" y="1378"/>
                    <a:pt x="4420" y="1364"/>
                    <a:pt x="4437" y="1361"/>
                  </a:cubicBezTo>
                  <a:close/>
                  <a:moveTo>
                    <a:pt x="4456" y="1588"/>
                  </a:moveTo>
                  <a:cubicBezTo>
                    <a:pt x="4474" y="1585"/>
                    <a:pt x="4493" y="1594"/>
                    <a:pt x="4498" y="1609"/>
                  </a:cubicBezTo>
                  <a:cubicBezTo>
                    <a:pt x="4502" y="1623"/>
                    <a:pt x="4491" y="1637"/>
                    <a:pt x="4473" y="1640"/>
                  </a:cubicBezTo>
                  <a:cubicBezTo>
                    <a:pt x="4454" y="1643"/>
                    <a:pt x="4436" y="1633"/>
                    <a:pt x="4431" y="1619"/>
                  </a:cubicBezTo>
                  <a:cubicBezTo>
                    <a:pt x="4426" y="1605"/>
                    <a:pt x="4437" y="1591"/>
                    <a:pt x="4456" y="1588"/>
                  </a:cubicBezTo>
                  <a:close/>
                  <a:moveTo>
                    <a:pt x="4477" y="1816"/>
                  </a:moveTo>
                  <a:cubicBezTo>
                    <a:pt x="4496" y="1814"/>
                    <a:pt x="4515" y="1823"/>
                    <a:pt x="4520" y="1837"/>
                  </a:cubicBezTo>
                  <a:cubicBezTo>
                    <a:pt x="4524" y="1852"/>
                    <a:pt x="4513" y="1866"/>
                    <a:pt x="4494" y="1869"/>
                  </a:cubicBezTo>
                  <a:cubicBezTo>
                    <a:pt x="4474" y="1872"/>
                    <a:pt x="4455" y="1862"/>
                    <a:pt x="4451" y="1848"/>
                  </a:cubicBezTo>
                  <a:cubicBezTo>
                    <a:pt x="4446" y="1833"/>
                    <a:pt x="4458" y="1819"/>
                    <a:pt x="4477" y="1816"/>
                  </a:cubicBezTo>
                  <a:close/>
                  <a:moveTo>
                    <a:pt x="4532" y="2065"/>
                  </a:moveTo>
                  <a:cubicBezTo>
                    <a:pt x="4536" y="2079"/>
                    <a:pt x="4524" y="2093"/>
                    <a:pt x="4504" y="2096"/>
                  </a:cubicBezTo>
                  <a:cubicBezTo>
                    <a:pt x="4485" y="2099"/>
                    <a:pt x="4465" y="2090"/>
                    <a:pt x="4461" y="2076"/>
                  </a:cubicBezTo>
                  <a:cubicBezTo>
                    <a:pt x="4456" y="2061"/>
                    <a:pt x="4469" y="2047"/>
                    <a:pt x="4488" y="2044"/>
                  </a:cubicBezTo>
                  <a:cubicBezTo>
                    <a:pt x="4508" y="2041"/>
                    <a:pt x="4527" y="2050"/>
                    <a:pt x="4532" y="2065"/>
                  </a:cubicBezTo>
                  <a:close/>
                  <a:moveTo>
                    <a:pt x="4474" y="2179"/>
                  </a:moveTo>
                  <a:cubicBezTo>
                    <a:pt x="4454" y="2182"/>
                    <a:pt x="4434" y="2173"/>
                    <a:pt x="4430" y="2158"/>
                  </a:cubicBezTo>
                  <a:cubicBezTo>
                    <a:pt x="4426" y="2144"/>
                    <a:pt x="4438" y="2130"/>
                    <a:pt x="4458" y="2127"/>
                  </a:cubicBezTo>
                  <a:cubicBezTo>
                    <a:pt x="4478" y="2124"/>
                    <a:pt x="4498" y="2133"/>
                    <a:pt x="4502" y="2148"/>
                  </a:cubicBezTo>
                  <a:cubicBezTo>
                    <a:pt x="4506" y="2162"/>
                    <a:pt x="4494" y="2176"/>
                    <a:pt x="4474" y="2179"/>
                  </a:cubicBezTo>
                  <a:close/>
                  <a:moveTo>
                    <a:pt x="4508" y="2376"/>
                  </a:moveTo>
                  <a:cubicBezTo>
                    <a:pt x="4513" y="2390"/>
                    <a:pt x="4499" y="2405"/>
                    <a:pt x="4479" y="2408"/>
                  </a:cubicBezTo>
                  <a:cubicBezTo>
                    <a:pt x="4458" y="2411"/>
                    <a:pt x="4438" y="2401"/>
                    <a:pt x="4434" y="2387"/>
                  </a:cubicBezTo>
                  <a:cubicBezTo>
                    <a:pt x="4430" y="2372"/>
                    <a:pt x="4443" y="2358"/>
                    <a:pt x="4463" y="2355"/>
                  </a:cubicBezTo>
                  <a:cubicBezTo>
                    <a:pt x="4484" y="2352"/>
                    <a:pt x="4504" y="2361"/>
                    <a:pt x="4508" y="2376"/>
                  </a:cubicBezTo>
                  <a:close/>
                  <a:moveTo>
                    <a:pt x="4445" y="2491"/>
                  </a:moveTo>
                  <a:cubicBezTo>
                    <a:pt x="4424" y="2494"/>
                    <a:pt x="4404" y="2484"/>
                    <a:pt x="4400" y="2470"/>
                  </a:cubicBezTo>
                  <a:cubicBezTo>
                    <a:pt x="4396" y="2455"/>
                    <a:pt x="4409" y="2441"/>
                    <a:pt x="4430" y="2438"/>
                  </a:cubicBezTo>
                  <a:cubicBezTo>
                    <a:pt x="4451" y="2435"/>
                    <a:pt x="4471" y="2445"/>
                    <a:pt x="4475" y="2459"/>
                  </a:cubicBezTo>
                  <a:cubicBezTo>
                    <a:pt x="4479" y="2474"/>
                    <a:pt x="4466" y="2488"/>
                    <a:pt x="4445" y="2491"/>
                  </a:cubicBezTo>
                  <a:close/>
                  <a:moveTo>
                    <a:pt x="4403" y="2572"/>
                  </a:moveTo>
                  <a:cubicBezTo>
                    <a:pt x="4382" y="2575"/>
                    <a:pt x="4362" y="2566"/>
                    <a:pt x="4358" y="2551"/>
                  </a:cubicBezTo>
                  <a:cubicBezTo>
                    <a:pt x="4354" y="2537"/>
                    <a:pt x="4368" y="2522"/>
                    <a:pt x="4388" y="2520"/>
                  </a:cubicBezTo>
                  <a:cubicBezTo>
                    <a:pt x="4409" y="2517"/>
                    <a:pt x="4430" y="2526"/>
                    <a:pt x="4434" y="2541"/>
                  </a:cubicBezTo>
                  <a:cubicBezTo>
                    <a:pt x="4438" y="2555"/>
                    <a:pt x="4424" y="2569"/>
                    <a:pt x="4403" y="2572"/>
                  </a:cubicBezTo>
                  <a:close/>
                  <a:moveTo>
                    <a:pt x="4327" y="2507"/>
                  </a:moveTo>
                  <a:cubicBezTo>
                    <a:pt x="4306" y="2510"/>
                    <a:pt x="4286" y="2501"/>
                    <a:pt x="4282" y="2486"/>
                  </a:cubicBezTo>
                  <a:cubicBezTo>
                    <a:pt x="4279" y="2472"/>
                    <a:pt x="4292" y="2457"/>
                    <a:pt x="4313" y="2455"/>
                  </a:cubicBezTo>
                  <a:cubicBezTo>
                    <a:pt x="4334" y="2452"/>
                    <a:pt x="4354" y="2461"/>
                    <a:pt x="4358" y="2476"/>
                  </a:cubicBezTo>
                  <a:cubicBezTo>
                    <a:pt x="4362" y="2490"/>
                    <a:pt x="4348" y="2505"/>
                    <a:pt x="4327" y="2507"/>
                  </a:cubicBezTo>
                  <a:close/>
                  <a:moveTo>
                    <a:pt x="4284" y="2589"/>
                  </a:moveTo>
                  <a:cubicBezTo>
                    <a:pt x="4263" y="2591"/>
                    <a:pt x="4243" y="2582"/>
                    <a:pt x="4239" y="2567"/>
                  </a:cubicBezTo>
                  <a:cubicBezTo>
                    <a:pt x="4235" y="2553"/>
                    <a:pt x="4249" y="2538"/>
                    <a:pt x="4270" y="2536"/>
                  </a:cubicBezTo>
                  <a:cubicBezTo>
                    <a:pt x="4291" y="2533"/>
                    <a:pt x="4311" y="2542"/>
                    <a:pt x="4315" y="2557"/>
                  </a:cubicBezTo>
                  <a:cubicBezTo>
                    <a:pt x="4319" y="2572"/>
                    <a:pt x="4305" y="2586"/>
                    <a:pt x="4284" y="2589"/>
                  </a:cubicBezTo>
                  <a:close/>
                  <a:moveTo>
                    <a:pt x="4209" y="2523"/>
                  </a:moveTo>
                  <a:cubicBezTo>
                    <a:pt x="4188" y="2526"/>
                    <a:pt x="4168" y="2516"/>
                    <a:pt x="4165" y="2501"/>
                  </a:cubicBezTo>
                  <a:cubicBezTo>
                    <a:pt x="4161" y="2487"/>
                    <a:pt x="4175" y="2473"/>
                    <a:pt x="4196" y="2470"/>
                  </a:cubicBezTo>
                  <a:cubicBezTo>
                    <a:pt x="4216" y="2468"/>
                    <a:pt x="4236" y="2477"/>
                    <a:pt x="4240" y="2492"/>
                  </a:cubicBezTo>
                  <a:cubicBezTo>
                    <a:pt x="4244" y="2506"/>
                    <a:pt x="4230" y="2520"/>
                    <a:pt x="4209" y="2523"/>
                  </a:cubicBezTo>
                  <a:close/>
                  <a:moveTo>
                    <a:pt x="4128" y="2353"/>
                  </a:moveTo>
                  <a:cubicBezTo>
                    <a:pt x="4124" y="2338"/>
                    <a:pt x="4138" y="2324"/>
                    <a:pt x="4158" y="2322"/>
                  </a:cubicBezTo>
                  <a:cubicBezTo>
                    <a:pt x="4178" y="2319"/>
                    <a:pt x="4198" y="2329"/>
                    <a:pt x="4202" y="2343"/>
                  </a:cubicBezTo>
                  <a:cubicBezTo>
                    <a:pt x="4205" y="2358"/>
                    <a:pt x="4192" y="2372"/>
                    <a:pt x="4172" y="2375"/>
                  </a:cubicBezTo>
                  <a:cubicBezTo>
                    <a:pt x="4151" y="2377"/>
                    <a:pt x="4132" y="2368"/>
                    <a:pt x="4128" y="2353"/>
                  </a:cubicBezTo>
                  <a:close/>
                  <a:moveTo>
                    <a:pt x="4128" y="2455"/>
                  </a:moveTo>
                  <a:cubicBezTo>
                    <a:pt x="4108" y="2458"/>
                    <a:pt x="4088" y="2448"/>
                    <a:pt x="4085" y="2434"/>
                  </a:cubicBezTo>
                  <a:cubicBezTo>
                    <a:pt x="4081" y="2419"/>
                    <a:pt x="4095" y="2405"/>
                    <a:pt x="4115" y="2402"/>
                  </a:cubicBezTo>
                  <a:cubicBezTo>
                    <a:pt x="4136" y="2400"/>
                    <a:pt x="4155" y="2410"/>
                    <a:pt x="4159" y="2424"/>
                  </a:cubicBezTo>
                  <a:cubicBezTo>
                    <a:pt x="4163" y="2439"/>
                    <a:pt x="4149" y="2453"/>
                    <a:pt x="4128" y="2455"/>
                  </a:cubicBezTo>
                  <a:close/>
                  <a:moveTo>
                    <a:pt x="4056" y="2389"/>
                  </a:moveTo>
                  <a:cubicBezTo>
                    <a:pt x="4035" y="2392"/>
                    <a:pt x="4016" y="2382"/>
                    <a:pt x="4013" y="2367"/>
                  </a:cubicBezTo>
                  <a:cubicBezTo>
                    <a:pt x="4009" y="2352"/>
                    <a:pt x="4023" y="2339"/>
                    <a:pt x="4043" y="2336"/>
                  </a:cubicBezTo>
                  <a:cubicBezTo>
                    <a:pt x="4063" y="2334"/>
                    <a:pt x="4083" y="2343"/>
                    <a:pt x="4086" y="2358"/>
                  </a:cubicBezTo>
                  <a:cubicBezTo>
                    <a:pt x="4090" y="2373"/>
                    <a:pt x="4076" y="2387"/>
                    <a:pt x="4056" y="2389"/>
                  </a:cubicBezTo>
                  <a:close/>
                  <a:moveTo>
                    <a:pt x="4011" y="2470"/>
                  </a:moveTo>
                  <a:cubicBezTo>
                    <a:pt x="3991" y="2472"/>
                    <a:pt x="3971" y="2462"/>
                    <a:pt x="3968" y="2447"/>
                  </a:cubicBezTo>
                  <a:cubicBezTo>
                    <a:pt x="3965" y="2433"/>
                    <a:pt x="3979" y="2419"/>
                    <a:pt x="3999" y="2417"/>
                  </a:cubicBezTo>
                  <a:cubicBezTo>
                    <a:pt x="4020" y="2414"/>
                    <a:pt x="4039" y="2424"/>
                    <a:pt x="4043" y="2439"/>
                  </a:cubicBezTo>
                  <a:cubicBezTo>
                    <a:pt x="4046" y="2453"/>
                    <a:pt x="4032" y="2467"/>
                    <a:pt x="4011" y="2470"/>
                  </a:cubicBezTo>
                  <a:close/>
                  <a:moveTo>
                    <a:pt x="3940" y="2403"/>
                  </a:moveTo>
                  <a:cubicBezTo>
                    <a:pt x="3919" y="2405"/>
                    <a:pt x="3900" y="2395"/>
                    <a:pt x="3897" y="2380"/>
                  </a:cubicBezTo>
                  <a:cubicBezTo>
                    <a:pt x="3894" y="2366"/>
                    <a:pt x="3908" y="2352"/>
                    <a:pt x="3928" y="2350"/>
                  </a:cubicBezTo>
                  <a:cubicBezTo>
                    <a:pt x="3948" y="2347"/>
                    <a:pt x="3968" y="2357"/>
                    <a:pt x="3971" y="2372"/>
                  </a:cubicBezTo>
                  <a:cubicBezTo>
                    <a:pt x="3974" y="2387"/>
                    <a:pt x="3960" y="2401"/>
                    <a:pt x="3940" y="2403"/>
                  </a:cubicBezTo>
                  <a:close/>
                  <a:moveTo>
                    <a:pt x="3894" y="2483"/>
                  </a:moveTo>
                  <a:cubicBezTo>
                    <a:pt x="3874" y="2485"/>
                    <a:pt x="3855" y="2475"/>
                    <a:pt x="3852" y="2461"/>
                  </a:cubicBezTo>
                  <a:cubicBezTo>
                    <a:pt x="3848" y="2446"/>
                    <a:pt x="3863" y="2432"/>
                    <a:pt x="3883" y="2430"/>
                  </a:cubicBezTo>
                  <a:cubicBezTo>
                    <a:pt x="3904" y="2428"/>
                    <a:pt x="3923" y="2438"/>
                    <a:pt x="3926" y="2452"/>
                  </a:cubicBezTo>
                  <a:cubicBezTo>
                    <a:pt x="3929" y="2467"/>
                    <a:pt x="3915" y="2481"/>
                    <a:pt x="3894" y="2483"/>
                  </a:cubicBezTo>
                  <a:close/>
                  <a:moveTo>
                    <a:pt x="3824" y="2416"/>
                  </a:moveTo>
                  <a:cubicBezTo>
                    <a:pt x="3803" y="2418"/>
                    <a:pt x="3784" y="2408"/>
                    <a:pt x="3782" y="2393"/>
                  </a:cubicBezTo>
                  <a:cubicBezTo>
                    <a:pt x="3779" y="2378"/>
                    <a:pt x="3793" y="2364"/>
                    <a:pt x="3813" y="2362"/>
                  </a:cubicBezTo>
                  <a:cubicBezTo>
                    <a:pt x="3833" y="2360"/>
                    <a:pt x="3852" y="2370"/>
                    <a:pt x="3855" y="2385"/>
                  </a:cubicBezTo>
                  <a:cubicBezTo>
                    <a:pt x="3858" y="2400"/>
                    <a:pt x="3844" y="2414"/>
                    <a:pt x="3824" y="2416"/>
                  </a:cubicBezTo>
                  <a:close/>
                  <a:moveTo>
                    <a:pt x="3777" y="2496"/>
                  </a:moveTo>
                  <a:cubicBezTo>
                    <a:pt x="3757" y="2498"/>
                    <a:pt x="3738" y="2488"/>
                    <a:pt x="3735" y="2473"/>
                  </a:cubicBezTo>
                  <a:cubicBezTo>
                    <a:pt x="3732" y="2458"/>
                    <a:pt x="3746" y="2444"/>
                    <a:pt x="3767" y="2442"/>
                  </a:cubicBezTo>
                  <a:cubicBezTo>
                    <a:pt x="3787" y="2440"/>
                    <a:pt x="3806" y="2450"/>
                    <a:pt x="3809" y="2465"/>
                  </a:cubicBezTo>
                  <a:cubicBezTo>
                    <a:pt x="3812" y="2480"/>
                    <a:pt x="3798" y="2494"/>
                    <a:pt x="3777" y="2496"/>
                  </a:cubicBezTo>
                  <a:close/>
                  <a:moveTo>
                    <a:pt x="3708" y="2428"/>
                  </a:moveTo>
                  <a:cubicBezTo>
                    <a:pt x="3687" y="2430"/>
                    <a:pt x="3669" y="2419"/>
                    <a:pt x="3666" y="2405"/>
                  </a:cubicBezTo>
                  <a:cubicBezTo>
                    <a:pt x="3663" y="2390"/>
                    <a:pt x="3677" y="2376"/>
                    <a:pt x="3698" y="2374"/>
                  </a:cubicBezTo>
                  <a:cubicBezTo>
                    <a:pt x="3718" y="2372"/>
                    <a:pt x="3737" y="2382"/>
                    <a:pt x="3740" y="2397"/>
                  </a:cubicBezTo>
                  <a:cubicBezTo>
                    <a:pt x="3743" y="2412"/>
                    <a:pt x="3728" y="2426"/>
                    <a:pt x="3708" y="2428"/>
                  </a:cubicBezTo>
                  <a:close/>
                  <a:moveTo>
                    <a:pt x="3660" y="2507"/>
                  </a:moveTo>
                  <a:cubicBezTo>
                    <a:pt x="3639" y="2509"/>
                    <a:pt x="3621" y="2499"/>
                    <a:pt x="3618" y="2484"/>
                  </a:cubicBezTo>
                  <a:cubicBezTo>
                    <a:pt x="3615" y="2469"/>
                    <a:pt x="3630" y="2456"/>
                    <a:pt x="3650" y="2454"/>
                  </a:cubicBezTo>
                  <a:cubicBezTo>
                    <a:pt x="3671" y="2452"/>
                    <a:pt x="3690" y="2462"/>
                    <a:pt x="3693" y="2477"/>
                  </a:cubicBezTo>
                  <a:cubicBezTo>
                    <a:pt x="3695" y="2492"/>
                    <a:pt x="3681" y="2505"/>
                    <a:pt x="3660" y="2507"/>
                  </a:cubicBezTo>
                  <a:close/>
                  <a:moveTo>
                    <a:pt x="3618" y="2589"/>
                  </a:moveTo>
                  <a:cubicBezTo>
                    <a:pt x="3597" y="2591"/>
                    <a:pt x="3578" y="2581"/>
                    <a:pt x="3575" y="2566"/>
                  </a:cubicBezTo>
                  <a:cubicBezTo>
                    <a:pt x="3573" y="2551"/>
                    <a:pt x="3588" y="2537"/>
                    <a:pt x="3608" y="2536"/>
                  </a:cubicBezTo>
                  <a:cubicBezTo>
                    <a:pt x="3629" y="2534"/>
                    <a:pt x="3648" y="2544"/>
                    <a:pt x="3651" y="2559"/>
                  </a:cubicBezTo>
                  <a:cubicBezTo>
                    <a:pt x="3653" y="2574"/>
                    <a:pt x="3639" y="2587"/>
                    <a:pt x="3618" y="2589"/>
                  </a:cubicBezTo>
                  <a:close/>
                  <a:moveTo>
                    <a:pt x="3543" y="2518"/>
                  </a:moveTo>
                  <a:cubicBezTo>
                    <a:pt x="3522" y="2520"/>
                    <a:pt x="3503" y="2510"/>
                    <a:pt x="3501" y="2495"/>
                  </a:cubicBezTo>
                  <a:cubicBezTo>
                    <a:pt x="3499" y="2480"/>
                    <a:pt x="3513" y="2466"/>
                    <a:pt x="3534" y="2465"/>
                  </a:cubicBezTo>
                  <a:cubicBezTo>
                    <a:pt x="3554" y="2463"/>
                    <a:pt x="3573" y="2473"/>
                    <a:pt x="3576" y="2488"/>
                  </a:cubicBezTo>
                  <a:cubicBezTo>
                    <a:pt x="3578" y="2503"/>
                    <a:pt x="3563" y="2516"/>
                    <a:pt x="3543" y="2518"/>
                  </a:cubicBezTo>
                  <a:close/>
                  <a:moveTo>
                    <a:pt x="3499" y="2600"/>
                  </a:moveTo>
                  <a:cubicBezTo>
                    <a:pt x="3478" y="2602"/>
                    <a:pt x="3460" y="2591"/>
                    <a:pt x="3457" y="2576"/>
                  </a:cubicBezTo>
                  <a:cubicBezTo>
                    <a:pt x="3455" y="2561"/>
                    <a:pt x="3470" y="2548"/>
                    <a:pt x="3491" y="2546"/>
                  </a:cubicBezTo>
                  <a:cubicBezTo>
                    <a:pt x="3512" y="2544"/>
                    <a:pt x="3530" y="2555"/>
                    <a:pt x="3533" y="2570"/>
                  </a:cubicBezTo>
                  <a:cubicBezTo>
                    <a:pt x="3535" y="2584"/>
                    <a:pt x="3520" y="2598"/>
                    <a:pt x="3499" y="2600"/>
                  </a:cubicBezTo>
                  <a:close/>
                  <a:moveTo>
                    <a:pt x="3425" y="2528"/>
                  </a:moveTo>
                  <a:cubicBezTo>
                    <a:pt x="3405" y="2530"/>
                    <a:pt x="3386" y="2519"/>
                    <a:pt x="3384" y="2504"/>
                  </a:cubicBezTo>
                  <a:cubicBezTo>
                    <a:pt x="3382" y="2490"/>
                    <a:pt x="3397" y="2476"/>
                    <a:pt x="3417" y="2475"/>
                  </a:cubicBezTo>
                  <a:cubicBezTo>
                    <a:pt x="3438" y="2473"/>
                    <a:pt x="3456" y="2483"/>
                    <a:pt x="3459" y="2498"/>
                  </a:cubicBezTo>
                  <a:cubicBezTo>
                    <a:pt x="3461" y="2513"/>
                    <a:pt x="3446" y="2527"/>
                    <a:pt x="3425" y="2528"/>
                  </a:cubicBezTo>
                  <a:close/>
                  <a:moveTo>
                    <a:pt x="3381" y="2610"/>
                  </a:moveTo>
                  <a:cubicBezTo>
                    <a:pt x="3360" y="2611"/>
                    <a:pt x="3341" y="2601"/>
                    <a:pt x="3339" y="2586"/>
                  </a:cubicBezTo>
                  <a:cubicBezTo>
                    <a:pt x="3337" y="2571"/>
                    <a:pt x="3352" y="2557"/>
                    <a:pt x="3373" y="2556"/>
                  </a:cubicBezTo>
                  <a:cubicBezTo>
                    <a:pt x="3394" y="2554"/>
                    <a:pt x="3412" y="2565"/>
                    <a:pt x="3415" y="2580"/>
                  </a:cubicBezTo>
                  <a:cubicBezTo>
                    <a:pt x="3417" y="2595"/>
                    <a:pt x="3402" y="2608"/>
                    <a:pt x="3381" y="2610"/>
                  </a:cubicBezTo>
                  <a:close/>
                  <a:moveTo>
                    <a:pt x="3308" y="2538"/>
                  </a:moveTo>
                  <a:cubicBezTo>
                    <a:pt x="3287" y="2539"/>
                    <a:pt x="3269" y="2528"/>
                    <a:pt x="3267" y="2513"/>
                  </a:cubicBezTo>
                  <a:cubicBezTo>
                    <a:pt x="3265" y="2498"/>
                    <a:pt x="3280" y="2485"/>
                    <a:pt x="3301" y="2484"/>
                  </a:cubicBezTo>
                  <a:cubicBezTo>
                    <a:pt x="3321" y="2482"/>
                    <a:pt x="3340" y="2493"/>
                    <a:pt x="3342" y="2508"/>
                  </a:cubicBezTo>
                  <a:cubicBezTo>
                    <a:pt x="3344" y="2523"/>
                    <a:pt x="3329" y="2536"/>
                    <a:pt x="3308" y="2538"/>
                  </a:cubicBezTo>
                  <a:close/>
                  <a:moveTo>
                    <a:pt x="3243" y="2467"/>
                  </a:moveTo>
                  <a:cubicBezTo>
                    <a:pt x="3223" y="2469"/>
                    <a:pt x="3205" y="2458"/>
                    <a:pt x="3203" y="2443"/>
                  </a:cubicBezTo>
                  <a:cubicBezTo>
                    <a:pt x="3201" y="2428"/>
                    <a:pt x="3216" y="2415"/>
                    <a:pt x="3236" y="2413"/>
                  </a:cubicBezTo>
                  <a:cubicBezTo>
                    <a:pt x="3257" y="2412"/>
                    <a:pt x="3275" y="2423"/>
                    <a:pt x="3277" y="2438"/>
                  </a:cubicBezTo>
                  <a:cubicBezTo>
                    <a:pt x="3279" y="2453"/>
                    <a:pt x="3264" y="2466"/>
                    <a:pt x="3243" y="2467"/>
                  </a:cubicBezTo>
                  <a:close/>
                  <a:moveTo>
                    <a:pt x="3191" y="2546"/>
                  </a:moveTo>
                  <a:cubicBezTo>
                    <a:pt x="3170" y="2547"/>
                    <a:pt x="3152" y="2536"/>
                    <a:pt x="3150" y="2521"/>
                  </a:cubicBezTo>
                  <a:cubicBezTo>
                    <a:pt x="3148" y="2506"/>
                    <a:pt x="3164" y="2493"/>
                    <a:pt x="3184" y="2492"/>
                  </a:cubicBezTo>
                  <a:cubicBezTo>
                    <a:pt x="3205" y="2491"/>
                    <a:pt x="3223" y="2501"/>
                    <a:pt x="3225" y="2516"/>
                  </a:cubicBezTo>
                  <a:cubicBezTo>
                    <a:pt x="3227" y="2531"/>
                    <a:pt x="3211" y="2545"/>
                    <a:pt x="3191" y="2546"/>
                  </a:cubicBezTo>
                  <a:close/>
                  <a:moveTo>
                    <a:pt x="3127" y="2475"/>
                  </a:moveTo>
                  <a:cubicBezTo>
                    <a:pt x="3106" y="2476"/>
                    <a:pt x="3088" y="2465"/>
                    <a:pt x="3087" y="2450"/>
                  </a:cubicBezTo>
                  <a:cubicBezTo>
                    <a:pt x="3085" y="2435"/>
                    <a:pt x="3100" y="2422"/>
                    <a:pt x="3121" y="2421"/>
                  </a:cubicBezTo>
                  <a:cubicBezTo>
                    <a:pt x="3141" y="2420"/>
                    <a:pt x="3159" y="2431"/>
                    <a:pt x="3161" y="2446"/>
                  </a:cubicBezTo>
                  <a:cubicBezTo>
                    <a:pt x="3163" y="2461"/>
                    <a:pt x="3147" y="2474"/>
                    <a:pt x="3127" y="2475"/>
                  </a:cubicBezTo>
                  <a:close/>
                  <a:moveTo>
                    <a:pt x="3073" y="2553"/>
                  </a:moveTo>
                  <a:cubicBezTo>
                    <a:pt x="3052" y="2555"/>
                    <a:pt x="3034" y="2544"/>
                    <a:pt x="3033" y="2529"/>
                  </a:cubicBezTo>
                  <a:cubicBezTo>
                    <a:pt x="3032" y="2514"/>
                    <a:pt x="3047" y="2501"/>
                    <a:pt x="3068" y="2499"/>
                  </a:cubicBezTo>
                  <a:cubicBezTo>
                    <a:pt x="3088" y="2498"/>
                    <a:pt x="3106" y="2509"/>
                    <a:pt x="3108" y="2524"/>
                  </a:cubicBezTo>
                  <a:cubicBezTo>
                    <a:pt x="3109" y="2539"/>
                    <a:pt x="3094" y="2552"/>
                    <a:pt x="3073" y="2553"/>
                  </a:cubicBezTo>
                  <a:close/>
                  <a:moveTo>
                    <a:pt x="3010" y="2482"/>
                  </a:moveTo>
                  <a:cubicBezTo>
                    <a:pt x="2990" y="2483"/>
                    <a:pt x="2972" y="2472"/>
                    <a:pt x="2971" y="2457"/>
                  </a:cubicBezTo>
                  <a:cubicBezTo>
                    <a:pt x="2970" y="2442"/>
                    <a:pt x="2985" y="2429"/>
                    <a:pt x="3005" y="2428"/>
                  </a:cubicBezTo>
                  <a:cubicBezTo>
                    <a:pt x="3026" y="2427"/>
                    <a:pt x="3043" y="2438"/>
                    <a:pt x="3045" y="2453"/>
                  </a:cubicBezTo>
                  <a:cubicBezTo>
                    <a:pt x="3046" y="2468"/>
                    <a:pt x="3031" y="2481"/>
                    <a:pt x="3010" y="2482"/>
                  </a:cubicBezTo>
                  <a:close/>
                  <a:moveTo>
                    <a:pt x="2956" y="2560"/>
                  </a:moveTo>
                  <a:cubicBezTo>
                    <a:pt x="2935" y="2561"/>
                    <a:pt x="2917" y="2550"/>
                    <a:pt x="2916" y="2535"/>
                  </a:cubicBezTo>
                  <a:cubicBezTo>
                    <a:pt x="2915" y="2520"/>
                    <a:pt x="2930" y="2507"/>
                    <a:pt x="2951" y="2506"/>
                  </a:cubicBezTo>
                  <a:cubicBezTo>
                    <a:pt x="2971" y="2505"/>
                    <a:pt x="2989" y="2516"/>
                    <a:pt x="2991" y="2531"/>
                  </a:cubicBezTo>
                  <a:cubicBezTo>
                    <a:pt x="2992" y="2546"/>
                    <a:pt x="2976" y="2559"/>
                    <a:pt x="2956" y="2560"/>
                  </a:cubicBezTo>
                  <a:close/>
                  <a:moveTo>
                    <a:pt x="2894" y="2488"/>
                  </a:moveTo>
                  <a:cubicBezTo>
                    <a:pt x="2873" y="2489"/>
                    <a:pt x="2856" y="2478"/>
                    <a:pt x="2855" y="2463"/>
                  </a:cubicBezTo>
                  <a:cubicBezTo>
                    <a:pt x="2854" y="2448"/>
                    <a:pt x="2869" y="2435"/>
                    <a:pt x="2890" y="2434"/>
                  </a:cubicBezTo>
                  <a:cubicBezTo>
                    <a:pt x="2910" y="2433"/>
                    <a:pt x="2928" y="2444"/>
                    <a:pt x="2929" y="2459"/>
                  </a:cubicBezTo>
                  <a:cubicBezTo>
                    <a:pt x="2930" y="2474"/>
                    <a:pt x="2915" y="2487"/>
                    <a:pt x="2894" y="2488"/>
                  </a:cubicBezTo>
                  <a:close/>
                  <a:moveTo>
                    <a:pt x="2838" y="2566"/>
                  </a:moveTo>
                  <a:cubicBezTo>
                    <a:pt x="2817" y="2567"/>
                    <a:pt x="2800" y="2556"/>
                    <a:pt x="2799" y="2541"/>
                  </a:cubicBezTo>
                  <a:cubicBezTo>
                    <a:pt x="2798" y="2526"/>
                    <a:pt x="2814" y="2513"/>
                    <a:pt x="2834" y="2512"/>
                  </a:cubicBezTo>
                  <a:cubicBezTo>
                    <a:pt x="2855" y="2511"/>
                    <a:pt x="2872" y="2522"/>
                    <a:pt x="2873" y="2537"/>
                  </a:cubicBezTo>
                  <a:cubicBezTo>
                    <a:pt x="2875" y="2552"/>
                    <a:pt x="2859" y="2565"/>
                    <a:pt x="2838" y="2566"/>
                  </a:cubicBezTo>
                  <a:close/>
                  <a:moveTo>
                    <a:pt x="2778" y="2494"/>
                  </a:moveTo>
                  <a:cubicBezTo>
                    <a:pt x="2757" y="2495"/>
                    <a:pt x="2740" y="2483"/>
                    <a:pt x="2739" y="2468"/>
                  </a:cubicBezTo>
                  <a:cubicBezTo>
                    <a:pt x="2738" y="2453"/>
                    <a:pt x="2754" y="2440"/>
                    <a:pt x="2774" y="2439"/>
                  </a:cubicBezTo>
                  <a:cubicBezTo>
                    <a:pt x="2794" y="2438"/>
                    <a:pt x="2812" y="2450"/>
                    <a:pt x="2813" y="2465"/>
                  </a:cubicBezTo>
                  <a:cubicBezTo>
                    <a:pt x="2814" y="2480"/>
                    <a:pt x="2798" y="2493"/>
                    <a:pt x="2778" y="2494"/>
                  </a:cubicBezTo>
                  <a:close/>
                  <a:moveTo>
                    <a:pt x="2756" y="2542"/>
                  </a:moveTo>
                  <a:cubicBezTo>
                    <a:pt x="2757" y="2557"/>
                    <a:pt x="2741" y="2570"/>
                    <a:pt x="2720" y="2571"/>
                  </a:cubicBezTo>
                  <a:cubicBezTo>
                    <a:pt x="2700" y="2572"/>
                    <a:pt x="2682" y="2560"/>
                    <a:pt x="2681" y="2545"/>
                  </a:cubicBezTo>
                  <a:cubicBezTo>
                    <a:pt x="2681" y="2530"/>
                    <a:pt x="2697" y="2517"/>
                    <a:pt x="2717" y="2517"/>
                  </a:cubicBezTo>
                  <a:cubicBezTo>
                    <a:pt x="2738" y="2516"/>
                    <a:pt x="2755" y="2527"/>
                    <a:pt x="2756" y="2542"/>
                  </a:cubicBezTo>
                  <a:close/>
                  <a:moveTo>
                    <a:pt x="2661" y="2498"/>
                  </a:moveTo>
                  <a:cubicBezTo>
                    <a:pt x="2641" y="2499"/>
                    <a:pt x="2623" y="2487"/>
                    <a:pt x="2623" y="2472"/>
                  </a:cubicBezTo>
                  <a:cubicBezTo>
                    <a:pt x="2622" y="2457"/>
                    <a:pt x="2638" y="2444"/>
                    <a:pt x="2658" y="2444"/>
                  </a:cubicBezTo>
                  <a:cubicBezTo>
                    <a:pt x="2679" y="2443"/>
                    <a:pt x="2696" y="2455"/>
                    <a:pt x="2697" y="2470"/>
                  </a:cubicBezTo>
                  <a:cubicBezTo>
                    <a:pt x="2698" y="2485"/>
                    <a:pt x="2682" y="2497"/>
                    <a:pt x="2661" y="2498"/>
                  </a:cubicBezTo>
                  <a:close/>
                  <a:moveTo>
                    <a:pt x="2639" y="2547"/>
                  </a:moveTo>
                  <a:cubicBezTo>
                    <a:pt x="2640" y="2562"/>
                    <a:pt x="2623" y="2575"/>
                    <a:pt x="2603" y="2575"/>
                  </a:cubicBezTo>
                  <a:cubicBezTo>
                    <a:pt x="2582" y="2576"/>
                    <a:pt x="2565" y="2564"/>
                    <a:pt x="2564" y="2549"/>
                  </a:cubicBezTo>
                  <a:cubicBezTo>
                    <a:pt x="2564" y="2534"/>
                    <a:pt x="2580" y="2521"/>
                    <a:pt x="2601" y="2521"/>
                  </a:cubicBezTo>
                  <a:cubicBezTo>
                    <a:pt x="2621" y="2520"/>
                    <a:pt x="2638" y="2532"/>
                    <a:pt x="2639" y="2547"/>
                  </a:cubicBezTo>
                  <a:close/>
                  <a:moveTo>
                    <a:pt x="2545" y="2502"/>
                  </a:moveTo>
                  <a:cubicBezTo>
                    <a:pt x="2524" y="2502"/>
                    <a:pt x="2507" y="2491"/>
                    <a:pt x="2507" y="2476"/>
                  </a:cubicBezTo>
                  <a:cubicBezTo>
                    <a:pt x="2506" y="2461"/>
                    <a:pt x="2522" y="2448"/>
                    <a:pt x="2543" y="2447"/>
                  </a:cubicBezTo>
                  <a:cubicBezTo>
                    <a:pt x="2563" y="2447"/>
                    <a:pt x="2580" y="2458"/>
                    <a:pt x="2581" y="2474"/>
                  </a:cubicBezTo>
                  <a:cubicBezTo>
                    <a:pt x="2581" y="2489"/>
                    <a:pt x="2565" y="2501"/>
                    <a:pt x="2545" y="2502"/>
                  </a:cubicBezTo>
                  <a:close/>
                  <a:moveTo>
                    <a:pt x="2522" y="2550"/>
                  </a:moveTo>
                  <a:cubicBezTo>
                    <a:pt x="2522" y="2565"/>
                    <a:pt x="2506" y="2578"/>
                    <a:pt x="2485" y="2579"/>
                  </a:cubicBezTo>
                  <a:cubicBezTo>
                    <a:pt x="2464" y="2579"/>
                    <a:pt x="2447" y="2567"/>
                    <a:pt x="2447" y="2552"/>
                  </a:cubicBezTo>
                  <a:cubicBezTo>
                    <a:pt x="2447" y="2537"/>
                    <a:pt x="2463" y="2524"/>
                    <a:pt x="2484" y="2524"/>
                  </a:cubicBezTo>
                  <a:cubicBezTo>
                    <a:pt x="2504" y="2523"/>
                    <a:pt x="2521" y="2535"/>
                    <a:pt x="2522" y="2550"/>
                  </a:cubicBezTo>
                  <a:close/>
                  <a:moveTo>
                    <a:pt x="2428" y="2505"/>
                  </a:moveTo>
                  <a:cubicBezTo>
                    <a:pt x="2407" y="2505"/>
                    <a:pt x="2391" y="2493"/>
                    <a:pt x="2390" y="2478"/>
                  </a:cubicBezTo>
                  <a:cubicBezTo>
                    <a:pt x="2390" y="2463"/>
                    <a:pt x="2407" y="2451"/>
                    <a:pt x="2427" y="2450"/>
                  </a:cubicBezTo>
                  <a:cubicBezTo>
                    <a:pt x="2447" y="2450"/>
                    <a:pt x="2464" y="2462"/>
                    <a:pt x="2465" y="2477"/>
                  </a:cubicBezTo>
                  <a:cubicBezTo>
                    <a:pt x="2465" y="2492"/>
                    <a:pt x="2449" y="2504"/>
                    <a:pt x="2428" y="2505"/>
                  </a:cubicBezTo>
                  <a:close/>
                  <a:moveTo>
                    <a:pt x="2405" y="2553"/>
                  </a:moveTo>
                  <a:cubicBezTo>
                    <a:pt x="2405" y="2568"/>
                    <a:pt x="2388" y="2581"/>
                    <a:pt x="2367" y="2581"/>
                  </a:cubicBezTo>
                  <a:cubicBezTo>
                    <a:pt x="2347" y="2581"/>
                    <a:pt x="2330" y="2569"/>
                    <a:pt x="2330" y="2554"/>
                  </a:cubicBezTo>
                  <a:cubicBezTo>
                    <a:pt x="2330" y="2539"/>
                    <a:pt x="2346" y="2527"/>
                    <a:pt x="2367" y="2526"/>
                  </a:cubicBezTo>
                  <a:cubicBezTo>
                    <a:pt x="2387" y="2526"/>
                    <a:pt x="2404" y="2538"/>
                    <a:pt x="2405" y="2553"/>
                  </a:cubicBezTo>
                  <a:close/>
                  <a:moveTo>
                    <a:pt x="2311" y="2507"/>
                  </a:moveTo>
                  <a:cubicBezTo>
                    <a:pt x="2291" y="2507"/>
                    <a:pt x="2274" y="2495"/>
                    <a:pt x="2274" y="2480"/>
                  </a:cubicBezTo>
                  <a:cubicBezTo>
                    <a:pt x="2274" y="2465"/>
                    <a:pt x="2291" y="2452"/>
                    <a:pt x="2311" y="2452"/>
                  </a:cubicBezTo>
                  <a:cubicBezTo>
                    <a:pt x="2332" y="2452"/>
                    <a:pt x="2348" y="2464"/>
                    <a:pt x="2348" y="2479"/>
                  </a:cubicBezTo>
                  <a:cubicBezTo>
                    <a:pt x="2349" y="2494"/>
                    <a:pt x="2332" y="2506"/>
                    <a:pt x="2311" y="2507"/>
                  </a:cubicBezTo>
                  <a:close/>
                  <a:moveTo>
                    <a:pt x="2287" y="2555"/>
                  </a:moveTo>
                  <a:cubicBezTo>
                    <a:pt x="2287" y="2570"/>
                    <a:pt x="2270" y="2582"/>
                    <a:pt x="2250" y="2583"/>
                  </a:cubicBezTo>
                  <a:cubicBezTo>
                    <a:pt x="2229" y="2583"/>
                    <a:pt x="2212" y="2571"/>
                    <a:pt x="2212" y="2556"/>
                  </a:cubicBezTo>
                  <a:cubicBezTo>
                    <a:pt x="2213" y="2541"/>
                    <a:pt x="2229" y="2528"/>
                    <a:pt x="2250" y="2528"/>
                  </a:cubicBezTo>
                  <a:cubicBezTo>
                    <a:pt x="2271" y="2528"/>
                    <a:pt x="2287" y="2540"/>
                    <a:pt x="2287" y="2555"/>
                  </a:cubicBezTo>
                  <a:close/>
                  <a:moveTo>
                    <a:pt x="2195" y="2508"/>
                  </a:moveTo>
                  <a:cubicBezTo>
                    <a:pt x="2174" y="2508"/>
                    <a:pt x="2158" y="2496"/>
                    <a:pt x="2158" y="2481"/>
                  </a:cubicBezTo>
                  <a:cubicBezTo>
                    <a:pt x="2158" y="2466"/>
                    <a:pt x="2175" y="2453"/>
                    <a:pt x="2196" y="2453"/>
                  </a:cubicBezTo>
                  <a:cubicBezTo>
                    <a:pt x="2216" y="2453"/>
                    <a:pt x="2232" y="2465"/>
                    <a:pt x="2232" y="2480"/>
                  </a:cubicBezTo>
                  <a:cubicBezTo>
                    <a:pt x="2232" y="2495"/>
                    <a:pt x="2215" y="2508"/>
                    <a:pt x="2195" y="2508"/>
                  </a:cubicBezTo>
                  <a:close/>
                  <a:moveTo>
                    <a:pt x="2170" y="2556"/>
                  </a:moveTo>
                  <a:cubicBezTo>
                    <a:pt x="2170" y="2571"/>
                    <a:pt x="2153" y="2583"/>
                    <a:pt x="2132" y="2584"/>
                  </a:cubicBezTo>
                  <a:cubicBezTo>
                    <a:pt x="2111" y="2584"/>
                    <a:pt x="2095" y="2571"/>
                    <a:pt x="2095" y="2556"/>
                  </a:cubicBezTo>
                  <a:cubicBezTo>
                    <a:pt x="2095" y="2541"/>
                    <a:pt x="2112" y="2529"/>
                    <a:pt x="2133" y="2529"/>
                  </a:cubicBezTo>
                  <a:cubicBezTo>
                    <a:pt x="2154" y="2529"/>
                    <a:pt x="2170" y="2541"/>
                    <a:pt x="2170" y="2556"/>
                  </a:cubicBezTo>
                  <a:close/>
                  <a:moveTo>
                    <a:pt x="2078" y="2508"/>
                  </a:moveTo>
                  <a:cubicBezTo>
                    <a:pt x="2058" y="2508"/>
                    <a:pt x="2042" y="2496"/>
                    <a:pt x="2042" y="2481"/>
                  </a:cubicBezTo>
                  <a:cubicBezTo>
                    <a:pt x="2043" y="2466"/>
                    <a:pt x="2059" y="2454"/>
                    <a:pt x="2080" y="2454"/>
                  </a:cubicBezTo>
                  <a:cubicBezTo>
                    <a:pt x="2100" y="2454"/>
                    <a:pt x="2117" y="2466"/>
                    <a:pt x="2116" y="2481"/>
                  </a:cubicBezTo>
                  <a:cubicBezTo>
                    <a:pt x="2116" y="2496"/>
                    <a:pt x="2099" y="2508"/>
                    <a:pt x="2078" y="2508"/>
                  </a:cubicBezTo>
                  <a:close/>
                  <a:moveTo>
                    <a:pt x="2053" y="2556"/>
                  </a:moveTo>
                  <a:cubicBezTo>
                    <a:pt x="2052" y="2571"/>
                    <a:pt x="2035" y="2584"/>
                    <a:pt x="2014" y="2583"/>
                  </a:cubicBezTo>
                  <a:cubicBezTo>
                    <a:pt x="1993" y="2583"/>
                    <a:pt x="1977" y="2571"/>
                    <a:pt x="1978" y="2556"/>
                  </a:cubicBezTo>
                  <a:cubicBezTo>
                    <a:pt x="1978" y="2541"/>
                    <a:pt x="1996" y="2529"/>
                    <a:pt x="2016" y="2529"/>
                  </a:cubicBezTo>
                  <a:cubicBezTo>
                    <a:pt x="2037" y="2529"/>
                    <a:pt x="2053" y="2541"/>
                    <a:pt x="2053" y="2556"/>
                  </a:cubicBezTo>
                  <a:close/>
                  <a:moveTo>
                    <a:pt x="1962" y="2508"/>
                  </a:moveTo>
                  <a:cubicBezTo>
                    <a:pt x="1941" y="2508"/>
                    <a:pt x="1925" y="2495"/>
                    <a:pt x="1926" y="2480"/>
                  </a:cubicBezTo>
                  <a:cubicBezTo>
                    <a:pt x="1927" y="2465"/>
                    <a:pt x="1944" y="2453"/>
                    <a:pt x="1964" y="2453"/>
                  </a:cubicBezTo>
                  <a:cubicBezTo>
                    <a:pt x="1985" y="2453"/>
                    <a:pt x="2001" y="2466"/>
                    <a:pt x="2000" y="2481"/>
                  </a:cubicBezTo>
                  <a:cubicBezTo>
                    <a:pt x="1999" y="2496"/>
                    <a:pt x="1982" y="2508"/>
                    <a:pt x="1962" y="2508"/>
                  </a:cubicBezTo>
                  <a:close/>
                  <a:moveTo>
                    <a:pt x="1935" y="2556"/>
                  </a:moveTo>
                  <a:cubicBezTo>
                    <a:pt x="1935" y="2571"/>
                    <a:pt x="1917" y="2583"/>
                    <a:pt x="1896" y="2583"/>
                  </a:cubicBezTo>
                  <a:cubicBezTo>
                    <a:pt x="1876" y="2582"/>
                    <a:pt x="1860" y="2570"/>
                    <a:pt x="1860" y="2555"/>
                  </a:cubicBezTo>
                  <a:cubicBezTo>
                    <a:pt x="1861" y="2540"/>
                    <a:pt x="1879" y="2528"/>
                    <a:pt x="1899" y="2528"/>
                  </a:cubicBezTo>
                  <a:cubicBezTo>
                    <a:pt x="1920" y="2528"/>
                    <a:pt x="1936" y="2540"/>
                    <a:pt x="1935" y="2556"/>
                  </a:cubicBezTo>
                  <a:close/>
                  <a:moveTo>
                    <a:pt x="1845" y="2506"/>
                  </a:moveTo>
                  <a:cubicBezTo>
                    <a:pt x="1825" y="2506"/>
                    <a:pt x="1809" y="2494"/>
                    <a:pt x="1810" y="2478"/>
                  </a:cubicBezTo>
                  <a:cubicBezTo>
                    <a:pt x="1811" y="2463"/>
                    <a:pt x="1828" y="2451"/>
                    <a:pt x="1848" y="2452"/>
                  </a:cubicBezTo>
                  <a:cubicBezTo>
                    <a:pt x="1869" y="2452"/>
                    <a:pt x="1885" y="2464"/>
                    <a:pt x="1884" y="2480"/>
                  </a:cubicBezTo>
                  <a:cubicBezTo>
                    <a:pt x="1883" y="2495"/>
                    <a:pt x="1866" y="2507"/>
                    <a:pt x="1845" y="2506"/>
                  </a:cubicBezTo>
                  <a:close/>
                  <a:moveTo>
                    <a:pt x="1818" y="2554"/>
                  </a:moveTo>
                  <a:cubicBezTo>
                    <a:pt x="1817" y="2569"/>
                    <a:pt x="1799" y="2581"/>
                    <a:pt x="1779" y="2581"/>
                  </a:cubicBezTo>
                  <a:cubicBezTo>
                    <a:pt x="1758" y="2581"/>
                    <a:pt x="1742" y="2568"/>
                    <a:pt x="1743" y="2553"/>
                  </a:cubicBezTo>
                  <a:cubicBezTo>
                    <a:pt x="1744" y="2538"/>
                    <a:pt x="1762" y="2526"/>
                    <a:pt x="1782" y="2526"/>
                  </a:cubicBezTo>
                  <a:cubicBezTo>
                    <a:pt x="1803" y="2526"/>
                    <a:pt x="1819" y="2539"/>
                    <a:pt x="1818" y="2554"/>
                  </a:cubicBezTo>
                  <a:close/>
                  <a:moveTo>
                    <a:pt x="1729" y="2504"/>
                  </a:moveTo>
                  <a:cubicBezTo>
                    <a:pt x="1708" y="2504"/>
                    <a:pt x="1692" y="2491"/>
                    <a:pt x="1694" y="2476"/>
                  </a:cubicBezTo>
                  <a:cubicBezTo>
                    <a:pt x="1695" y="2461"/>
                    <a:pt x="1712" y="2449"/>
                    <a:pt x="1733" y="2449"/>
                  </a:cubicBezTo>
                  <a:cubicBezTo>
                    <a:pt x="1753" y="2450"/>
                    <a:pt x="1769" y="2463"/>
                    <a:pt x="1768" y="2478"/>
                  </a:cubicBezTo>
                  <a:cubicBezTo>
                    <a:pt x="1767" y="2493"/>
                    <a:pt x="1749" y="2505"/>
                    <a:pt x="1729" y="2504"/>
                  </a:cubicBezTo>
                  <a:close/>
                  <a:moveTo>
                    <a:pt x="1701" y="2552"/>
                  </a:moveTo>
                  <a:cubicBezTo>
                    <a:pt x="1700" y="2567"/>
                    <a:pt x="1682" y="2579"/>
                    <a:pt x="1661" y="2578"/>
                  </a:cubicBezTo>
                  <a:cubicBezTo>
                    <a:pt x="1640" y="2578"/>
                    <a:pt x="1624" y="2565"/>
                    <a:pt x="1626" y="2550"/>
                  </a:cubicBezTo>
                  <a:cubicBezTo>
                    <a:pt x="1627" y="2535"/>
                    <a:pt x="1645" y="2523"/>
                    <a:pt x="1666" y="2524"/>
                  </a:cubicBezTo>
                  <a:cubicBezTo>
                    <a:pt x="1686" y="2524"/>
                    <a:pt x="1702" y="2537"/>
                    <a:pt x="1701" y="2552"/>
                  </a:cubicBezTo>
                  <a:close/>
                  <a:moveTo>
                    <a:pt x="1612" y="2501"/>
                  </a:moveTo>
                  <a:cubicBezTo>
                    <a:pt x="1591" y="2501"/>
                    <a:pt x="1576" y="2488"/>
                    <a:pt x="1577" y="2473"/>
                  </a:cubicBezTo>
                  <a:cubicBezTo>
                    <a:pt x="1579" y="2458"/>
                    <a:pt x="1597" y="2446"/>
                    <a:pt x="1617" y="2446"/>
                  </a:cubicBezTo>
                  <a:cubicBezTo>
                    <a:pt x="1637" y="2447"/>
                    <a:pt x="1653" y="2460"/>
                    <a:pt x="1652" y="2475"/>
                  </a:cubicBezTo>
                  <a:cubicBezTo>
                    <a:pt x="1650" y="2490"/>
                    <a:pt x="1633" y="2502"/>
                    <a:pt x="1612" y="2501"/>
                  </a:cubicBezTo>
                  <a:close/>
                  <a:moveTo>
                    <a:pt x="1583" y="2549"/>
                  </a:moveTo>
                  <a:cubicBezTo>
                    <a:pt x="1582" y="2564"/>
                    <a:pt x="1564" y="2576"/>
                    <a:pt x="1543" y="2575"/>
                  </a:cubicBezTo>
                  <a:cubicBezTo>
                    <a:pt x="1523" y="2574"/>
                    <a:pt x="1507" y="2561"/>
                    <a:pt x="1509" y="2546"/>
                  </a:cubicBezTo>
                  <a:cubicBezTo>
                    <a:pt x="1510" y="2531"/>
                    <a:pt x="1528" y="2519"/>
                    <a:pt x="1549" y="2520"/>
                  </a:cubicBezTo>
                  <a:cubicBezTo>
                    <a:pt x="1569" y="2521"/>
                    <a:pt x="1585" y="2534"/>
                    <a:pt x="1583" y="2549"/>
                  </a:cubicBezTo>
                  <a:close/>
                  <a:moveTo>
                    <a:pt x="1495" y="2498"/>
                  </a:moveTo>
                  <a:cubicBezTo>
                    <a:pt x="1475" y="2497"/>
                    <a:pt x="1460" y="2484"/>
                    <a:pt x="1461" y="2469"/>
                  </a:cubicBezTo>
                  <a:cubicBezTo>
                    <a:pt x="1463" y="2454"/>
                    <a:pt x="1481" y="2442"/>
                    <a:pt x="1501" y="2443"/>
                  </a:cubicBezTo>
                  <a:cubicBezTo>
                    <a:pt x="1522" y="2443"/>
                    <a:pt x="1537" y="2456"/>
                    <a:pt x="1535" y="2471"/>
                  </a:cubicBezTo>
                  <a:cubicBezTo>
                    <a:pt x="1534" y="2487"/>
                    <a:pt x="1516" y="2498"/>
                    <a:pt x="1495" y="2498"/>
                  </a:cubicBezTo>
                  <a:close/>
                  <a:moveTo>
                    <a:pt x="1466" y="2545"/>
                  </a:moveTo>
                  <a:cubicBezTo>
                    <a:pt x="1464" y="2560"/>
                    <a:pt x="1446" y="2572"/>
                    <a:pt x="1426" y="2571"/>
                  </a:cubicBezTo>
                  <a:cubicBezTo>
                    <a:pt x="1405" y="2570"/>
                    <a:pt x="1389" y="2557"/>
                    <a:pt x="1391" y="2542"/>
                  </a:cubicBezTo>
                  <a:cubicBezTo>
                    <a:pt x="1393" y="2527"/>
                    <a:pt x="1411" y="2515"/>
                    <a:pt x="1432" y="2516"/>
                  </a:cubicBezTo>
                  <a:cubicBezTo>
                    <a:pt x="1452" y="2517"/>
                    <a:pt x="1468" y="2530"/>
                    <a:pt x="1466" y="2545"/>
                  </a:cubicBezTo>
                  <a:close/>
                  <a:moveTo>
                    <a:pt x="1379" y="2493"/>
                  </a:moveTo>
                  <a:cubicBezTo>
                    <a:pt x="1358" y="2492"/>
                    <a:pt x="1343" y="2479"/>
                    <a:pt x="1345" y="2464"/>
                  </a:cubicBezTo>
                  <a:cubicBezTo>
                    <a:pt x="1347" y="2449"/>
                    <a:pt x="1365" y="2437"/>
                    <a:pt x="1385" y="2438"/>
                  </a:cubicBezTo>
                  <a:cubicBezTo>
                    <a:pt x="1406" y="2439"/>
                    <a:pt x="1421" y="2452"/>
                    <a:pt x="1419" y="2467"/>
                  </a:cubicBezTo>
                  <a:cubicBezTo>
                    <a:pt x="1417" y="2482"/>
                    <a:pt x="1399" y="2494"/>
                    <a:pt x="1379" y="2493"/>
                  </a:cubicBezTo>
                  <a:close/>
                  <a:moveTo>
                    <a:pt x="1349" y="2540"/>
                  </a:moveTo>
                  <a:cubicBezTo>
                    <a:pt x="1347" y="2555"/>
                    <a:pt x="1329" y="2567"/>
                    <a:pt x="1308" y="2566"/>
                  </a:cubicBezTo>
                  <a:cubicBezTo>
                    <a:pt x="1287" y="2565"/>
                    <a:pt x="1272" y="2552"/>
                    <a:pt x="1274" y="2536"/>
                  </a:cubicBezTo>
                  <a:cubicBezTo>
                    <a:pt x="1276" y="2521"/>
                    <a:pt x="1294" y="2510"/>
                    <a:pt x="1315" y="2511"/>
                  </a:cubicBezTo>
                  <a:cubicBezTo>
                    <a:pt x="1335" y="2512"/>
                    <a:pt x="1351" y="2525"/>
                    <a:pt x="1349" y="2540"/>
                  </a:cubicBezTo>
                  <a:close/>
                  <a:moveTo>
                    <a:pt x="1262" y="2487"/>
                  </a:moveTo>
                  <a:cubicBezTo>
                    <a:pt x="1242" y="2486"/>
                    <a:pt x="1227" y="2473"/>
                    <a:pt x="1229" y="2458"/>
                  </a:cubicBezTo>
                  <a:cubicBezTo>
                    <a:pt x="1231" y="2443"/>
                    <a:pt x="1249" y="2432"/>
                    <a:pt x="1270" y="2433"/>
                  </a:cubicBezTo>
                  <a:cubicBezTo>
                    <a:pt x="1290" y="2434"/>
                    <a:pt x="1305" y="2447"/>
                    <a:pt x="1303" y="2462"/>
                  </a:cubicBezTo>
                  <a:cubicBezTo>
                    <a:pt x="1301" y="2477"/>
                    <a:pt x="1283" y="2488"/>
                    <a:pt x="1262" y="2487"/>
                  </a:cubicBezTo>
                  <a:close/>
                  <a:moveTo>
                    <a:pt x="1232" y="2534"/>
                  </a:moveTo>
                  <a:cubicBezTo>
                    <a:pt x="1229" y="2550"/>
                    <a:pt x="1211" y="2561"/>
                    <a:pt x="1190" y="2560"/>
                  </a:cubicBezTo>
                  <a:cubicBezTo>
                    <a:pt x="1169" y="2559"/>
                    <a:pt x="1154" y="2545"/>
                    <a:pt x="1157" y="2530"/>
                  </a:cubicBezTo>
                  <a:cubicBezTo>
                    <a:pt x="1159" y="2515"/>
                    <a:pt x="1177" y="2504"/>
                    <a:pt x="1198" y="2505"/>
                  </a:cubicBezTo>
                  <a:cubicBezTo>
                    <a:pt x="1219" y="2506"/>
                    <a:pt x="1234" y="2519"/>
                    <a:pt x="1232" y="2534"/>
                  </a:cubicBezTo>
                  <a:close/>
                  <a:moveTo>
                    <a:pt x="1146" y="2481"/>
                  </a:moveTo>
                  <a:cubicBezTo>
                    <a:pt x="1125" y="2480"/>
                    <a:pt x="1111" y="2467"/>
                    <a:pt x="1113" y="2452"/>
                  </a:cubicBezTo>
                  <a:cubicBezTo>
                    <a:pt x="1115" y="2436"/>
                    <a:pt x="1134" y="2425"/>
                    <a:pt x="1154" y="2426"/>
                  </a:cubicBezTo>
                  <a:cubicBezTo>
                    <a:pt x="1175" y="2427"/>
                    <a:pt x="1189" y="2441"/>
                    <a:pt x="1187" y="2456"/>
                  </a:cubicBezTo>
                  <a:cubicBezTo>
                    <a:pt x="1185" y="2471"/>
                    <a:pt x="1166" y="2482"/>
                    <a:pt x="1146" y="2481"/>
                  </a:cubicBezTo>
                  <a:close/>
                  <a:moveTo>
                    <a:pt x="1114" y="2528"/>
                  </a:moveTo>
                  <a:cubicBezTo>
                    <a:pt x="1112" y="2543"/>
                    <a:pt x="1093" y="2554"/>
                    <a:pt x="1073" y="2553"/>
                  </a:cubicBezTo>
                  <a:cubicBezTo>
                    <a:pt x="1052" y="2552"/>
                    <a:pt x="1037" y="2538"/>
                    <a:pt x="1040" y="2523"/>
                  </a:cubicBezTo>
                  <a:cubicBezTo>
                    <a:pt x="1042" y="2508"/>
                    <a:pt x="1061" y="2497"/>
                    <a:pt x="1081" y="2498"/>
                  </a:cubicBezTo>
                  <a:cubicBezTo>
                    <a:pt x="1102" y="2499"/>
                    <a:pt x="1117" y="2513"/>
                    <a:pt x="1114" y="2528"/>
                  </a:cubicBezTo>
                  <a:close/>
                  <a:moveTo>
                    <a:pt x="1029" y="2474"/>
                  </a:moveTo>
                  <a:cubicBezTo>
                    <a:pt x="1009" y="2473"/>
                    <a:pt x="994" y="2459"/>
                    <a:pt x="997" y="2444"/>
                  </a:cubicBezTo>
                  <a:cubicBezTo>
                    <a:pt x="1000" y="2429"/>
                    <a:pt x="1018" y="2418"/>
                    <a:pt x="1039" y="2419"/>
                  </a:cubicBezTo>
                  <a:cubicBezTo>
                    <a:pt x="1059" y="2420"/>
                    <a:pt x="1073" y="2434"/>
                    <a:pt x="1071" y="2449"/>
                  </a:cubicBezTo>
                  <a:cubicBezTo>
                    <a:pt x="1069" y="2464"/>
                    <a:pt x="1050" y="2475"/>
                    <a:pt x="1029" y="2474"/>
                  </a:cubicBezTo>
                  <a:close/>
                  <a:moveTo>
                    <a:pt x="997" y="2521"/>
                  </a:moveTo>
                  <a:cubicBezTo>
                    <a:pt x="995" y="2536"/>
                    <a:pt x="976" y="2547"/>
                    <a:pt x="955" y="2545"/>
                  </a:cubicBezTo>
                  <a:cubicBezTo>
                    <a:pt x="934" y="2544"/>
                    <a:pt x="920" y="2531"/>
                    <a:pt x="922" y="2515"/>
                  </a:cubicBezTo>
                  <a:cubicBezTo>
                    <a:pt x="925" y="2500"/>
                    <a:pt x="944" y="2489"/>
                    <a:pt x="965" y="2491"/>
                  </a:cubicBezTo>
                  <a:cubicBezTo>
                    <a:pt x="985" y="2492"/>
                    <a:pt x="1000" y="2505"/>
                    <a:pt x="997" y="2521"/>
                  </a:cubicBezTo>
                  <a:close/>
                  <a:moveTo>
                    <a:pt x="913" y="2466"/>
                  </a:moveTo>
                  <a:cubicBezTo>
                    <a:pt x="892" y="2465"/>
                    <a:pt x="878" y="2451"/>
                    <a:pt x="881" y="2436"/>
                  </a:cubicBezTo>
                  <a:cubicBezTo>
                    <a:pt x="884" y="2421"/>
                    <a:pt x="903" y="2410"/>
                    <a:pt x="923" y="2411"/>
                  </a:cubicBezTo>
                  <a:cubicBezTo>
                    <a:pt x="943" y="2413"/>
                    <a:pt x="958" y="2426"/>
                    <a:pt x="955" y="2441"/>
                  </a:cubicBezTo>
                  <a:cubicBezTo>
                    <a:pt x="952" y="2456"/>
                    <a:pt x="933" y="2468"/>
                    <a:pt x="913" y="2466"/>
                  </a:cubicBezTo>
                  <a:close/>
                  <a:moveTo>
                    <a:pt x="867" y="2383"/>
                  </a:moveTo>
                  <a:cubicBezTo>
                    <a:pt x="846" y="2382"/>
                    <a:pt x="832" y="2368"/>
                    <a:pt x="835" y="2353"/>
                  </a:cubicBezTo>
                  <a:cubicBezTo>
                    <a:pt x="838" y="2338"/>
                    <a:pt x="857" y="2327"/>
                    <a:pt x="877" y="2328"/>
                  </a:cubicBezTo>
                  <a:cubicBezTo>
                    <a:pt x="897" y="2330"/>
                    <a:pt x="911" y="2343"/>
                    <a:pt x="908" y="2359"/>
                  </a:cubicBezTo>
                  <a:cubicBezTo>
                    <a:pt x="906" y="2374"/>
                    <a:pt x="887" y="2385"/>
                    <a:pt x="867" y="2383"/>
                  </a:cubicBezTo>
                  <a:close/>
                  <a:moveTo>
                    <a:pt x="839" y="2433"/>
                  </a:moveTo>
                  <a:cubicBezTo>
                    <a:pt x="836" y="2448"/>
                    <a:pt x="817" y="2459"/>
                    <a:pt x="797" y="2457"/>
                  </a:cubicBezTo>
                  <a:cubicBezTo>
                    <a:pt x="776" y="2456"/>
                    <a:pt x="762" y="2442"/>
                    <a:pt x="765" y="2427"/>
                  </a:cubicBezTo>
                  <a:cubicBezTo>
                    <a:pt x="768" y="2412"/>
                    <a:pt x="787" y="2401"/>
                    <a:pt x="807" y="2402"/>
                  </a:cubicBezTo>
                  <a:cubicBezTo>
                    <a:pt x="828" y="2404"/>
                    <a:pt x="842" y="2418"/>
                    <a:pt x="839" y="2433"/>
                  </a:cubicBezTo>
                  <a:close/>
                  <a:moveTo>
                    <a:pt x="751" y="2374"/>
                  </a:moveTo>
                  <a:cubicBezTo>
                    <a:pt x="731" y="2372"/>
                    <a:pt x="717" y="2359"/>
                    <a:pt x="720" y="2344"/>
                  </a:cubicBezTo>
                  <a:cubicBezTo>
                    <a:pt x="724" y="2328"/>
                    <a:pt x="742" y="2318"/>
                    <a:pt x="763" y="2319"/>
                  </a:cubicBezTo>
                  <a:cubicBezTo>
                    <a:pt x="783" y="2321"/>
                    <a:pt x="797" y="2335"/>
                    <a:pt x="794" y="2350"/>
                  </a:cubicBezTo>
                  <a:cubicBezTo>
                    <a:pt x="791" y="2365"/>
                    <a:pt x="772" y="2376"/>
                    <a:pt x="751" y="2374"/>
                  </a:cubicBezTo>
                  <a:close/>
                  <a:moveTo>
                    <a:pt x="723" y="2423"/>
                  </a:moveTo>
                  <a:cubicBezTo>
                    <a:pt x="720" y="2439"/>
                    <a:pt x="701" y="2449"/>
                    <a:pt x="680" y="2448"/>
                  </a:cubicBezTo>
                  <a:cubicBezTo>
                    <a:pt x="660" y="2446"/>
                    <a:pt x="646" y="2432"/>
                    <a:pt x="649" y="2417"/>
                  </a:cubicBezTo>
                  <a:cubicBezTo>
                    <a:pt x="652" y="2402"/>
                    <a:pt x="672" y="2391"/>
                    <a:pt x="692" y="2393"/>
                  </a:cubicBezTo>
                  <a:cubicBezTo>
                    <a:pt x="712" y="2395"/>
                    <a:pt x="726" y="2408"/>
                    <a:pt x="723" y="2423"/>
                  </a:cubicBezTo>
                  <a:close/>
                  <a:moveTo>
                    <a:pt x="636" y="2364"/>
                  </a:moveTo>
                  <a:cubicBezTo>
                    <a:pt x="616" y="2362"/>
                    <a:pt x="602" y="2348"/>
                    <a:pt x="606" y="2333"/>
                  </a:cubicBezTo>
                  <a:cubicBezTo>
                    <a:pt x="609" y="2318"/>
                    <a:pt x="628" y="2307"/>
                    <a:pt x="648" y="2309"/>
                  </a:cubicBezTo>
                  <a:cubicBezTo>
                    <a:pt x="668" y="2311"/>
                    <a:pt x="682" y="2325"/>
                    <a:pt x="679" y="2340"/>
                  </a:cubicBezTo>
                  <a:cubicBezTo>
                    <a:pt x="676" y="2355"/>
                    <a:pt x="657" y="2366"/>
                    <a:pt x="636" y="2364"/>
                  </a:cubicBezTo>
                  <a:close/>
                  <a:moveTo>
                    <a:pt x="607" y="2413"/>
                  </a:moveTo>
                  <a:cubicBezTo>
                    <a:pt x="604" y="2428"/>
                    <a:pt x="584" y="2439"/>
                    <a:pt x="564" y="2437"/>
                  </a:cubicBezTo>
                  <a:cubicBezTo>
                    <a:pt x="543" y="2435"/>
                    <a:pt x="530" y="2421"/>
                    <a:pt x="533" y="2406"/>
                  </a:cubicBezTo>
                  <a:cubicBezTo>
                    <a:pt x="537" y="2391"/>
                    <a:pt x="556" y="2380"/>
                    <a:pt x="576" y="2382"/>
                  </a:cubicBezTo>
                  <a:cubicBezTo>
                    <a:pt x="597" y="2384"/>
                    <a:pt x="611" y="2398"/>
                    <a:pt x="607" y="2413"/>
                  </a:cubicBezTo>
                  <a:close/>
                  <a:moveTo>
                    <a:pt x="521" y="2353"/>
                  </a:moveTo>
                  <a:cubicBezTo>
                    <a:pt x="501" y="2351"/>
                    <a:pt x="487" y="2337"/>
                    <a:pt x="491" y="2322"/>
                  </a:cubicBezTo>
                  <a:cubicBezTo>
                    <a:pt x="495" y="2307"/>
                    <a:pt x="514" y="2296"/>
                    <a:pt x="534" y="2298"/>
                  </a:cubicBezTo>
                  <a:cubicBezTo>
                    <a:pt x="554" y="2300"/>
                    <a:pt x="568" y="2314"/>
                    <a:pt x="564" y="2329"/>
                  </a:cubicBezTo>
                  <a:cubicBezTo>
                    <a:pt x="561" y="2344"/>
                    <a:pt x="541" y="2355"/>
                    <a:pt x="521" y="2353"/>
                  </a:cubicBezTo>
                  <a:close/>
                  <a:moveTo>
                    <a:pt x="491" y="2402"/>
                  </a:moveTo>
                  <a:cubicBezTo>
                    <a:pt x="488" y="2417"/>
                    <a:pt x="468" y="2428"/>
                    <a:pt x="448" y="2426"/>
                  </a:cubicBezTo>
                  <a:cubicBezTo>
                    <a:pt x="427" y="2424"/>
                    <a:pt x="414" y="2410"/>
                    <a:pt x="417" y="2395"/>
                  </a:cubicBezTo>
                  <a:cubicBezTo>
                    <a:pt x="421" y="2380"/>
                    <a:pt x="441" y="2369"/>
                    <a:pt x="461" y="2371"/>
                  </a:cubicBezTo>
                  <a:cubicBezTo>
                    <a:pt x="481" y="2373"/>
                    <a:pt x="495" y="2387"/>
                    <a:pt x="491" y="2402"/>
                  </a:cubicBezTo>
                  <a:close/>
                  <a:moveTo>
                    <a:pt x="371" y="2260"/>
                  </a:moveTo>
                  <a:cubicBezTo>
                    <a:pt x="351" y="2258"/>
                    <a:pt x="338" y="2244"/>
                    <a:pt x="342" y="2229"/>
                  </a:cubicBezTo>
                  <a:cubicBezTo>
                    <a:pt x="346" y="2214"/>
                    <a:pt x="365" y="2203"/>
                    <a:pt x="385" y="2206"/>
                  </a:cubicBezTo>
                  <a:cubicBezTo>
                    <a:pt x="405" y="2208"/>
                    <a:pt x="418" y="2222"/>
                    <a:pt x="414" y="2237"/>
                  </a:cubicBezTo>
                  <a:cubicBezTo>
                    <a:pt x="411" y="2252"/>
                    <a:pt x="391" y="2263"/>
                    <a:pt x="371" y="2260"/>
                  </a:cubicBezTo>
                  <a:close/>
                  <a:moveTo>
                    <a:pt x="332" y="2176"/>
                  </a:moveTo>
                  <a:cubicBezTo>
                    <a:pt x="312" y="2173"/>
                    <a:pt x="299" y="2159"/>
                    <a:pt x="304" y="2144"/>
                  </a:cubicBezTo>
                  <a:cubicBezTo>
                    <a:pt x="308" y="2129"/>
                    <a:pt x="327" y="2119"/>
                    <a:pt x="347" y="2121"/>
                  </a:cubicBezTo>
                  <a:cubicBezTo>
                    <a:pt x="366" y="2123"/>
                    <a:pt x="379" y="2137"/>
                    <a:pt x="375" y="2152"/>
                  </a:cubicBezTo>
                  <a:cubicBezTo>
                    <a:pt x="371" y="2168"/>
                    <a:pt x="352" y="2178"/>
                    <a:pt x="332" y="2176"/>
                  </a:cubicBezTo>
                  <a:close/>
                  <a:moveTo>
                    <a:pt x="299" y="2094"/>
                  </a:moveTo>
                  <a:cubicBezTo>
                    <a:pt x="280" y="2092"/>
                    <a:pt x="267" y="2078"/>
                    <a:pt x="271" y="2063"/>
                  </a:cubicBezTo>
                  <a:cubicBezTo>
                    <a:pt x="276" y="2048"/>
                    <a:pt x="295" y="2037"/>
                    <a:pt x="314" y="2040"/>
                  </a:cubicBezTo>
                  <a:cubicBezTo>
                    <a:pt x="334" y="2042"/>
                    <a:pt x="346" y="2056"/>
                    <a:pt x="342" y="2071"/>
                  </a:cubicBezTo>
                  <a:cubicBezTo>
                    <a:pt x="338" y="2086"/>
                    <a:pt x="319" y="2097"/>
                    <a:pt x="299" y="2094"/>
                  </a:cubicBezTo>
                  <a:close/>
                  <a:moveTo>
                    <a:pt x="306" y="1856"/>
                  </a:moveTo>
                  <a:cubicBezTo>
                    <a:pt x="287" y="1854"/>
                    <a:pt x="275" y="1840"/>
                    <a:pt x="279" y="1825"/>
                  </a:cubicBezTo>
                  <a:cubicBezTo>
                    <a:pt x="284" y="1810"/>
                    <a:pt x="303" y="1799"/>
                    <a:pt x="321" y="1802"/>
                  </a:cubicBezTo>
                  <a:cubicBezTo>
                    <a:pt x="340" y="1804"/>
                    <a:pt x="352" y="1818"/>
                    <a:pt x="348" y="1833"/>
                  </a:cubicBezTo>
                  <a:cubicBezTo>
                    <a:pt x="344" y="1848"/>
                    <a:pt x="325" y="1859"/>
                    <a:pt x="306" y="1856"/>
                  </a:cubicBezTo>
                  <a:close/>
                  <a:moveTo>
                    <a:pt x="277" y="1775"/>
                  </a:moveTo>
                  <a:cubicBezTo>
                    <a:pt x="258" y="1772"/>
                    <a:pt x="246" y="1758"/>
                    <a:pt x="251" y="1743"/>
                  </a:cubicBezTo>
                  <a:cubicBezTo>
                    <a:pt x="255" y="1728"/>
                    <a:pt x="274" y="1718"/>
                    <a:pt x="293" y="1720"/>
                  </a:cubicBezTo>
                  <a:cubicBezTo>
                    <a:pt x="311" y="1722"/>
                    <a:pt x="323" y="1737"/>
                    <a:pt x="319" y="1752"/>
                  </a:cubicBezTo>
                  <a:cubicBezTo>
                    <a:pt x="314" y="1767"/>
                    <a:pt x="296" y="1777"/>
                    <a:pt x="277" y="1775"/>
                  </a:cubicBezTo>
                  <a:close/>
                  <a:moveTo>
                    <a:pt x="289" y="1537"/>
                  </a:moveTo>
                  <a:cubicBezTo>
                    <a:pt x="271" y="1534"/>
                    <a:pt x="260" y="1520"/>
                    <a:pt x="265" y="1505"/>
                  </a:cubicBezTo>
                  <a:cubicBezTo>
                    <a:pt x="269" y="1490"/>
                    <a:pt x="288" y="1480"/>
                    <a:pt x="306" y="1482"/>
                  </a:cubicBezTo>
                  <a:cubicBezTo>
                    <a:pt x="324" y="1484"/>
                    <a:pt x="335" y="1498"/>
                    <a:pt x="330" y="1514"/>
                  </a:cubicBezTo>
                  <a:cubicBezTo>
                    <a:pt x="326" y="1529"/>
                    <a:pt x="308" y="1539"/>
                    <a:pt x="289" y="1537"/>
                  </a:cubicBezTo>
                  <a:close/>
                  <a:moveTo>
                    <a:pt x="351" y="1329"/>
                  </a:moveTo>
                  <a:cubicBezTo>
                    <a:pt x="369" y="1331"/>
                    <a:pt x="380" y="1345"/>
                    <a:pt x="375" y="1361"/>
                  </a:cubicBezTo>
                  <a:cubicBezTo>
                    <a:pt x="371" y="1376"/>
                    <a:pt x="353" y="1386"/>
                    <a:pt x="335" y="1384"/>
                  </a:cubicBezTo>
                  <a:cubicBezTo>
                    <a:pt x="317" y="1381"/>
                    <a:pt x="307" y="1367"/>
                    <a:pt x="311" y="1352"/>
                  </a:cubicBezTo>
                  <a:cubicBezTo>
                    <a:pt x="316" y="1337"/>
                    <a:pt x="334" y="1327"/>
                    <a:pt x="351" y="1329"/>
                  </a:cubicBezTo>
                  <a:close/>
                  <a:moveTo>
                    <a:pt x="350" y="1279"/>
                  </a:moveTo>
                  <a:cubicBezTo>
                    <a:pt x="346" y="1294"/>
                    <a:pt x="328" y="1304"/>
                    <a:pt x="310" y="1302"/>
                  </a:cubicBezTo>
                  <a:cubicBezTo>
                    <a:pt x="293" y="1299"/>
                    <a:pt x="282" y="1285"/>
                    <a:pt x="287" y="1270"/>
                  </a:cubicBezTo>
                  <a:cubicBezTo>
                    <a:pt x="292" y="1255"/>
                    <a:pt x="310" y="1245"/>
                    <a:pt x="327" y="1247"/>
                  </a:cubicBezTo>
                  <a:cubicBezTo>
                    <a:pt x="344" y="1250"/>
                    <a:pt x="355" y="1264"/>
                    <a:pt x="350" y="1279"/>
                  </a:cubicBezTo>
                  <a:close/>
                  <a:moveTo>
                    <a:pt x="381" y="1414"/>
                  </a:moveTo>
                  <a:cubicBezTo>
                    <a:pt x="399" y="1416"/>
                    <a:pt x="410" y="1430"/>
                    <a:pt x="406" y="1445"/>
                  </a:cubicBezTo>
                  <a:cubicBezTo>
                    <a:pt x="402" y="1460"/>
                    <a:pt x="383" y="1471"/>
                    <a:pt x="366" y="1468"/>
                  </a:cubicBezTo>
                  <a:cubicBezTo>
                    <a:pt x="348" y="1466"/>
                    <a:pt x="337" y="1452"/>
                    <a:pt x="341" y="1437"/>
                  </a:cubicBezTo>
                  <a:cubicBezTo>
                    <a:pt x="346" y="1422"/>
                    <a:pt x="364" y="1412"/>
                    <a:pt x="381" y="1414"/>
                  </a:cubicBezTo>
                  <a:close/>
                  <a:moveTo>
                    <a:pt x="386" y="1284"/>
                  </a:moveTo>
                  <a:cubicBezTo>
                    <a:pt x="391" y="1269"/>
                    <a:pt x="408" y="1258"/>
                    <a:pt x="426" y="1261"/>
                  </a:cubicBezTo>
                  <a:cubicBezTo>
                    <a:pt x="443" y="1263"/>
                    <a:pt x="454" y="1277"/>
                    <a:pt x="449" y="1292"/>
                  </a:cubicBezTo>
                  <a:cubicBezTo>
                    <a:pt x="445" y="1307"/>
                    <a:pt x="427" y="1318"/>
                    <a:pt x="410" y="1315"/>
                  </a:cubicBezTo>
                  <a:cubicBezTo>
                    <a:pt x="392" y="1313"/>
                    <a:pt x="382" y="1299"/>
                    <a:pt x="386" y="1284"/>
                  </a:cubicBezTo>
                  <a:close/>
                  <a:moveTo>
                    <a:pt x="451" y="1342"/>
                  </a:moveTo>
                  <a:cubicBezTo>
                    <a:pt x="469" y="1344"/>
                    <a:pt x="480" y="1358"/>
                    <a:pt x="476" y="1373"/>
                  </a:cubicBezTo>
                  <a:cubicBezTo>
                    <a:pt x="471" y="1389"/>
                    <a:pt x="454" y="1399"/>
                    <a:pt x="436" y="1397"/>
                  </a:cubicBezTo>
                  <a:cubicBezTo>
                    <a:pt x="418" y="1394"/>
                    <a:pt x="407" y="1380"/>
                    <a:pt x="411" y="1365"/>
                  </a:cubicBezTo>
                  <a:cubicBezTo>
                    <a:pt x="416" y="1350"/>
                    <a:pt x="434" y="1340"/>
                    <a:pt x="451" y="1342"/>
                  </a:cubicBezTo>
                  <a:close/>
                  <a:moveTo>
                    <a:pt x="456" y="1212"/>
                  </a:moveTo>
                  <a:cubicBezTo>
                    <a:pt x="460" y="1197"/>
                    <a:pt x="477" y="1187"/>
                    <a:pt x="494" y="1189"/>
                  </a:cubicBezTo>
                  <a:cubicBezTo>
                    <a:pt x="512" y="1191"/>
                    <a:pt x="522" y="1205"/>
                    <a:pt x="518" y="1220"/>
                  </a:cubicBezTo>
                  <a:cubicBezTo>
                    <a:pt x="514" y="1235"/>
                    <a:pt x="496" y="1246"/>
                    <a:pt x="479" y="1244"/>
                  </a:cubicBezTo>
                  <a:cubicBezTo>
                    <a:pt x="462" y="1241"/>
                    <a:pt x="451" y="1227"/>
                    <a:pt x="456" y="1212"/>
                  </a:cubicBezTo>
                  <a:close/>
                  <a:moveTo>
                    <a:pt x="524" y="1273"/>
                  </a:moveTo>
                  <a:cubicBezTo>
                    <a:pt x="542" y="1276"/>
                    <a:pt x="553" y="1290"/>
                    <a:pt x="549" y="1305"/>
                  </a:cubicBezTo>
                  <a:cubicBezTo>
                    <a:pt x="545" y="1320"/>
                    <a:pt x="527" y="1330"/>
                    <a:pt x="509" y="1328"/>
                  </a:cubicBezTo>
                  <a:cubicBezTo>
                    <a:pt x="492" y="1326"/>
                    <a:pt x="481" y="1312"/>
                    <a:pt x="485" y="1297"/>
                  </a:cubicBezTo>
                  <a:cubicBezTo>
                    <a:pt x="490" y="1282"/>
                    <a:pt x="507" y="1271"/>
                    <a:pt x="524" y="1273"/>
                  </a:cubicBezTo>
                  <a:close/>
                  <a:moveTo>
                    <a:pt x="551" y="1354"/>
                  </a:moveTo>
                  <a:cubicBezTo>
                    <a:pt x="569" y="1357"/>
                    <a:pt x="580" y="1371"/>
                    <a:pt x="576" y="1386"/>
                  </a:cubicBezTo>
                  <a:cubicBezTo>
                    <a:pt x="572" y="1401"/>
                    <a:pt x="554" y="1411"/>
                    <a:pt x="537" y="1409"/>
                  </a:cubicBezTo>
                  <a:cubicBezTo>
                    <a:pt x="519" y="1407"/>
                    <a:pt x="508" y="1393"/>
                    <a:pt x="512" y="1378"/>
                  </a:cubicBezTo>
                  <a:cubicBezTo>
                    <a:pt x="516" y="1363"/>
                    <a:pt x="534" y="1352"/>
                    <a:pt x="551" y="1354"/>
                  </a:cubicBezTo>
                  <a:close/>
                  <a:moveTo>
                    <a:pt x="553" y="1225"/>
                  </a:moveTo>
                  <a:cubicBezTo>
                    <a:pt x="558" y="1210"/>
                    <a:pt x="575" y="1199"/>
                    <a:pt x="592" y="1201"/>
                  </a:cubicBezTo>
                  <a:cubicBezTo>
                    <a:pt x="609" y="1203"/>
                    <a:pt x="620" y="1217"/>
                    <a:pt x="616" y="1232"/>
                  </a:cubicBezTo>
                  <a:cubicBezTo>
                    <a:pt x="612" y="1247"/>
                    <a:pt x="595" y="1258"/>
                    <a:pt x="577" y="1256"/>
                  </a:cubicBezTo>
                  <a:cubicBezTo>
                    <a:pt x="560" y="1254"/>
                    <a:pt x="549" y="1240"/>
                    <a:pt x="553" y="1225"/>
                  </a:cubicBezTo>
                  <a:close/>
                  <a:moveTo>
                    <a:pt x="623" y="1285"/>
                  </a:moveTo>
                  <a:cubicBezTo>
                    <a:pt x="641" y="1287"/>
                    <a:pt x="652" y="1301"/>
                    <a:pt x="648" y="1316"/>
                  </a:cubicBezTo>
                  <a:cubicBezTo>
                    <a:pt x="644" y="1332"/>
                    <a:pt x="627" y="1342"/>
                    <a:pt x="609" y="1340"/>
                  </a:cubicBezTo>
                  <a:cubicBezTo>
                    <a:pt x="592" y="1338"/>
                    <a:pt x="581" y="1324"/>
                    <a:pt x="585" y="1309"/>
                  </a:cubicBezTo>
                  <a:cubicBezTo>
                    <a:pt x="588" y="1294"/>
                    <a:pt x="606" y="1283"/>
                    <a:pt x="623" y="1285"/>
                  </a:cubicBezTo>
                  <a:close/>
                  <a:moveTo>
                    <a:pt x="651" y="1366"/>
                  </a:moveTo>
                  <a:cubicBezTo>
                    <a:pt x="669" y="1368"/>
                    <a:pt x="680" y="1382"/>
                    <a:pt x="676" y="1397"/>
                  </a:cubicBezTo>
                  <a:cubicBezTo>
                    <a:pt x="673" y="1412"/>
                    <a:pt x="655" y="1423"/>
                    <a:pt x="637" y="1421"/>
                  </a:cubicBezTo>
                  <a:cubicBezTo>
                    <a:pt x="620" y="1419"/>
                    <a:pt x="608" y="1405"/>
                    <a:pt x="612" y="1390"/>
                  </a:cubicBezTo>
                  <a:cubicBezTo>
                    <a:pt x="616" y="1375"/>
                    <a:pt x="634" y="1364"/>
                    <a:pt x="651" y="1366"/>
                  </a:cubicBezTo>
                  <a:close/>
                  <a:moveTo>
                    <a:pt x="652" y="1236"/>
                  </a:moveTo>
                  <a:cubicBezTo>
                    <a:pt x="655" y="1221"/>
                    <a:pt x="672" y="1211"/>
                    <a:pt x="690" y="1213"/>
                  </a:cubicBezTo>
                  <a:cubicBezTo>
                    <a:pt x="707" y="1215"/>
                    <a:pt x="718" y="1229"/>
                    <a:pt x="714" y="1244"/>
                  </a:cubicBezTo>
                  <a:cubicBezTo>
                    <a:pt x="710" y="1259"/>
                    <a:pt x="693" y="1269"/>
                    <a:pt x="676" y="1267"/>
                  </a:cubicBezTo>
                  <a:cubicBezTo>
                    <a:pt x="659" y="1266"/>
                    <a:pt x="648" y="1252"/>
                    <a:pt x="652" y="1236"/>
                  </a:cubicBezTo>
                  <a:close/>
                  <a:moveTo>
                    <a:pt x="722" y="1297"/>
                  </a:moveTo>
                  <a:cubicBezTo>
                    <a:pt x="740" y="1299"/>
                    <a:pt x="751" y="1312"/>
                    <a:pt x="747" y="1327"/>
                  </a:cubicBezTo>
                  <a:cubicBezTo>
                    <a:pt x="744" y="1343"/>
                    <a:pt x="726" y="1353"/>
                    <a:pt x="709" y="1351"/>
                  </a:cubicBezTo>
                  <a:cubicBezTo>
                    <a:pt x="691" y="1349"/>
                    <a:pt x="680" y="1336"/>
                    <a:pt x="684" y="1321"/>
                  </a:cubicBezTo>
                  <a:cubicBezTo>
                    <a:pt x="688" y="1305"/>
                    <a:pt x="705" y="1295"/>
                    <a:pt x="722" y="1297"/>
                  </a:cubicBezTo>
                  <a:close/>
                  <a:moveTo>
                    <a:pt x="751" y="1377"/>
                  </a:moveTo>
                  <a:cubicBezTo>
                    <a:pt x="769" y="1379"/>
                    <a:pt x="780" y="1393"/>
                    <a:pt x="777" y="1408"/>
                  </a:cubicBezTo>
                  <a:cubicBezTo>
                    <a:pt x="773" y="1423"/>
                    <a:pt x="756" y="1434"/>
                    <a:pt x="738" y="1432"/>
                  </a:cubicBezTo>
                  <a:cubicBezTo>
                    <a:pt x="720" y="1430"/>
                    <a:pt x="709" y="1416"/>
                    <a:pt x="713" y="1401"/>
                  </a:cubicBezTo>
                  <a:cubicBezTo>
                    <a:pt x="716" y="1386"/>
                    <a:pt x="734" y="1375"/>
                    <a:pt x="751" y="1377"/>
                  </a:cubicBezTo>
                  <a:close/>
                  <a:moveTo>
                    <a:pt x="750" y="1248"/>
                  </a:moveTo>
                  <a:cubicBezTo>
                    <a:pt x="753" y="1232"/>
                    <a:pt x="770" y="1222"/>
                    <a:pt x="787" y="1224"/>
                  </a:cubicBezTo>
                  <a:cubicBezTo>
                    <a:pt x="805" y="1225"/>
                    <a:pt x="816" y="1239"/>
                    <a:pt x="812" y="1254"/>
                  </a:cubicBezTo>
                  <a:cubicBezTo>
                    <a:pt x="809" y="1269"/>
                    <a:pt x="792" y="1280"/>
                    <a:pt x="774" y="1278"/>
                  </a:cubicBezTo>
                  <a:cubicBezTo>
                    <a:pt x="757" y="1277"/>
                    <a:pt x="746" y="1263"/>
                    <a:pt x="750" y="1248"/>
                  </a:cubicBezTo>
                  <a:close/>
                  <a:moveTo>
                    <a:pt x="821" y="1307"/>
                  </a:moveTo>
                  <a:cubicBezTo>
                    <a:pt x="838" y="1309"/>
                    <a:pt x="850" y="1323"/>
                    <a:pt x="847" y="1338"/>
                  </a:cubicBezTo>
                  <a:cubicBezTo>
                    <a:pt x="843" y="1353"/>
                    <a:pt x="826" y="1364"/>
                    <a:pt x="809" y="1362"/>
                  </a:cubicBezTo>
                  <a:cubicBezTo>
                    <a:pt x="791" y="1360"/>
                    <a:pt x="780" y="1346"/>
                    <a:pt x="783" y="1331"/>
                  </a:cubicBezTo>
                  <a:cubicBezTo>
                    <a:pt x="787" y="1316"/>
                    <a:pt x="804" y="1305"/>
                    <a:pt x="821" y="1307"/>
                  </a:cubicBezTo>
                  <a:close/>
                  <a:moveTo>
                    <a:pt x="851" y="1387"/>
                  </a:moveTo>
                  <a:cubicBezTo>
                    <a:pt x="869" y="1389"/>
                    <a:pt x="881" y="1403"/>
                    <a:pt x="877" y="1418"/>
                  </a:cubicBezTo>
                  <a:cubicBezTo>
                    <a:pt x="874" y="1433"/>
                    <a:pt x="857" y="1444"/>
                    <a:pt x="839" y="1442"/>
                  </a:cubicBezTo>
                  <a:cubicBezTo>
                    <a:pt x="821" y="1440"/>
                    <a:pt x="810" y="1427"/>
                    <a:pt x="813" y="1412"/>
                  </a:cubicBezTo>
                  <a:cubicBezTo>
                    <a:pt x="817" y="1396"/>
                    <a:pt x="834" y="1386"/>
                    <a:pt x="851" y="1387"/>
                  </a:cubicBezTo>
                  <a:close/>
                  <a:moveTo>
                    <a:pt x="848" y="1258"/>
                  </a:moveTo>
                  <a:cubicBezTo>
                    <a:pt x="851" y="1243"/>
                    <a:pt x="868" y="1232"/>
                    <a:pt x="885" y="1234"/>
                  </a:cubicBezTo>
                  <a:cubicBezTo>
                    <a:pt x="902" y="1236"/>
                    <a:pt x="914" y="1249"/>
                    <a:pt x="910" y="1264"/>
                  </a:cubicBezTo>
                  <a:cubicBezTo>
                    <a:pt x="907" y="1279"/>
                    <a:pt x="890" y="1290"/>
                    <a:pt x="873" y="1289"/>
                  </a:cubicBezTo>
                  <a:cubicBezTo>
                    <a:pt x="856" y="1287"/>
                    <a:pt x="844" y="1273"/>
                    <a:pt x="848" y="1258"/>
                  </a:cubicBezTo>
                  <a:close/>
                  <a:moveTo>
                    <a:pt x="920" y="1317"/>
                  </a:moveTo>
                  <a:cubicBezTo>
                    <a:pt x="937" y="1319"/>
                    <a:pt x="949" y="1332"/>
                    <a:pt x="946" y="1347"/>
                  </a:cubicBezTo>
                  <a:cubicBezTo>
                    <a:pt x="943" y="1363"/>
                    <a:pt x="926" y="1374"/>
                    <a:pt x="908" y="1372"/>
                  </a:cubicBezTo>
                  <a:cubicBezTo>
                    <a:pt x="891" y="1370"/>
                    <a:pt x="879" y="1357"/>
                    <a:pt x="882" y="1341"/>
                  </a:cubicBezTo>
                  <a:cubicBezTo>
                    <a:pt x="886" y="1326"/>
                    <a:pt x="903" y="1315"/>
                    <a:pt x="920" y="1317"/>
                  </a:cubicBezTo>
                  <a:close/>
                  <a:moveTo>
                    <a:pt x="946" y="1268"/>
                  </a:moveTo>
                  <a:cubicBezTo>
                    <a:pt x="949" y="1253"/>
                    <a:pt x="966" y="1242"/>
                    <a:pt x="983" y="1243"/>
                  </a:cubicBezTo>
                  <a:cubicBezTo>
                    <a:pt x="1000" y="1245"/>
                    <a:pt x="1012" y="1258"/>
                    <a:pt x="1009" y="1274"/>
                  </a:cubicBezTo>
                  <a:cubicBezTo>
                    <a:pt x="1006" y="1289"/>
                    <a:pt x="989" y="1300"/>
                    <a:pt x="972" y="1298"/>
                  </a:cubicBezTo>
                  <a:cubicBezTo>
                    <a:pt x="954" y="1296"/>
                    <a:pt x="943" y="1283"/>
                    <a:pt x="946" y="1268"/>
                  </a:cubicBezTo>
                  <a:close/>
                  <a:moveTo>
                    <a:pt x="1019" y="1326"/>
                  </a:moveTo>
                  <a:cubicBezTo>
                    <a:pt x="1036" y="1328"/>
                    <a:pt x="1048" y="1341"/>
                    <a:pt x="1045" y="1356"/>
                  </a:cubicBezTo>
                  <a:cubicBezTo>
                    <a:pt x="1042" y="1372"/>
                    <a:pt x="1026" y="1383"/>
                    <a:pt x="1008" y="1381"/>
                  </a:cubicBezTo>
                  <a:cubicBezTo>
                    <a:pt x="991" y="1379"/>
                    <a:pt x="979" y="1366"/>
                    <a:pt x="982" y="1351"/>
                  </a:cubicBezTo>
                  <a:cubicBezTo>
                    <a:pt x="985" y="1336"/>
                    <a:pt x="1002" y="1325"/>
                    <a:pt x="1019" y="1326"/>
                  </a:cubicBezTo>
                  <a:close/>
                  <a:moveTo>
                    <a:pt x="1044" y="1277"/>
                  </a:moveTo>
                  <a:cubicBezTo>
                    <a:pt x="1047" y="1262"/>
                    <a:pt x="1064" y="1251"/>
                    <a:pt x="1081" y="1252"/>
                  </a:cubicBezTo>
                  <a:cubicBezTo>
                    <a:pt x="1098" y="1253"/>
                    <a:pt x="1110" y="1267"/>
                    <a:pt x="1107" y="1282"/>
                  </a:cubicBezTo>
                  <a:cubicBezTo>
                    <a:pt x="1104" y="1297"/>
                    <a:pt x="1088" y="1308"/>
                    <a:pt x="1070" y="1307"/>
                  </a:cubicBezTo>
                  <a:cubicBezTo>
                    <a:pt x="1053" y="1305"/>
                    <a:pt x="1041" y="1292"/>
                    <a:pt x="1044" y="1277"/>
                  </a:cubicBezTo>
                  <a:close/>
                  <a:moveTo>
                    <a:pt x="1074" y="1123"/>
                  </a:moveTo>
                  <a:cubicBezTo>
                    <a:pt x="1077" y="1108"/>
                    <a:pt x="1093" y="1097"/>
                    <a:pt x="1110" y="1098"/>
                  </a:cubicBezTo>
                  <a:cubicBezTo>
                    <a:pt x="1127" y="1100"/>
                    <a:pt x="1138" y="1113"/>
                    <a:pt x="1135" y="1128"/>
                  </a:cubicBezTo>
                  <a:cubicBezTo>
                    <a:pt x="1133" y="1143"/>
                    <a:pt x="1116" y="1155"/>
                    <a:pt x="1100" y="1153"/>
                  </a:cubicBezTo>
                  <a:cubicBezTo>
                    <a:pt x="1083" y="1152"/>
                    <a:pt x="1071" y="1138"/>
                    <a:pt x="1074" y="1123"/>
                  </a:cubicBezTo>
                  <a:close/>
                  <a:moveTo>
                    <a:pt x="1146" y="1181"/>
                  </a:moveTo>
                  <a:cubicBezTo>
                    <a:pt x="1163" y="1182"/>
                    <a:pt x="1175" y="1196"/>
                    <a:pt x="1172" y="1211"/>
                  </a:cubicBezTo>
                  <a:cubicBezTo>
                    <a:pt x="1169" y="1226"/>
                    <a:pt x="1153" y="1237"/>
                    <a:pt x="1136" y="1236"/>
                  </a:cubicBezTo>
                  <a:cubicBezTo>
                    <a:pt x="1119" y="1234"/>
                    <a:pt x="1107" y="1221"/>
                    <a:pt x="1110" y="1206"/>
                  </a:cubicBezTo>
                  <a:cubicBezTo>
                    <a:pt x="1113" y="1190"/>
                    <a:pt x="1129" y="1179"/>
                    <a:pt x="1146" y="1181"/>
                  </a:cubicBezTo>
                  <a:close/>
                  <a:moveTo>
                    <a:pt x="1139" y="1052"/>
                  </a:moveTo>
                  <a:cubicBezTo>
                    <a:pt x="1141" y="1037"/>
                    <a:pt x="1157" y="1026"/>
                    <a:pt x="1174" y="1027"/>
                  </a:cubicBezTo>
                  <a:cubicBezTo>
                    <a:pt x="1191" y="1028"/>
                    <a:pt x="1202" y="1042"/>
                    <a:pt x="1199" y="1057"/>
                  </a:cubicBezTo>
                  <a:cubicBezTo>
                    <a:pt x="1196" y="1072"/>
                    <a:pt x="1181" y="1083"/>
                    <a:pt x="1164" y="1082"/>
                  </a:cubicBezTo>
                  <a:cubicBezTo>
                    <a:pt x="1147" y="1080"/>
                    <a:pt x="1136" y="1067"/>
                    <a:pt x="1139" y="1052"/>
                  </a:cubicBezTo>
                  <a:close/>
                  <a:moveTo>
                    <a:pt x="1198" y="977"/>
                  </a:moveTo>
                  <a:cubicBezTo>
                    <a:pt x="1200" y="962"/>
                    <a:pt x="1216" y="951"/>
                    <a:pt x="1232" y="952"/>
                  </a:cubicBezTo>
                  <a:cubicBezTo>
                    <a:pt x="1249" y="954"/>
                    <a:pt x="1260" y="967"/>
                    <a:pt x="1257" y="982"/>
                  </a:cubicBezTo>
                  <a:cubicBezTo>
                    <a:pt x="1255" y="997"/>
                    <a:pt x="1239" y="1009"/>
                    <a:pt x="1223" y="1007"/>
                  </a:cubicBezTo>
                  <a:cubicBezTo>
                    <a:pt x="1206" y="1006"/>
                    <a:pt x="1195" y="993"/>
                    <a:pt x="1198" y="977"/>
                  </a:cubicBezTo>
                  <a:close/>
                  <a:moveTo>
                    <a:pt x="1268" y="1035"/>
                  </a:moveTo>
                  <a:cubicBezTo>
                    <a:pt x="1285" y="1036"/>
                    <a:pt x="1296" y="1049"/>
                    <a:pt x="1294" y="1064"/>
                  </a:cubicBezTo>
                  <a:cubicBezTo>
                    <a:pt x="1292" y="1080"/>
                    <a:pt x="1276" y="1091"/>
                    <a:pt x="1259" y="1090"/>
                  </a:cubicBezTo>
                  <a:cubicBezTo>
                    <a:pt x="1242" y="1088"/>
                    <a:pt x="1231" y="1075"/>
                    <a:pt x="1233" y="1060"/>
                  </a:cubicBezTo>
                  <a:cubicBezTo>
                    <a:pt x="1236" y="1045"/>
                    <a:pt x="1252" y="1033"/>
                    <a:pt x="1268" y="1035"/>
                  </a:cubicBezTo>
                  <a:close/>
                  <a:moveTo>
                    <a:pt x="1291" y="985"/>
                  </a:moveTo>
                  <a:cubicBezTo>
                    <a:pt x="1294" y="970"/>
                    <a:pt x="1309" y="959"/>
                    <a:pt x="1325" y="960"/>
                  </a:cubicBezTo>
                  <a:cubicBezTo>
                    <a:pt x="1342" y="961"/>
                    <a:pt x="1353" y="974"/>
                    <a:pt x="1351" y="989"/>
                  </a:cubicBezTo>
                  <a:cubicBezTo>
                    <a:pt x="1349" y="1005"/>
                    <a:pt x="1333" y="1016"/>
                    <a:pt x="1317" y="1015"/>
                  </a:cubicBezTo>
                  <a:cubicBezTo>
                    <a:pt x="1300" y="1013"/>
                    <a:pt x="1289" y="1000"/>
                    <a:pt x="1291" y="985"/>
                  </a:cubicBezTo>
                  <a:close/>
                  <a:moveTo>
                    <a:pt x="1363" y="1042"/>
                  </a:moveTo>
                  <a:cubicBezTo>
                    <a:pt x="1379" y="1043"/>
                    <a:pt x="1391" y="1056"/>
                    <a:pt x="1389" y="1071"/>
                  </a:cubicBezTo>
                  <a:cubicBezTo>
                    <a:pt x="1387" y="1086"/>
                    <a:pt x="1371" y="1098"/>
                    <a:pt x="1354" y="1097"/>
                  </a:cubicBezTo>
                  <a:cubicBezTo>
                    <a:pt x="1338" y="1095"/>
                    <a:pt x="1326" y="1082"/>
                    <a:pt x="1328" y="1067"/>
                  </a:cubicBezTo>
                  <a:cubicBezTo>
                    <a:pt x="1331" y="1052"/>
                    <a:pt x="1346" y="1040"/>
                    <a:pt x="1363" y="1042"/>
                  </a:cubicBezTo>
                  <a:close/>
                  <a:moveTo>
                    <a:pt x="1352" y="913"/>
                  </a:moveTo>
                  <a:cubicBezTo>
                    <a:pt x="1355" y="898"/>
                    <a:pt x="1370" y="887"/>
                    <a:pt x="1386" y="888"/>
                  </a:cubicBezTo>
                  <a:cubicBezTo>
                    <a:pt x="1402" y="889"/>
                    <a:pt x="1414" y="902"/>
                    <a:pt x="1411" y="917"/>
                  </a:cubicBezTo>
                  <a:cubicBezTo>
                    <a:pt x="1409" y="932"/>
                    <a:pt x="1394" y="944"/>
                    <a:pt x="1378" y="943"/>
                  </a:cubicBezTo>
                  <a:cubicBezTo>
                    <a:pt x="1361" y="942"/>
                    <a:pt x="1350" y="928"/>
                    <a:pt x="1352" y="913"/>
                  </a:cubicBezTo>
                  <a:close/>
                  <a:moveTo>
                    <a:pt x="1408" y="838"/>
                  </a:moveTo>
                  <a:cubicBezTo>
                    <a:pt x="1410" y="823"/>
                    <a:pt x="1425" y="811"/>
                    <a:pt x="1441" y="813"/>
                  </a:cubicBezTo>
                  <a:cubicBezTo>
                    <a:pt x="1457" y="814"/>
                    <a:pt x="1468" y="827"/>
                    <a:pt x="1466" y="842"/>
                  </a:cubicBezTo>
                  <a:cubicBezTo>
                    <a:pt x="1464" y="857"/>
                    <a:pt x="1449" y="869"/>
                    <a:pt x="1433" y="867"/>
                  </a:cubicBezTo>
                  <a:cubicBezTo>
                    <a:pt x="1417" y="866"/>
                    <a:pt x="1405" y="853"/>
                    <a:pt x="1408" y="838"/>
                  </a:cubicBezTo>
                  <a:close/>
                  <a:moveTo>
                    <a:pt x="1478" y="894"/>
                  </a:moveTo>
                  <a:cubicBezTo>
                    <a:pt x="1494" y="895"/>
                    <a:pt x="1506" y="908"/>
                    <a:pt x="1504" y="923"/>
                  </a:cubicBezTo>
                  <a:cubicBezTo>
                    <a:pt x="1502" y="939"/>
                    <a:pt x="1487" y="950"/>
                    <a:pt x="1471" y="949"/>
                  </a:cubicBezTo>
                  <a:cubicBezTo>
                    <a:pt x="1454" y="948"/>
                    <a:pt x="1443" y="935"/>
                    <a:pt x="1445" y="920"/>
                  </a:cubicBezTo>
                  <a:cubicBezTo>
                    <a:pt x="1447" y="904"/>
                    <a:pt x="1462" y="893"/>
                    <a:pt x="1478" y="894"/>
                  </a:cubicBezTo>
                  <a:close/>
                  <a:moveTo>
                    <a:pt x="1499" y="844"/>
                  </a:moveTo>
                  <a:cubicBezTo>
                    <a:pt x="1501" y="829"/>
                    <a:pt x="1516" y="818"/>
                    <a:pt x="1532" y="819"/>
                  </a:cubicBezTo>
                  <a:cubicBezTo>
                    <a:pt x="1548" y="820"/>
                    <a:pt x="1559" y="833"/>
                    <a:pt x="1557" y="848"/>
                  </a:cubicBezTo>
                  <a:cubicBezTo>
                    <a:pt x="1555" y="863"/>
                    <a:pt x="1541" y="874"/>
                    <a:pt x="1525" y="873"/>
                  </a:cubicBezTo>
                  <a:cubicBezTo>
                    <a:pt x="1508" y="872"/>
                    <a:pt x="1497" y="859"/>
                    <a:pt x="1499" y="844"/>
                  </a:cubicBezTo>
                  <a:close/>
                  <a:moveTo>
                    <a:pt x="1570" y="900"/>
                  </a:moveTo>
                  <a:cubicBezTo>
                    <a:pt x="1586" y="901"/>
                    <a:pt x="1598" y="914"/>
                    <a:pt x="1596" y="929"/>
                  </a:cubicBezTo>
                  <a:cubicBezTo>
                    <a:pt x="1595" y="944"/>
                    <a:pt x="1580" y="956"/>
                    <a:pt x="1564" y="955"/>
                  </a:cubicBezTo>
                  <a:cubicBezTo>
                    <a:pt x="1547" y="954"/>
                    <a:pt x="1535" y="941"/>
                    <a:pt x="1537" y="925"/>
                  </a:cubicBezTo>
                  <a:cubicBezTo>
                    <a:pt x="1539" y="910"/>
                    <a:pt x="1554" y="899"/>
                    <a:pt x="1570" y="900"/>
                  </a:cubicBezTo>
                  <a:close/>
                  <a:moveTo>
                    <a:pt x="1590" y="850"/>
                  </a:moveTo>
                  <a:cubicBezTo>
                    <a:pt x="1592" y="835"/>
                    <a:pt x="1607" y="823"/>
                    <a:pt x="1623" y="824"/>
                  </a:cubicBezTo>
                  <a:cubicBezTo>
                    <a:pt x="1639" y="825"/>
                    <a:pt x="1650" y="838"/>
                    <a:pt x="1649" y="853"/>
                  </a:cubicBezTo>
                  <a:cubicBezTo>
                    <a:pt x="1647" y="868"/>
                    <a:pt x="1633" y="880"/>
                    <a:pt x="1616" y="879"/>
                  </a:cubicBezTo>
                  <a:cubicBezTo>
                    <a:pt x="1600" y="878"/>
                    <a:pt x="1589" y="865"/>
                    <a:pt x="1590" y="850"/>
                  </a:cubicBezTo>
                  <a:close/>
                  <a:moveTo>
                    <a:pt x="1662" y="905"/>
                  </a:moveTo>
                  <a:cubicBezTo>
                    <a:pt x="1679" y="906"/>
                    <a:pt x="1691" y="918"/>
                    <a:pt x="1689" y="934"/>
                  </a:cubicBezTo>
                  <a:cubicBezTo>
                    <a:pt x="1688" y="949"/>
                    <a:pt x="1673" y="960"/>
                    <a:pt x="1657" y="960"/>
                  </a:cubicBezTo>
                  <a:cubicBezTo>
                    <a:pt x="1640" y="959"/>
                    <a:pt x="1628" y="946"/>
                    <a:pt x="1630" y="931"/>
                  </a:cubicBezTo>
                  <a:cubicBezTo>
                    <a:pt x="1632" y="915"/>
                    <a:pt x="1646" y="904"/>
                    <a:pt x="1662" y="905"/>
                  </a:cubicBezTo>
                  <a:close/>
                  <a:moveTo>
                    <a:pt x="1682" y="855"/>
                  </a:moveTo>
                  <a:cubicBezTo>
                    <a:pt x="1683" y="839"/>
                    <a:pt x="1698" y="828"/>
                    <a:pt x="1714" y="829"/>
                  </a:cubicBezTo>
                  <a:cubicBezTo>
                    <a:pt x="1730" y="829"/>
                    <a:pt x="1742" y="842"/>
                    <a:pt x="1740" y="857"/>
                  </a:cubicBezTo>
                  <a:cubicBezTo>
                    <a:pt x="1739" y="873"/>
                    <a:pt x="1725" y="884"/>
                    <a:pt x="1708" y="883"/>
                  </a:cubicBezTo>
                  <a:cubicBezTo>
                    <a:pt x="1692" y="883"/>
                    <a:pt x="1680" y="870"/>
                    <a:pt x="1682" y="855"/>
                  </a:cubicBezTo>
                  <a:close/>
                  <a:moveTo>
                    <a:pt x="1755" y="909"/>
                  </a:moveTo>
                  <a:cubicBezTo>
                    <a:pt x="1771" y="910"/>
                    <a:pt x="1783" y="923"/>
                    <a:pt x="1782" y="938"/>
                  </a:cubicBezTo>
                  <a:cubicBezTo>
                    <a:pt x="1780" y="953"/>
                    <a:pt x="1766" y="965"/>
                    <a:pt x="1750" y="964"/>
                  </a:cubicBezTo>
                  <a:cubicBezTo>
                    <a:pt x="1733" y="963"/>
                    <a:pt x="1721" y="950"/>
                    <a:pt x="1723" y="935"/>
                  </a:cubicBezTo>
                  <a:cubicBezTo>
                    <a:pt x="1724" y="920"/>
                    <a:pt x="1738" y="908"/>
                    <a:pt x="1755" y="909"/>
                  </a:cubicBezTo>
                  <a:close/>
                  <a:moveTo>
                    <a:pt x="1773" y="859"/>
                  </a:moveTo>
                  <a:cubicBezTo>
                    <a:pt x="1775" y="844"/>
                    <a:pt x="1789" y="832"/>
                    <a:pt x="1805" y="833"/>
                  </a:cubicBezTo>
                  <a:cubicBezTo>
                    <a:pt x="1821" y="833"/>
                    <a:pt x="1833" y="846"/>
                    <a:pt x="1832" y="861"/>
                  </a:cubicBezTo>
                  <a:cubicBezTo>
                    <a:pt x="1830" y="876"/>
                    <a:pt x="1816" y="888"/>
                    <a:pt x="1800" y="887"/>
                  </a:cubicBezTo>
                  <a:cubicBezTo>
                    <a:pt x="1784" y="887"/>
                    <a:pt x="1772" y="874"/>
                    <a:pt x="1773" y="859"/>
                  </a:cubicBezTo>
                  <a:close/>
                  <a:moveTo>
                    <a:pt x="1847" y="913"/>
                  </a:moveTo>
                  <a:cubicBezTo>
                    <a:pt x="1863" y="913"/>
                    <a:pt x="1875" y="926"/>
                    <a:pt x="1874" y="941"/>
                  </a:cubicBezTo>
                  <a:cubicBezTo>
                    <a:pt x="1873" y="956"/>
                    <a:pt x="1859" y="968"/>
                    <a:pt x="1843" y="968"/>
                  </a:cubicBezTo>
                  <a:cubicBezTo>
                    <a:pt x="1826" y="967"/>
                    <a:pt x="1814" y="954"/>
                    <a:pt x="1815" y="939"/>
                  </a:cubicBezTo>
                  <a:cubicBezTo>
                    <a:pt x="1816" y="924"/>
                    <a:pt x="1831" y="912"/>
                    <a:pt x="1847" y="913"/>
                  </a:cubicBezTo>
                  <a:close/>
                  <a:moveTo>
                    <a:pt x="1865" y="862"/>
                  </a:moveTo>
                  <a:cubicBezTo>
                    <a:pt x="1866" y="847"/>
                    <a:pt x="1880" y="835"/>
                    <a:pt x="1896" y="836"/>
                  </a:cubicBezTo>
                  <a:cubicBezTo>
                    <a:pt x="1912" y="837"/>
                    <a:pt x="1924" y="849"/>
                    <a:pt x="1923" y="864"/>
                  </a:cubicBezTo>
                  <a:cubicBezTo>
                    <a:pt x="1922" y="880"/>
                    <a:pt x="1908" y="891"/>
                    <a:pt x="1892" y="891"/>
                  </a:cubicBezTo>
                  <a:cubicBezTo>
                    <a:pt x="1876" y="890"/>
                    <a:pt x="1864" y="878"/>
                    <a:pt x="1865" y="862"/>
                  </a:cubicBezTo>
                  <a:close/>
                  <a:moveTo>
                    <a:pt x="1939" y="916"/>
                  </a:moveTo>
                  <a:cubicBezTo>
                    <a:pt x="1955" y="916"/>
                    <a:pt x="1968" y="929"/>
                    <a:pt x="1967" y="944"/>
                  </a:cubicBezTo>
                  <a:cubicBezTo>
                    <a:pt x="1966" y="959"/>
                    <a:pt x="1952" y="971"/>
                    <a:pt x="1936" y="971"/>
                  </a:cubicBezTo>
                  <a:cubicBezTo>
                    <a:pt x="1919" y="970"/>
                    <a:pt x="1907" y="957"/>
                    <a:pt x="1908" y="942"/>
                  </a:cubicBezTo>
                  <a:cubicBezTo>
                    <a:pt x="1909" y="927"/>
                    <a:pt x="1923" y="915"/>
                    <a:pt x="1939" y="916"/>
                  </a:cubicBezTo>
                  <a:close/>
                  <a:moveTo>
                    <a:pt x="1956" y="865"/>
                  </a:moveTo>
                  <a:cubicBezTo>
                    <a:pt x="1957" y="850"/>
                    <a:pt x="1971" y="838"/>
                    <a:pt x="1987" y="839"/>
                  </a:cubicBezTo>
                  <a:cubicBezTo>
                    <a:pt x="2003" y="839"/>
                    <a:pt x="2015" y="852"/>
                    <a:pt x="2015" y="867"/>
                  </a:cubicBezTo>
                  <a:cubicBezTo>
                    <a:pt x="2014" y="882"/>
                    <a:pt x="2000" y="894"/>
                    <a:pt x="1984" y="894"/>
                  </a:cubicBezTo>
                  <a:cubicBezTo>
                    <a:pt x="1968" y="893"/>
                    <a:pt x="1955" y="880"/>
                    <a:pt x="1956" y="865"/>
                  </a:cubicBezTo>
                  <a:close/>
                  <a:moveTo>
                    <a:pt x="2031" y="918"/>
                  </a:moveTo>
                  <a:cubicBezTo>
                    <a:pt x="2048" y="918"/>
                    <a:pt x="2060" y="931"/>
                    <a:pt x="2060" y="946"/>
                  </a:cubicBezTo>
                  <a:cubicBezTo>
                    <a:pt x="2059" y="961"/>
                    <a:pt x="2045" y="973"/>
                    <a:pt x="2029" y="973"/>
                  </a:cubicBezTo>
                  <a:cubicBezTo>
                    <a:pt x="2013" y="972"/>
                    <a:pt x="2000" y="960"/>
                    <a:pt x="2001" y="945"/>
                  </a:cubicBezTo>
                  <a:cubicBezTo>
                    <a:pt x="2001" y="930"/>
                    <a:pt x="2015" y="918"/>
                    <a:pt x="2031" y="918"/>
                  </a:cubicBezTo>
                  <a:close/>
                  <a:moveTo>
                    <a:pt x="2048" y="868"/>
                  </a:moveTo>
                  <a:cubicBezTo>
                    <a:pt x="2048" y="853"/>
                    <a:pt x="2062" y="841"/>
                    <a:pt x="2078" y="841"/>
                  </a:cubicBezTo>
                  <a:cubicBezTo>
                    <a:pt x="2094" y="841"/>
                    <a:pt x="2107" y="854"/>
                    <a:pt x="2106" y="869"/>
                  </a:cubicBezTo>
                  <a:cubicBezTo>
                    <a:pt x="2106" y="884"/>
                    <a:pt x="2092" y="896"/>
                    <a:pt x="2076" y="896"/>
                  </a:cubicBezTo>
                  <a:cubicBezTo>
                    <a:pt x="2060" y="895"/>
                    <a:pt x="2047" y="883"/>
                    <a:pt x="2048" y="868"/>
                  </a:cubicBezTo>
                  <a:close/>
                  <a:moveTo>
                    <a:pt x="2124" y="920"/>
                  </a:moveTo>
                  <a:cubicBezTo>
                    <a:pt x="2140" y="920"/>
                    <a:pt x="2153" y="932"/>
                    <a:pt x="2152" y="947"/>
                  </a:cubicBezTo>
                  <a:cubicBezTo>
                    <a:pt x="2152" y="963"/>
                    <a:pt x="2138" y="975"/>
                    <a:pt x="2122" y="974"/>
                  </a:cubicBezTo>
                  <a:cubicBezTo>
                    <a:pt x="2106" y="974"/>
                    <a:pt x="2093" y="962"/>
                    <a:pt x="2093" y="947"/>
                  </a:cubicBezTo>
                  <a:cubicBezTo>
                    <a:pt x="2094" y="932"/>
                    <a:pt x="2107" y="919"/>
                    <a:pt x="2124" y="920"/>
                  </a:cubicBezTo>
                  <a:close/>
                  <a:moveTo>
                    <a:pt x="2139" y="869"/>
                  </a:moveTo>
                  <a:cubicBezTo>
                    <a:pt x="2140" y="854"/>
                    <a:pt x="2153" y="842"/>
                    <a:pt x="2169" y="842"/>
                  </a:cubicBezTo>
                  <a:cubicBezTo>
                    <a:pt x="2185" y="842"/>
                    <a:pt x="2198" y="855"/>
                    <a:pt x="2198" y="870"/>
                  </a:cubicBezTo>
                  <a:cubicBezTo>
                    <a:pt x="2197" y="885"/>
                    <a:pt x="2184" y="897"/>
                    <a:pt x="2168" y="897"/>
                  </a:cubicBezTo>
                  <a:cubicBezTo>
                    <a:pt x="2152" y="897"/>
                    <a:pt x="2139" y="884"/>
                    <a:pt x="2139" y="869"/>
                  </a:cubicBezTo>
                  <a:close/>
                  <a:moveTo>
                    <a:pt x="2189" y="795"/>
                  </a:moveTo>
                  <a:cubicBezTo>
                    <a:pt x="2189" y="779"/>
                    <a:pt x="2202" y="767"/>
                    <a:pt x="2218" y="768"/>
                  </a:cubicBezTo>
                  <a:cubicBezTo>
                    <a:pt x="2234" y="768"/>
                    <a:pt x="2247" y="780"/>
                    <a:pt x="2246" y="795"/>
                  </a:cubicBezTo>
                  <a:cubicBezTo>
                    <a:pt x="2246" y="810"/>
                    <a:pt x="2233" y="822"/>
                    <a:pt x="2217" y="822"/>
                  </a:cubicBezTo>
                  <a:cubicBezTo>
                    <a:pt x="2201" y="822"/>
                    <a:pt x="2188" y="810"/>
                    <a:pt x="2189" y="795"/>
                  </a:cubicBezTo>
                  <a:close/>
                  <a:moveTo>
                    <a:pt x="2260" y="843"/>
                  </a:moveTo>
                  <a:cubicBezTo>
                    <a:pt x="2276" y="843"/>
                    <a:pt x="2289" y="855"/>
                    <a:pt x="2289" y="871"/>
                  </a:cubicBezTo>
                  <a:cubicBezTo>
                    <a:pt x="2289" y="886"/>
                    <a:pt x="2276" y="898"/>
                    <a:pt x="2260" y="898"/>
                  </a:cubicBezTo>
                  <a:cubicBezTo>
                    <a:pt x="2244" y="898"/>
                    <a:pt x="2231" y="885"/>
                    <a:pt x="2231" y="870"/>
                  </a:cubicBezTo>
                  <a:cubicBezTo>
                    <a:pt x="2231" y="855"/>
                    <a:pt x="2244" y="843"/>
                    <a:pt x="2260" y="843"/>
                  </a:cubicBezTo>
                  <a:close/>
                  <a:moveTo>
                    <a:pt x="2279" y="795"/>
                  </a:moveTo>
                  <a:cubicBezTo>
                    <a:pt x="2279" y="780"/>
                    <a:pt x="2292" y="768"/>
                    <a:pt x="2308" y="768"/>
                  </a:cubicBezTo>
                  <a:cubicBezTo>
                    <a:pt x="2324" y="768"/>
                    <a:pt x="2337" y="780"/>
                    <a:pt x="2337" y="795"/>
                  </a:cubicBezTo>
                  <a:cubicBezTo>
                    <a:pt x="2337" y="810"/>
                    <a:pt x="2324" y="823"/>
                    <a:pt x="2308" y="823"/>
                  </a:cubicBezTo>
                  <a:cubicBezTo>
                    <a:pt x="2292" y="823"/>
                    <a:pt x="2279" y="810"/>
                    <a:pt x="2279" y="795"/>
                  </a:cubicBezTo>
                  <a:close/>
                  <a:moveTo>
                    <a:pt x="2351" y="843"/>
                  </a:moveTo>
                  <a:cubicBezTo>
                    <a:pt x="2367" y="843"/>
                    <a:pt x="2380" y="855"/>
                    <a:pt x="2381" y="870"/>
                  </a:cubicBezTo>
                  <a:cubicBezTo>
                    <a:pt x="2381" y="886"/>
                    <a:pt x="2368" y="898"/>
                    <a:pt x="2352" y="898"/>
                  </a:cubicBezTo>
                  <a:cubicBezTo>
                    <a:pt x="2336" y="898"/>
                    <a:pt x="2322" y="886"/>
                    <a:pt x="2322" y="871"/>
                  </a:cubicBezTo>
                  <a:cubicBezTo>
                    <a:pt x="2322" y="855"/>
                    <a:pt x="2335" y="843"/>
                    <a:pt x="2351" y="843"/>
                  </a:cubicBezTo>
                  <a:close/>
                  <a:moveTo>
                    <a:pt x="2370" y="795"/>
                  </a:moveTo>
                  <a:cubicBezTo>
                    <a:pt x="2369" y="780"/>
                    <a:pt x="2382" y="768"/>
                    <a:pt x="2398" y="768"/>
                  </a:cubicBezTo>
                  <a:cubicBezTo>
                    <a:pt x="2414" y="768"/>
                    <a:pt x="2427" y="780"/>
                    <a:pt x="2427" y="795"/>
                  </a:cubicBezTo>
                  <a:cubicBezTo>
                    <a:pt x="2428" y="810"/>
                    <a:pt x="2415" y="822"/>
                    <a:pt x="2399" y="823"/>
                  </a:cubicBezTo>
                  <a:cubicBezTo>
                    <a:pt x="2383" y="823"/>
                    <a:pt x="2370" y="810"/>
                    <a:pt x="2370" y="795"/>
                  </a:cubicBezTo>
                  <a:close/>
                  <a:moveTo>
                    <a:pt x="2442" y="843"/>
                  </a:moveTo>
                  <a:cubicBezTo>
                    <a:pt x="2458" y="843"/>
                    <a:pt x="2472" y="855"/>
                    <a:pt x="2472" y="870"/>
                  </a:cubicBezTo>
                  <a:cubicBezTo>
                    <a:pt x="2473" y="885"/>
                    <a:pt x="2460" y="897"/>
                    <a:pt x="2444" y="897"/>
                  </a:cubicBezTo>
                  <a:cubicBezTo>
                    <a:pt x="2427" y="897"/>
                    <a:pt x="2414" y="885"/>
                    <a:pt x="2414" y="870"/>
                  </a:cubicBezTo>
                  <a:cubicBezTo>
                    <a:pt x="2413" y="855"/>
                    <a:pt x="2426" y="843"/>
                    <a:pt x="2442" y="843"/>
                  </a:cubicBezTo>
                  <a:close/>
                  <a:moveTo>
                    <a:pt x="2460" y="795"/>
                  </a:moveTo>
                  <a:cubicBezTo>
                    <a:pt x="2459" y="780"/>
                    <a:pt x="2472" y="767"/>
                    <a:pt x="2488" y="767"/>
                  </a:cubicBezTo>
                  <a:cubicBezTo>
                    <a:pt x="2504" y="767"/>
                    <a:pt x="2517" y="779"/>
                    <a:pt x="2518" y="794"/>
                  </a:cubicBezTo>
                  <a:cubicBezTo>
                    <a:pt x="2518" y="809"/>
                    <a:pt x="2506" y="821"/>
                    <a:pt x="2490" y="822"/>
                  </a:cubicBezTo>
                  <a:cubicBezTo>
                    <a:pt x="2474" y="822"/>
                    <a:pt x="2460" y="810"/>
                    <a:pt x="2460" y="795"/>
                  </a:cubicBezTo>
                  <a:close/>
                  <a:moveTo>
                    <a:pt x="2533" y="842"/>
                  </a:moveTo>
                  <a:cubicBezTo>
                    <a:pt x="2549" y="841"/>
                    <a:pt x="2563" y="853"/>
                    <a:pt x="2564" y="868"/>
                  </a:cubicBezTo>
                  <a:cubicBezTo>
                    <a:pt x="2564" y="883"/>
                    <a:pt x="2552" y="896"/>
                    <a:pt x="2536" y="896"/>
                  </a:cubicBezTo>
                  <a:cubicBezTo>
                    <a:pt x="2519" y="896"/>
                    <a:pt x="2506" y="884"/>
                    <a:pt x="2505" y="869"/>
                  </a:cubicBezTo>
                  <a:cubicBezTo>
                    <a:pt x="2505" y="854"/>
                    <a:pt x="2517" y="842"/>
                    <a:pt x="2533" y="842"/>
                  </a:cubicBezTo>
                  <a:close/>
                  <a:moveTo>
                    <a:pt x="2550" y="794"/>
                  </a:moveTo>
                  <a:cubicBezTo>
                    <a:pt x="2550" y="778"/>
                    <a:pt x="2562" y="766"/>
                    <a:pt x="2578" y="766"/>
                  </a:cubicBezTo>
                  <a:cubicBezTo>
                    <a:pt x="2594" y="765"/>
                    <a:pt x="2607" y="777"/>
                    <a:pt x="2608" y="792"/>
                  </a:cubicBezTo>
                  <a:cubicBezTo>
                    <a:pt x="2609" y="807"/>
                    <a:pt x="2596" y="820"/>
                    <a:pt x="2580" y="820"/>
                  </a:cubicBezTo>
                  <a:cubicBezTo>
                    <a:pt x="2564" y="821"/>
                    <a:pt x="2551" y="809"/>
                    <a:pt x="2550" y="794"/>
                  </a:cubicBezTo>
                  <a:close/>
                  <a:moveTo>
                    <a:pt x="2625" y="840"/>
                  </a:moveTo>
                  <a:cubicBezTo>
                    <a:pt x="2641" y="839"/>
                    <a:pt x="2654" y="851"/>
                    <a:pt x="2655" y="866"/>
                  </a:cubicBezTo>
                  <a:cubicBezTo>
                    <a:pt x="2656" y="881"/>
                    <a:pt x="2644" y="894"/>
                    <a:pt x="2628" y="894"/>
                  </a:cubicBezTo>
                  <a:cubicBezTo>
                    <a:pt x="2611" y="895"/>
                    <a:pt x="2598" y="883"/>
                    <a:pt x="2597" y="868"/>
                  </a:cubicBezTo>
                  <a:cubicBezTo>
                    <a:pt x="2596" y="853"/>
                    <a:pt x="2608" y="840"/>
                    <a:pt x="2625" y="840"/>
                  </a:cubicBezTo>
                  <a:close/>
                  <a:moveTo>
                    <a:pt x="2668" y="764"/>
                  </a:moveTo>
                  <a:cubicBezTo>
                    <a:pt x="2684" y="763"/>
                    <a:pt x="2697" y="775"/>
                    <a:pt x="2698" y="790"/>
                  </a:cubicBezTo>
                  <a:cubicBezTo>
                    <a:pt x="2699" y="805"/>
                    <a:pt x="2687" y="818"/>
                    <a:pt x="2671" y="818"/>
                  </a:cubicBezTo>
                  <a:cubicBezTo>
                    <a:pt x="2655" y="819"/>
                    <a:pt x="2641" y="807"/>
                    <a:pt x="2641" y="792"/>
                  </a:cubicBezTo>
                  <a:cubicBezTo>
                    <a:pt x="2640" y="777"/>
                    <a:pt x="2652" y="764"/>
                    <a:pt x="2668" y="764"/>
                  </a:cubicBezTo>
                  <a:close/>
                  <a:moveTo>
                    <a:pt x="2716" y="837"/>
                  </a:moveTo>
                  <a:cubicBezTo>
                    <a:pt x="2732" y="837"/>
                    <a:pt x="2746" y="849"/>
                    <a:pt x="2747" y="864"/>
                  </a:cubicBezTo>
                  <a:cubicBezTo>
                    <a:pt x="2748" y="879"/>
                    <a:pt x="2736" y="891"/>
                    <a:pt x="2719" y="892"/>
                  </a:cubicBezTo>
                  <a:cubicBezTo>
                    <a:pt x="2703" y="892"/>
                    <a:pt x="2689" y="880"/>
                    <a:pt x="2688" y="865"/>
                  </a:cubicBezTo>
                  <a:cubicBezTo>
                    <a:pt x="2687" y="850"/>
                    <a:pt x="2700" y="838"/>
                    <a:pt x="2716" y="837"/>
                  </a:cubicBezTo>
                  <a:close/>
                  <a:moveTo>
                    <a:pt x="2758" y="761"/>
                  </a:moveTo>
                  <a:cubicBezTo>
                    <a:pt x="2774" y="761"/>
                    <a:pt x="2787" y="772"/>
                    <a:pt x="2789" y="787"/>
                  </a:cubicBezTo>
                  <a:cubicBezTo>
                    <a:pt x="2790" y="802"/>
                    <a:pt x="2778" y="815"/>
                    <a:pt x="2762" y="815"/>
                  </a:cubicBezTo>
                  <a:cubicBezTo>
                    <a:pt x="2746" y="816"/>
                    <a:pt x="2732" y="804"/>
                    <a:pt x="2731" y="789"/>
                  </a:cubicBezTo>
                  <a:cubicBezTo>
                    <a:pt x="2730" y="774"/>
                    <a:pt x="2742" y="762"/>
                    <a:pt x="2758" y="761"/>
                  </a:cubicBezTo>
                  <a:close/>
                  <a:moveTo>
                    <a:pt x="2807" y="834"/>
                  </a:moveTo>
                  <a:cubicBezTo>
                    <a:pt x="2823" y="834"/>
                    <a:pt x="2837" y="845"/>
                    <a:pt x="2838" y="860"/>
                  </a:cubicBezTo>
                  <a:cubicBezTo>
                    <a:pt x="2840" y="875"/>
                    <a:pt x="2828" y="888"/>
                    <a:pt x="2811" y="888"/>
                  </a:cubicBezTo>
                  <a:cubicBezTo>
                    <a:pt x="2795" y="889"/>
                    <a:pt x="2781" y="877"/>
                    <a:pt x="2780" y="862"/>
                  </a:cubicBezTo>
                  <a:cubicBezTo>
                    <a:pt x="2779" y="847"/>
                    <a:pt x="2791" y="835"/>
                    <a:pt x="2807" y="834"/>
                  </a:cubicBezTo>
                  <a:close/>
                  <a:moveTo>
                    <a:pt x="2862" y="910"/>
                  </a:moveTo>
                  <a:cubicBezTo>
                    <a:pt x="2878" y="909"/>
                    <a:pt x="2893" y="920"/>
                    <a:pt x="2894" y="935"/>
                  </a:cubicBezTo>
                  <a:cubicBezTo>
                    <a:pt x="2896" y="950"/>
                    <a:pt x="2883" y="963"/>
                    <a:pt x="2867" y="964"/>
                  </a:cubicBezTo>
                  <a:cubicBezTo>
                    <a:pt x="2851" y="964"/>
                    <a:pt x="2836" y="953"/>
                    <a:pt x="2835" y="938"/>
                  </a:cubicBezTo>
                  <a:cubicBezTo>
                    <a:pt x="2834" y="923"/>
                    <a:pt x="2846" y="910"/>
                    <a:pt x="2862" y="910"/>
                  </a:cubicBezTo>
                  <a:close/>
                  <a:moveTo>
                    <a:pt x="2898" y="830"/>
                  </a:moveTo>
                  <a:cubicBezTo>
                    <a:pt x="2914" y="830"/>
                    <a:pt x="2928" y="841"/>
                    <a:pt x="2930" y="856"/>
                  </a:cubicBezTo>
                  <a:cubicBezTo>
                    <a:pt x="2931" y="871"/>
                    <a:pt x="2919" y="884"/>
                    <a:pt x="2903" y="885"/>
                  </a:cubicBezTo>
                  <a:cubicBezTo>
                    <a:pt x="2887" y="885"/>
                    <a:pt x="2873" y="874"/>
                    <a:pt x="2871" y="859"/>
                  </a:cubicBezTo>
                  <a:cubicBezTo>
                    <a:pt x="2870" y="844"/>
                    <a:pt x="2882" y="831"/>
                    <a:pt x="2898" y="830"/>
                  </a:cubicBezTo>
                  <a:close/>
                  <a:moveTo>
                    <a:pt x="2954" y="905"/>
                  </a:moveTo>
                  <a:cubicBezTo>
                    <a:pt x="2970" y="905"/>
                    <a:pt x="2985" y="916"/>
                    <a:pt x="2987" y="931"/>
                  </a:cubicBezTo>
                  <a:cubicBezTo>
                    <a:pt x="2988" y="946"/>
                    <a:pt x="2976" y="959"/>
                    <a:pt x="2960" y="959"/>
                  </a:cubicBezTo>
                  <a:cubicBezTo>
                    <a:pt x="2944" y="960"/>
                    <a:pt x="2929" y="949"/>
                    <a:pt x="2928" y="934"/>
                  </a:cubicBezTo>
                  <a:cubicBezTo>
                    <a:pt x="2926" y="919"/>
                    <a:pt x="2938" y="906"/>
                    <a:pt x="2954" y="905"/>
                  </a:cubicBezTo>
                  <a:close/>
                  <a:moveTo>
                    <a:pt x="2989" y="826"/>
                  </a:moveTo>
                  <a:cubicBezTo>
                    <a:pt x="3005" y="825"/>
                    <a:pt x="3019" y="837"/>
                    <a:pt x="3021" y="852"/>
                  </a:cubicBezTo>
                  <a:cubicBezTo>
                    <a:pt x="3023" y="866"/>
                    <a:pt x="3011" y="879"/>
                    <a:pt x="2995" y="880"/>
                  </a:cubicBezTo>
                  <a:cubicBezTo>
                    <a:pt x="2979" y="881"/>
                    <a:pt x="2964" y="869"/>
                    <a:pt x="2963" y="855"/>
                  </a:cubicBezTo>
                  <a:cubicBezTo>
                    <a:pt x="2961" y="840"/>
                    <a:pt x="2973" y="827"/>
                    <a:pt x="2989" y="826"/>
                  </a:cubicBezTo>
                  <a:close/>
                  <a:moveTo>
                    <a:pt x="3046" y="900"/>
                  </a:moveTo>
                  <a:cubicBezTo>
                    <a:pt x="3063" y="900"/>
                    <a:pt x="3077" y="911"/>
                    <a:pt x="3079" y="926"/>
                  </a:cubicBezTo>
                  <a:cubicBezTo>
                    <a:pt x="3081" y="941"/>
                    <a:pt x="3070" y="954"/>
                    <a:pt x="3053" y="954"/>
                  </a:cubicBezTo>
                  <a:cubicBezTo>
                    <a:pt x="3037" y="955"/>
                    <a:pt x="3022" y="944"/>
                    <a:pt x="3020" y="929"/>
                  </a:cubicBezTo>
                  <a:cubicBezTo>
                    <a:pt x="3018" y="914"/>
                    <a:pt x="3030" y="901"/>
                    <a:pt x="3046" y="900"/>
                  </a:cubicBezTo>
                  <a:close/>
                  <a:moveTo>
                    <a:pt x="3100" y="972"/>
                  </a:moveTo>
                  <a:cubicBezTo>
                    <a:pt x="3116" y="971"/>
                    <a:pt x="3131" y="982"/>
                    <a:pt x="3133" y="997"/>
                  </a:cubicBezTo>
                  <a:cubicBezTo>
                    <a:pt x="3135" y="1012"/>
                    <a:pt x="3124" y="1025"/>
                    <a:pt x="3107" y="1026"/>
                  </a:cubicBezTo>
                  <a:cubicBezTo>
                    <a:pt x="3090" y="1027"/>
                    <a:pt x="3075" y="1016"/>
                    <a:pt x="3074" y="1001"/>
                  </a:cubicBezTo>
                  <a:cubicBezTo>
                    <a:pt x="3072" y="986"/>
                    <a:pt x="3083" y="973"/>
                    <a:pt x="3100" y="972"/>
                  </a:cubicBezTo>
                  <a:close/>
                  <a:moveTo>
                    <a:pt x="3139" y="895"/>
                  </a:moveTo>
                  <a:cubicBezTo>
                    <a:pt x="3155" y="894"/>
                    <a:pt x="3170" y="905"/>
                    <a:pt x="3172" y="920"/>
                  </a:cubicBezTo>
                  <a:cubicBezTo>
                    <a:pt x="3174" y="935"/>
                    <a:pt x="3163" y="948"/>
                    <a:pt x="3146" y="949"/>
                  </a:cubicBezTo>
                  <a:cubicBezTo>
                    <a:pt x="3130" y="950"/>
                    <a:pt x="3115" y="939"/>
                    <a:pt x="3113" y="924"/>
                  </a:cubicBezTo>
                  <a:cubicBezTo>
                    <a:pt x="3111" y="909"/>
                    <a:pt x="3122" y="896"/>
                    <a:pt x="3139" y="895"/>
                  </a:cubicBezTo>
                  <a:close/>
                  <a:moveTo>
                    <a:pt x="3193" y="966"/>
                  </a:moveTo>
                  <a:cubicBezTo>
                    <a:pt x="3210" y="965"/>
                    <a:pt x="3225" y="976"/>
                    <a:pt x="3227" y="991"/>
                  </a:cubicBezTo>
                  <a:cubicBezTo>
                    <a:pt x="3229" y="1006"/>
                    <a:pt x="3218" y="1019"/>
                    <a:pt x="3201" y="1020"/>
                  </a:cubicBezTo>
                  <a:cubicBezTo>
                    <a:pt x="3185" y="1021"/>
                    <a:pt x="3169" y="1010"/>
                    <a:pt x="3167" y="995"/>
                  </a:cubicBezTo>
                  <a:cubicBezTo>
                    <a:pt x="3165" y="980"/>
                    <a:pt x="3177" y="967"/>
                    <a:pt x="3193" y="966"/>
                  </a:cubicBezTo>
                  <a:close/>
                  <a:moveTo>
                    <a:pt x="3231" y="889"/>
                  </a:moveTo>
                  <a:cubicBezTo>
                    <a:pt x="3247" y="888"/>
                    <a:pt x="3262" y="899"/>
                    <a:pt x="3264" y="913"/>
                  </a:cubicBezTo>
                  <a:cubicBezTo>
                    <a:pt x="3267" y="928"/>
                    <a:pt x="3256" y="941"/>
                    <a:pt x="3239" y="942"/>
                  </a:cubicBezTo>
                  <a:cubicBezTo>
                    <a:pt x="3223" y="944"/>
                    <a:pt x="3208" y="933"/>
                    <a:pt x="3205" y="918"/>
                  </a:cubicBezTo>
                  <a:cubicBezTo>
                    <a:pt x="3203" y="903"/>
                    <a:pt x="3214" y="890"/>
                    <a:pt x="3231" y="889"/>
                  </a:cubicBezTo>
                  <a:close/>
                  <a:moveTo>
                    <a:pt x="3286" y="959"/>
                  </a:moveTo>
                  <a:cubicBezTo>
                    <a:pt x="3303" y="958"/>
                    <a:pt x="3318" y="969"/>
                    <a:pt x="3321" y="984"/>
                  </a:cubicBezTo>
                  <a:cubicBezTo>
                    <a:pt x="3323" y="999"/>
                    <a:pt x="3312" y="1012"/>
                    <a:pt x="3295" y="1013"/>
                  </a:cubicBezTo>
                  <a:cubicBezTo>
                    <a:pt x="3279" y="1014"/>
                    <a:pt x="3263" y="1003"/>
                    <a:pt x="3261" y="989"/>
                  </a:cubicBezTo>
                  <a:cubicBezTo>
                    <a:pt x="3259" y="974"/>
                    <a:pt x="3270" y="961"/>
                    <a:pt x="3286" y="959"/>
                  </a:cubicBezTo>
                  <a:close/>
                  <a:moveTo>
                    <a:pt x="3323" y="882"/>
                  </a:moveTo>
                  <a:cubicBezTo>
                    <a:pt x="3339" y="881"/>
                    <a:pt x="3354" y="891"/>
                    <a:pt x="3357" y="906"/>
                  </a:cubicBezTo>
                  <a:cubicBezTo>
                    <a:pt x="3360" y="921"/>
                    <a:pt x="3348" y="934"/>
                    <a:pt x="3332" y="935"/>
                  </a:cubicBezTo>
                  <a:cubicBezTo>
                    <a:pt x="3316" y="937"/>
                    <a:pt x="3300" y="926"/>
                    <a:pt x="3298" y="911"/>
                  </a:cubicBezTo>
                  <a:cubicBezTo>
                    <a:pt x="3295" y="896"/>
                    <a:pt x="3307" y="883"/>
                    <a:pt x="3323" y="882"/>
                  </a:cubicBezTo>
                  <a:close/>
                  <a:moveTo>
                    <a:pt x="3384" y="1057"/>
                  </a:moveTo>
                  <a:cubicBezTo>
                    <a:pt x="3386" y="1071"/>
                    <a:pt x="3375" y="1084"/>
                    <a:pt x="3358" y="1086"/>
                  </a:cubicBezTo>
                  <a:cubicBezTo>
                    <a:pt x="3341" y="1087"/>
                    <a:pt x="3326" y="1076"/>
                    <a:pt x="3323" y="1061"/>
                  </a:cubicBezTo>
                  <a:cubicBezTo>
                    <a:pt x="3321" y="1047"/>
                    <a:pt x="3332" y="1033"/>
                    <a:pt x="3349" y="1032"/>
                  </a:cubicBezTo>
                  <a:cubicBezTo>
                    <a:pt x="3365" y="1031"/>
                    <a:pt x="3381" y="1042"/>
                    <a:pt x="3384" y="1057"/>
                  </a:cubicBezTo>
                  <a:close/>
                  <a:moveTo>
                    <a:pt x="3407" y="1102"/>
                  </a:moveTo>
                  <a:cubicBezTo>
                    <a:pt x="3424" y="1101"/>
                    <a:pt x="3439" y="1112"/>
                    <a:pt x="3442" y="1126"/>
                  </a:cubicBezTo>
                  <a:cubicBezTo>
                    <a:pt x="3445" y="1141"/>
                    <a:pt x="3433" y="1154"/>
                    <a:pt x="3416" y="1156"/>
                  </a:cubicBezTo>
                  <a:cubicBezTo>
                    <a:pt x="3399" y="1157"/>
                    <a:pt x="3384" y="1146"/>
                    <a:pt x="3381" y="1132"/>
                  </a:cubicBezTo>
                  <a:cubicBezTo>
                    <a:pt x="3378" y="1117"/>
                    <a:pt x="3390" y="1104"/>
                    <a:pt x="3407" y="1102"/>
                  </a:cubicBezTo>
                  <a:close/>
                  <a:moveTo>
                    <a:pt x="3443" y="1024"/>
                  </a:moveTo>
                  <a:cubicBezTo>
                    <a:pt x="3460" y="1023"/>
                    <a:pt x="3476" y="1034"/>
                    <a:pt x="3478" y="1048"/>
                  </a:cubicBezTo>
                  <a:cubicBezTo>
                    <a:pt x="3481" y="1063"/>
                    <a:pt x="3470" y="1076"/>
                    <a:pt x="3453" y="1078"/>
                  </a:cubicBezTo>
                  <a:cubicBezTo>
                    <a:pt x="3436" y="1079"/>
                    <a:pt x="3421" y="1068"/>
                    <a:pt x="3418" y="1054"/>
                  </a:cubicBezTo>
                  <a:cubicBezTo>
                    <a:pt x="3415" y="1039"/>
                    <a:pt x="3427" y="1026"/>
                    <a:pt x="3443" y="1024"/>
                  </a:cubicBezTo>
                  <a:close/>
                  <a:moveTo>
                    <a:pt x="3502" y="1094"/>
                  </a:moveTo>
                  <a:cubicBezTo>
                    <a:pt x="3519" y="1092"/>
                    <a:pt x="3535" y="1103"/>
                    <a:pt x="3538" y="1118"/>
                  </a:cubicBezTo>
                  <a:cubicBezTo>
                    <a:pt x="3541" y="1133"/>
                    <a:pt x="3530" y="1146"/>
                    <a:pt x="3513" y="1147"/>
                  </a:cubicBezTo>
                  <a:cubicBezTo>
                    <a:pt x="3496" y="1149"/>
                    <a:pt x="3480" y="1138"/>
                    <a:pt x="3477" y="1123"/>
                  </a:cubicBezTo>
                  <a:cubicBezTo>
                    <a:pt x="3474" y="1109"/>
                    <a:pt x="3485" y="1095"/>
                    <a:pt x="3502" y="1094"/>
                  </a:cubicBezTo>
                  <a:close/>
                  <a:moveTo>
                    <a:pt x="3538" y="1016"/>
                  </a:moveTo>
                  <a:cubicBezTo>
                    <a:pt x="3554" y="1014"/>
                    <a:pt x="3570" y="1025"/>
                    <a:pt x="3573" y="1040"/>
                  </a:cubicBezTo>
                  <a:cubicBezTo>
                    <a:pt x="3576" y="1054"/>
                    <a:pt x="3565" y="1068"/>
                    <a:pt x="3548" y="1069"/>
                  </a:cubicBezTo>
                  <a:cubicBezTo>
                    <a:pt x="3532" y="1071"/>
                    <a:pt x="3516" y="1060"/>
                    <a:pt x="3513" y="1045"/>
                  </a:cubicBezTo>
                  <a:cubicBezTo>
                    <a:pt x="3510" y="1030"/>
                    <a:pt x="3521" y="1017"/>
                    <a:pt x="3538" y="1016"/>
                  </a:cubicBezTo>
                  <a:close/>
                  <a:moveTo>
                    <a:pt x="3605" y="1189"/>
                  </a:moveTo>
                  <a:cubicBezTo>
                    <a:pt x="3608" y="1204"/>
                    <a:pt x="3596" y="1217"/>
                    <a:pt x="3579" y="1219"/>
                  </a:cubicBezTo>
                  <a:cubicBezTo>
                    <a:pt x="3562" y="1220"/>
                    <a:pt x="3546" y="1210"/>
                    <a:pt x="3543" y="1195"/>
                  </a:cubicBezTo>
                  <a:cubicBezTo>
                    <a:pt x="3540" y="1180"/>
                    <a:pt x="3551" y="1167"/>
                    <a:pt x="3568" y="1165"/>
                  </a:cubicBezTo>
                  <a:cubicBezTo>
                    <a:pt x="3585" y="1164"/>
                    <a:pt x="3601" y="1174"/>
                    <a:pt x="3605" y="1189"/>
                  </a:cubicBezTo>
                  <a:close/>
                  <a:moveTo>
                    <a:pt x="3629" y="1234"/>
                  </a:moveTo>
                  <a:cubicBezTo>
                    <a:pt x="3647" y="1233"/>
                    <a:pt x="3663" y="1243"/>
                    <a:pt x="3666" y="1258"/>
                  </a:cubicBezTo>
                  <a:cubicBezTo>
                    <a:pt x="3670" y="1272"/>
                    <a:pt x="3658" y="1286"/>
                    <a:pt x="3641" y="1288"/>
                  </a:cubicBezTo>
                  <a:cubicBezTo>
                    <a:pt x="3623" y="1289"/>
                    <a:pt x="3607" y="1279"/>
                    <a:pt x="3604" y="1264"/>
                  </a:cubicBezTo>
                  <a:cubicBezTo>
                    <a:pt x="3601" y="1249"/>
                    <a:pt x="3612" y="1236"/>
                    <a:pt x="3629" y="1234"/>
                  </a:cubicBezTo>
                  <a:close/>
                  <a:moveTo>
                    <a:pt x="3665" y="1156"/>
                  </a:moveTo>
                  <a:cubicBezTo>
                    <a:pt x="3682" y="1154"/>
                    <a:pt x="3698" y="1164"/>
                    <a:pt x="3702" y="1179"/>
                  </a:cubicBezTo>
                  <a:cubicBezTo>
                    <a:pt x="3705" y="1194"/>
                    <a:pt x="3694" y="1207"/>
                    <a:pt x="3676" y="1209"/>
                  </a:cubicBezTo>
                  <a:cubicBezTo>
                    <a:pt x="3659" y="1211"/>
                    <a:pt x="3643" y="1200"/>
                    <a:pt x="3640" y="1186"/>
                  </a:cubicBezTo>
                  <a:cubicBezTo>
                    <a:pt x="3636" y="1171"/>
                    <a:pt x="3648" y="1157"/>
                    <a:pt x="3665" y="1156"/>
                  </a:cubicBezTo>
                  <a:close/>
                  <a:moveTo>
                    <a:pt x="3727" y="1224"/>
                  </a:moveTo>
                  <a:cubicBezTo>
                    <a:pt x="3744" y="1222"/>
                    <a:pt x="3761" y="1233"/>
                    <a:pt x="3765" y="1247"/>
                  </a:cubicBezTo>
                  <a:cubicBezTo>
                    <a:pt x="3768" y="1262"/>
                    <a:pt x="3757" y="1275"/>
                    <a:pt x="3739" y="1277"/>
                  </a:cubicBezTo>
                  <a:cubicBezTo>
                    <a:pt x="3722" y="1279"/>
                    <a:pt x="3705" y="1269"/>
                    <a:pt x="3702" y="1254"/>
                  </a:cubicBezTo>
                  <a:cubicBezTo>
                    <a:pt x="3699" y="1239"/>
                    <a:pt x="3710" y="1226"/>
                    <a:pt x="3727" y="1224"/>
                  </a:cubicBezTo>
                  <a:close/>
                  <a:moveTo>
                    <a:pt x="3761" y="1145"/>
                  </a:moveTo>
                  <a:cubicBezTo>
                    <a:pt x="3778" y="1144"/>
                    <a:pt x="3795" y="1154"/>
                    <a:pt x="3799" y="1169"/>
                  </a:cubicBezTo>
                  <a:cubicBezTo>
                    <a:pt x="3802" y="1183"/>
                    <a:pt x="3791" y="1197"/>
                    <a:pt x="3774" y="1199"/>
                  </a:cubicBezTo>
                  <a:cubicBezTo>
                    <a:pt x="3757" y="1200"/>
                    <a:pt x="3740" y="1190"/>
                    <a:pt x="3737" y="1175"/>
                  </a:cubicBezTo>
                  <a:cubicBezTo>
                    <a:pt x="3733" y="1161"/>
                    <a:pt x="3744" y="1147"/>
                    <a:pt x="3761" y="1145"/>
                  </a:cubicBezTo>
                  <a:close/>
                  <a:moveTo>
                    <a:pt x="3835" y="1317"/>
                  </a:moveTo>
                  <a:cubicBezTo>
                    <a:pt x="3838" y="1332"/>
                    <a:pt x="3827" y="1345"/>
                    <a:pt x="3809" y="1347"/>
                  </a:cubicBezTo>
                  <a:cubicBezTo>
                    <a:pt x="3792" y="1349"/>
                    <a:pt x="3775" y="1339"/>
                    <a:pt x="3771" y="1324"/>
                  </a:cubicBezTo>
                  <a:cubicBezTo>
                    <a:pt x="3768" y="1310"/>
                    <a:pt x="3779" y="1296"/>
                    <a:pt x="3797" y="1294"/>
                  </a:cubicBezTo>
                  <a:cubicBezTo>
                    <a:pt x="3814" y="1292"/>
                    <a:pt x="3831" y="1303"/>
                    <a:pt x="3835" y="1317"/>
                  </a:cubicBezTo>
                  <a:close/>
                  <a:moveTo>
                    <a:pt x="3825" y="1213"/>
                  </a:moveTo>
                  <a:cubicBezTo>
                    <a:pt x="3842" y="1211"/>
                    <a:pt x="3859" y="1222"/>
                    <a:pt x="3863" y="1236"/>
                  </a:cubicBezTo>
                  <a:cubicBezTo>
                    <a:pt x="3866" y="1251"/>
                    <a:pt x="3855" y="1264"/>
                    <a:pt x="3838" y="1266"/>
                  </a:cubicBezTo>
                  <a:cubicBezTo>
                    <a:pt x="3820" y="1268"/>
                    <a:pt x="3804" y="1258"/>
                    <a:pt x="3800" y="1243"/>
                  </a:cubicBezTo>
                  <a:cubicBezTo>
                    <a:pt x="3797" y="1229"/>
                    <a:pt x="3808" y="1215"/>
                    <a:pt x="3825" y="1213"/>
                  </a:cubicBezTo>
                  <a:close/>
                  <a:moveTo>
                    <a:pt x="3858" y="1134"/>
                  </a:moveTo>
                  <a:cubicBezTo>
                    <a:pt x="3875" y="1132"/>
                    <a:pt x="3892" y="1143"/>
                    <a:pt x="3895" y="1157"/>
                  </a:cubicBezTo>
                  <a:cubicBezTo>
                    <a:pt x="3899" y="1172"/>
                    <a:pt x="3888" y="1185"/>
                    <a:pt x="3871" y="1187"/>
                  </a:cubicBezTo>
                  <a:cubicBezTo>
                    <a:pt x="3854" y="1189"/>
                    <a:pt x="3837" y="1179"/>
                    <a:pt x="3834" y="1165"/>
                  </a:cubicBezTo>
                  <a:cubicBezTo>
                    <a:pt x="3830" y="1150"/>
                    <a:pt x="3841" y="1136"/>
                    <a:pt x="3858" y="1134"/>
                  </a:cubicBezTo>
                  <a:close/>
                  <a:moveTo>
                    <a:pt x="3934" y="1306"/>
                  </a:moveTo>
                  <a:cubicBezTo>
                    <a:pt x="3937" y="1320"/>
                    <a:pt x="3926" y="1334"/>
                    <a:pt x="3909" y="1336"/>
                  </a:cubicBezTo>
                  <a:cubicBezTo>
                    <a:pt x="3891" y="1338"/>
                    <a:pt x="3874" y="1328"/>
                    <a:pt x="3870" y="1313"/>
                  </a:cubicBezTo>
                  <a:cubicBezTo>
                    <a:pt x="3867" y="1298"/>
                    <a:pt x="3878" y="1285"/>
                    <a:pt x="3895" y="1283"/>
                  </a:cubicBezTo>
                  <a:cubicBezTo>
                    <a:pt x="3913" y="1281"/>
                    <a:pt x="3930" y="1291"/>
                    <a:pt x="3934" y="1306"/>
                  </a:cubicBezTo>
                  <a:close/>
                  <a:moveTo>
                    <a:pt x="3922" y="1202"/>
                  </a:moveTo>
                  <a:cubicBezTo>
                    <a:pt x="3940" y="1200"/>
                    <a:pt x="3957" y="1210"/>
                    <a:pt x="3961" y="1224"/>
                  </a:cubicBezTo>
                  <a:cubicBezTo>
                    <a:pt x="3965" y="1239"/>
                    <a:pt x="3954" y="1253"/>
                    <a:pt x="3936" y="1255"/>
                  </a:cubicBezTo>
                  <a:cubicBezTo>
                    <a:pt x="3919" y="1257"/>
                    <a:pt x="3902" y="1247"/>
                    <a:pt x="3898" y="1232"/>
                  </a:cubicBezTo>
                  <a:cubicBezTo>
                    <a:pt x="3894" y="1217"/>
                    <a:pt x="3905" y="1204"/>
                    <a:pt x="3922" y="1202"/>
                  </a:cubicBezTo>
                  <a:close/>
                  <a:moveTo>
                    <a:pt x="3954" y="1123"/>
                  </a:moveTo>
                  <a:cubicBezTo>
                    <a:pt x="3971" y="1121"/>
                    <a:pt x="3988" y="1131"/>
                    <a:pt x="3992" y="1145"/>
                  </a:cubicBezTo>
                  <a:cubicBezTo>
                    <a:pt x="3996" y="1160"/>
                    <a:pt x="3986" y="1173"/>
                    <a:pt x="3968" y="1176"/>
                  </a:cubicBezTo>
                  <a:cubicBezTo>
                    <a:pt x="3951" y="1178"/>
                    <a:pt x="3934" y="1168"/>
                    <a:pt x="3930" y="1153"/>
                  </a:cubicBezTo>
                  <a:cubicBezTo>
                    <a:pt x="3927" y="1138"/>
                    <a:pt x="3937" y="1125"/>
                    <a:pt x="3954" y="1123"/>
                  </a:cubicBezTo>
                  <a:close/>
                  <a:moveTo>
                    <a:pt x="3994" y="1271"/>
                  </a:moveTo>
                  <a:cubicBezTo>
                    <a:pt x="4012" y="1269"/>
                    <a:pt x="4029" y="1279"/>
                    <a:pt x="4033" y="1293"/>
                  </a:cubicBezTo>
                  <a:cubicBezTo>
                    <a:pt x="4037" y="1308"/>
                    <a:pt x="4026" y="1321"/>
                    <a:pt x="4008" y="1324"/>
                  </a:cubicBezTo>
                  <a:cubicBezTo>
                    <a:pt x="3991" y="1326"/>
                    <a:pt x="3973" y="1316"/>
                    <a:pt x="3970" y="1301"/>
                  </a:cubicBezTo>
                  <a:cubicBezTo>
                    <a:pt x="3966" y="1287"/>
                    <a:pt x="3977" y="1273"/>
                    <a:pt x="3994" y="1271"/>
                  </a:cubicBezTo>
                  <a:close/>
                  <a:moveTo>
                    <a:pt x="4020" y="1190"/>
                  </a:moveTo>
                  <a:cubicBezTo>
                    <a:pt x="4037" y="1187"/>
                    <a:pt x="4054" y="1197"/>
                    <a:pt x="4059" y="1212"/>
                  </a:cubicBezTo>
                  <a:cubicBezTo>
                    <a:pt x="4063" y="1226"/>
                    <a:pt x="4052" y="1240"/>
                    <a:pt x="4035" y="1242"/>
                  </a:cubicBezTo>
                  <a:cubicBezTo>
                    <a:pt x="4017" y="1245"/>
                    <a:pt x="4000" y="1235"/>
                    <a:pt x="3996" y="1220"/>
                  </a:cubicBezTo>
                  <a:cubicBezTo>
                    <a:pt x="3992" y="1205"/>
                    <a:pt x="4003" y="1192"/>
                    <a:pt x="4020" y="1190"/>
                  </a:cubicBezTo>
                  <a:close/>
                  <a:moveTo>
                    <a:pt x="4051" y="1110"/>
                  </a:moveTo>
                  <a:cubicBezTo>
                    <a:pt x="4068" y="1108"/>
                    <a:pt x="4085" y="1118"/>
                    <a:pt x="4089" y="1133"/>
                  </a:cubicBezTo>
                  <a:cubicBezTo>
                    <a:pt x="4093" y="1147"/>
                    <a:pt x="4083" y="1161"/>
                    <a:pt x="4066" y="1163"/>
                  </a:cubicBezTo>
                  <a:cubicBezTo>
                    <a:pt x="4049" y="1165"/>
                    <a:pt x="4031" y="1155"/>
                    <a:pt x="4027" y="1141"/>
                  </a:cubicBezTo>
                  <a:cubicBezTo>
                    <a:pt x="4023" y="1126"/>
                    <a:pt x="4034" y="1113"/>
                    <a:pt x="4051" y="1110"/>
                  </a:cubicBezTo>
                  <a:close/>
                  <a:moveTo>
                    <a:pt x="4093" y="1258"/>
                  </a:moveTo>
                  <a:cubicBezTo>
                    <a:pt x="4110" y="1256"/>
                    <a:pt x="4128" y="1265"/>
                    <a:pt x="4132" y="1280"/>
                  </a:cubicBezTo>
                  <a:cubicBezTo>
                    <a:pt x="4136" y="1295"/>
                    <a:pt x="4125" y="1308"/>
                    <a:pt x="4108" y="1311"/>
                  </a:cubicBezTo>
                  <a:cubicBezTo>
                    <a:pt x="4090" y="1313"/>
                    <a:pt x="4073" y="1303"/>
                    <a:pt x="4069" y="1288"/>
                  </a:cubicBezTo>
                  <a:cubicBezTo>
                    <a:pt x="4065" y="1274"/>
                    <a:pt x="4075" y="1260"/>
                    <a:pt x="4093" y="1258"/>
                  </a:cubicBezTo>
                  <a:close/>
                  <a:moveTo>
                    <a:pt x="4118" y="1177"/>
                  </a:moveTo>
                  <a:cubicBezTo>
                    <a:pt x="4135" y="1174"/>
                    <a:pt x="4152" y="1184"/>
                    <a:pt x="4156" y="1199"/>
                  </a:cubicBezTo>
                  <a:cubicBezTo>
                    <a:pt x="4161" y="1213"/>
                    <a:pt x="4150" y="1227"/>
                    <a:pt x="4133" y="1229"/>
                  </a:cubicBezTo>
                  <a:cubicBezTo>
                    <a:pt x="4116" y="1232"/>
                    <a:pt x="4098" y="1222"/>
                    <a:pt x="4094" y="1207"/>
                  </a:cubicBezTo>
                  <a:cubicBezTo>
                    <a:pt x="4090" y="1193"/>
                    <a:pt x="4100" y="1179"/>
                    <a:pt x="4118" y="1177"/>
                  </a:cubicBezTo>
                  <a:close/>
                  <a:moveTo>
                    <a:pt x="4161" y="1324"/>
                  </a:moveTo>
                  <a:cubicBezTo>
                    <a:pt x="4178" y="1322"/>
                    <a:pt x="4196" y="1331"/>
                    <a:pt x="4200" y="1346"/>
                  </a:cubicBezTo>
                  <a:cubicBezTo>
                    <a:pt x="4205" y="1360"/>
                    <a:pt x="4194" y="1374"/>
                    <a:pt x="4176" y="1377"/>
                  </a:cubicBezTo>
                  <a:cubicBezTo>
                    <a:pt x="4158" y="1379"/>
                    <a:pt x="4141" y="1369"/>
                    <a:pt x="4136" y="1355"/>
                  </a:cubicBezTo>
                  <a:cubicBezTo>
                    <a:pt x="4132" y="1340"/>
                    <a:pt x="4143" y="1326"/>
                    <a:pt x="4161" y="1324"/>
                  </a:cubicBezTo>
                  <a:close/>
                  <a:moveTo>
                    <a:pt x="4191" y="1244"/>
                  </a:moveTo>
                  <a:cubicBezTo>
                    <a:pt x="4209" y="1242"/>
                    <a:pt x="4226" y="1252"/>
                    <a:pt x="4231" y="1266"/>
                  </a:cubicBezTo>
                  <a:cubicBezTo>
                    <a:pt x="4235" y="1281"/>
                    <a:pt x="4225" y="1294"/>
                    <a:pt x="4207" y="1297"/>
                  </a:cubicBezTo>
                  <a:cubicBezTo>
                    <a:pt x="4190" y="1299"/>
                    <a:pt x="4172" y="1290"/>
                    <a:pt x="4168" y="1275"/>
                  </a:cubicBezTo>
                  <a:cubicBezTo>
                    <a:pt x="4163" y="1261"/>
                    <a:pt x="4174" y="1247"/>
                    <a:pt x="4191" y="1244"/>
                  </a:cubicBezTo>
                  <a:close/>
                  <a:moveTo>
                    <a:pt x="4215" y="1163"/>
                  </a:moveTo>
                  <a:cubicBezTo>
                    <a:pt x="4232" y="1161"/>
                    <a:pt x="4250" y="1170"/>
                    <a:pt x="4254" y="1185"/>
                  </a:cubicBezTo>
                  <a:cubicBezTo>
                    <a:pt x="4259" y="1199"/>
                    <a:pt x="4248" y="1213"/>
                    <a:pt x="4231" y="1215"/>
                  </a:cubicBezTo>
                  <a:cubicBezTo>
                    <a:pt x="4214" y="1218"/>
                    <a:pt x="4196" y="1208"/>
                    <a:pt x="4192" y="1194"/>
                  </a:cubicBezTo>
                  <a:cubicBezTo>
                    <a:pt x="4187" y="1179"/>
                    <a:pt x="4198" y="1165"/>
                    <a:pt x="4215" y="1163"/>
                  </a:cubicBezTo>
                  <a:close/>
                  <a:moveTo>
                    <a:pt x="4260" y="1310"/>
                  </a:moveTo>
                  <a:cubicBezTo>
                    <a:pt x="4278" y="1307"/>
                    <a:pt x="4296" y="1317"/>
                    <a:pt x="4301" y="1331"/>
                  </a:cubicBezTo>
                  <a:cubicBezTo>
                    <a:pt x="4305" y="1346"/>
                    <a:pt x="4294" y="1360"/>
                    <a:pt x="4277" y="1362"/>
                  </a:cubicBezTo>
                  <a:cubicBezTo>
                    <a:pt x="4259" y="1365"/>
                    <a:pt x="4241" y="1355"/>
                    <a:pt x="4237" y="1341"/>
                  </a:cubicBezTo>
                  <a:cubicBezTo>
                    <a:pt x="4232" y="1326"/>
                    <a:pt x="4243" y="1312"/>
                    <a:pt x="4260" y="1310"/>
                  </a:cubicBezTo>
                  <a:close/>
                  <a:moveTo>
                    <a:pt x="4290" y="1230"/>
                  </a:moveTo>
                  <a:cubicBezTo>
                    <a:pt x="4307" y="1228"/>
                    <a:pt x="4325" y="1237"/>
                    <a:pt x="4330" y="1252"/>
                  </a:cubicBezTo>
                  <a:cubicBezTo>
                    <a:pt x="4335" y="1266"/>
                    <a:pt x="4324" y="1280"/>
                    <a:pt x="4307" y="1282"/>
                  </a:cubicBezTo>
                  <a:cubicBezTo>
                    <a:pt x="4289" y="1285"/>
                    <a:pt x="4271" y="1275"/>
                    <a:pt x="4267" y="1261"/>
                  </a:cubicBezTo>
                  <a:cubicBezTo>
                    <a:pt x="4262" y="1246"/>
                    <a:pt x="4273" y="1233"/>
                    <a:pt x="4290" y="1230"/>
                  </a:cubicBezTo>
                  <a:close/>
                  <a:moveTo>
                    <a:pt x="4312" y="1149"/>
                  </a:moveTo>
                  <a:cubicBezTo>
                    <a:pt x="4329" y="1146"/>
                    <a:pt x="4347" y="1156"/>
                    <a:pt x="4352" y="1170"/>
                  </a:cubicBezTo>
                  <a:cubicBezTo>
                    <a:pt x="4357" y="1184"/>
                    <a:pt x="4347" y="1198"/>
                    <a:pt x="4329" y="1201"/>
                  </a:cubicBezTo>
                  <a:cubicBezTo>
                    <a:pt x="4312" y="1204"/>
                    <a:pt x="4294" y="1194"/>
                    <a:pt x="4290" y="1179"/>
                  </a:cubicBezTo>
                  <a:cubicBezTo>
                    <a:pt x="4285" y="1165"/>
                    <a:pt x="4295" y="1151"/>
                    <a:pt x="4312" y="1149"/>
                  </a:cubicBezTo>
                  <a:close/>
                  <a:moveTo>
                    <a:pt x="4360" y="1295"/>
                  </a:moveTo>
                  <a:cubicBezTo>
                    <a:pt x="4378" y="1292"/>
                    <a:pt x="4396" y="1302"/>
                    <a:pt x="4401" y="1316"/>
                  </a:cubicBezTo>
                  <a:cubicBezTo>
                    <a:pt x="4405" y="1331"/>
                    <a:pt x="4395" y="1345"/>
                    <a:pt x="4377" y="1347"/>
                  </a:cubicBezTo>
                  <a:cubicBezTo>
                    <a:pt x="4359" y="1350"/>
                    <a:pt x="4341" y="1340"/>
                    <a:pt x="4337" y="1326"/>
                  </a:cubicBezTo>
                  <a:cubicBezTo>
                    <a:pt x="4332" y="1312"/>
                    <a:pt x="4343" y="1298"/>
                    <a:pt x="4360" y="1295"/>
                  </a:cubicBezTo>
                  <a:close/>
                  <a:moveTo>
                    <a:pt x="4388" y="1215"/>
                  </a:moveTo>
                  <a:cubicBezTo>
                    <a:pt x="4406" y="1212"/>
                    <a:pt x="4424" y="1222"/>
                    <a:pt x="4429" y="1236"/>
                  </a:cubicBezTo>
                  <a:cubicBezTo>
                    <a:pt x="4434" y="1251"/>
                    <a:pt x="4423" y="1265"/>
                    <a:pt x="4406" y="1267"/>
                  </a:cubicBezTo>
                  <a:cubicBezTo>
                    <a:pt x="4388" y="1270"/>
                    <a:pt x="4370" y="1261"/>
                    <a:pt x="4366" y="1246"/>
                  </a:cubicBezTo>
                  <a:cubicBezTo>
                    <a:pt x="4361" y="1232"/>
                    <a:pt x="4371" y="1218"/>
                    <a:pt x="4388" y="1215"/>
                  </a:cubicBezTo>
                  <a:close/>
                  <a:moveTo>
                    <a:pt x="4409" y="1134"/>
                  </a:moveTo>
                  <a:cubicBezTo>
                    <a:pt x="4427" y="1131"/>
                    <a:pt x="4445" y="1140"/>
                    <a:pt x="4450" y="1155"/>
                  </a:cubicBezTo>
                  <a:cubicBezTo>
                    <a:pt x="4455" y="1169"/>
                    <a:pt x="4445" y="1183"/>
                    <a:pt x="4427" y="1186"/>
                  </a:cubicBezTo>
                  <a:cubicBezTo>
                    <a:pt x="4410" y="1188"/>
                    <a:pt x="4392" y="1179"/>
                    <a:pt x="4387" y="1165"/>
                  </a:cubicBezTo>
                  <a:cubicBezTo>
                    <a:pt x="4382" y="1150"/>
                    <a:pt x="4392" y="1136"/>
                    <a:pt x="4409" y="1134"/>
                  </a:cubicBezTo>
                  <a:close/>
                  <a:moveTo>
                    <a:pt x="4460" y="1280"/>
                  </a:moveTo>
                  <a:cubicBezTo>
                    <a:pt x="4477" y="1277"/>
                    <a:pt x="4495" y="1286"/>
                    <a:pt x="4500" y="1300"/>
                  </a:cubicBezTo>
                  <a:cubicBezTo>
                    <a:pt x="4505" y="1315"/>
                    <a:pt x="4495" y="1329"/>
                    <a:pt x="4478" y="1332"/>
                  </a:cubicBezTo>
                  <a:cubicBezTo>
                    <a:pt x="4460" y="1334"/>
                    <a:pt x="4442" y="1325"/>
                    <a:pt x="4437" y="1311"/>
                  </a:cubicBezTo>
                  <a:cubicBezTo>
                    <a:pt x="4432" y="1296"/>
                    <a:pt x="4442" y="1282"/>
                    <a:pt x="4460" y="1280"/>
                  </a:cubicBezTo>
                  <a:close/>
                  <a:moveTo>
                    <a:pt x="4487" y="1200"/>
                  </a:moveTo>
                  <a:cubicBezTo>
                    <a:pt x="4504" y="1197"/>
                    <a:pt x="4522" y="1206"/>
                    <a:pt x="4527" y="1220"/>
                  </a:cubicBezTo>
                  <a:cubicBezTo>
                    <a:pt x="4533" y="1235"/>
                    <a:pt x="4523" y="1249"/>
                    <a:pt x="4505" y="1251"/>
                  </a:cubicBezTo>
                  <a:cubicBezTo>
                    <a:pt x="4488" y="1254"/>
                    <a:pt x="4469" y="1245"/>
                    <a:pt x="4464" y="1231"/>
                  </a:cubicBezTo>
                  <a:cubicBezTo>
                    <a:pt x="4459" y="1216"/>
                    <a:pt x="4469" y="1202"/>
                    <a:pt x="4487" y="1200"/>
                  </a:cubicBezTo>
                  <a:close/>
                  <a:moveTo>
                    <a:pt x="4510" y="1425"/>
                  </a:moveTo>
                  <a:cubicBezTo>
                    <a:pt x="4528" y="1422"/>
                    <a:pt x="4546" y="1432"/>
                    <a:pt x="4551" y="1446"/>
                  </a:cubicBezTo>
                  <a:cubicBezTo>
                    <a:pt x="4556" y="1460"/>
                    <a:pt x="4546" y="1474"/>
                    <a:pt x="4528" y="1477"/>
                  </a:cubicBezTo>
                  <a:cubicBezTo>
                    <a:pt x="4510" y="1480"/>
                    <a:pt x="4491" y="1471"/>
                    <a:pt x="4486" y="1457"/>
                  </a:cubicBezTo>
                  <a:cubicBezTo>
                    <a:pt x="4481" y="1442"/>
                    <a:pt x="4492" y="1428"/>
                    <a:pt x="4510" y="1425"/>
                  </a:cubicBezTo>
                  <a:close/>
                  <a:moveTo>
                    <a:pt x="4504" y="1559"/>
                  </a:moveTo>
                  <a:cubicBezTo>
                    <a:pt x="4486" y="1562"/>
                    <a:pt x="4467" y="1553"/>
                    <a:pt x="4462" y="1539"/>
                  </a:cubicBezTo>
                  <a:cubicBezTo>
                    <a:pt x="4457" y="1524"/>
                    <a:pt x="4468" y="1510"/>
                    <a:pt x="4486" y="1507"/>
                  </a:cubicBezTo>
                  <a:cubicBezTo>
                    <a:pt x="4505" y="1504"/>
                    <a:pt x="4523" y="1514"/>
                    <a:pt x="4528" y="1528"/>
                  </a:cubicBezTo>
                  <a:cubicBezTo>
                    <a:pt x="4533" y="1543"/>
                    <a:pt x="4522" y="1557"/>
                    <a:pt x="4504" y="1559"/>
                  </a:cubicBezTo>
                  <a:close/>
                  <a:moveTo>
                    <a:pt x="4546" y="1755"/>
                  </a:moveTo>
                  <a:cubicBezTo>
                    <a:pt x="4551" y="1769"/>
                    <a:pt x="4540" y="1783"/>
                    <a:pt x="4521" y="1786"/>
                  </a:cubicBezTo>
                  <a:cubicBezTo>
                    <a:pt x="4502" y="1789"/>
                    <a:pt x="4483" y="1780"/>
                    <a:pt x="4478" y="1766"/>
                  </a:cubicBezTo>
                  <a:cubicBezTo>
                    <a:pt x="4473" y="1751"/>
                    <a:pt x="4485" y="1737"/>
                    <a:pt x="4504" y="1734"/>
                  </a:cubicBezTo>
                  <a:cubicBezTo>
                    <a:pt x="4522" y="1731"/>
                    <a:pt x="4541" y="1740"/>
                    <a:pt x="4546" y="1755"/>
                  </a:cubicBezTo>
                  <a:close/>
                  <a:moveTo>
                    <a:pt x="4524" y="1963"/>
                  </a:moveTo>
                  <a:cubicBezTo>
                    <a:pt x="4543" y="1960"/>
                    <a:pt x="4563" y="1969"/>
                    <a:pt x="4567" y="1984"/>
                  </a:cubicBezTo>
                  <a:cubicBezTo>
                    <a:pt x="4572" y="1998"/>
                    <a:pt x="4560" y="2012"/>
                    <a:pt x="4540" y="2015"/>
                  </a:cubicBezTo>
                  <a:cubicBezTo>
                    <a:pt x="4521" y="2018"/>
                    <a:pt x="4501" y="2009"/>
                    <a:pt x="4497" y="1995"/>
                  </a:cubicBezTo>
                  <a:cubicBezTo>
                    <a:pt x="4492" y="1980"/>
                    <a:pt x="4504" y="1966"/>
                    <a:pt x="4524" y="1963"/>
                  </a:cubicBezTo>
                  <a:close/>
                  <a:moveTo>
                    <a:pt x="4578" y="2211"/>
                  </a:moveTo>
                  <a:cubicBezTo>
                    <a:pt x="4583" y="2226"/>
                    <a:pt x="4570" y="2240"/>
                    <a:pt x="4550" y="2243"/>
                  </a:cubicBezTo>
                  <a:cubicBezTo>
                    <a:pt x="4530" y="2246"/>
                    <a:pt x="4510" y="2237"/>
                    <a:pt x="4505" y="2223"/>
                  </a:cubicBezTo>
                  <a:cubicBezTo>
                    <a:pt x="4501" y="2208"/>
                    <a:pt x="4514" y="2194"/>
                    <a:pt x="4534" y="2191"/>
                  </a:cubicBezTo>
                  <a:cubicBezTo>
                    <a:pt x="4554" y="2188"/>
                    <a:pt x="4574" y="2197"/>
                    <a:pt x="4578" y="2211"/>
                  </a:cubicBezTo>
                  <a:close/>
                  <a:moveTo>
                    <a:pt x="4518" y="2326"/>
                  </a:moveTo>
                  <a:cubicBezTo>
                    <a:pt x="4498" y="2329"/>
                    <a:pt x="4478" y="2320"/>
                    <a:pt x="4474" y="2306"/>
                  </a:cubicBezTo>
                  <a:cubicBezTo>
                    <a:pt x="4469" y="2291"/>
                    <a:pt x="4482" y="2277"/>
                    <a:pt x="4503" y="2274"/>
                  </a:cubicBezTo>
                  <a:cubicBezTo>
                    <a:pt x="4523" y="2271"/>
                    <a:pt x="4543" y="2280"/>
                    <a:pt x="4547" y="2295"/>
                  </a:cubicBezTo>
                  <a:cubicBezTo>
                    <a:pt x="4552" y="2309"/>
                    <a:pt x="4539" y="2323"/>
                    <a:pt x="4518" y="2326"/>
                  </a:cubicBezTo>
                  <a:close/>
                  <a:moveTo>
                    <a:pt x="4552" y="2523"/>
                  </a:moveTo>
                  <a:cubicBezTo>
                    <a:pt x="4557" y="2538"/>
                    <a:pt x="4543" y="2552"/>
                    <a:pt x="4522" y="2555"/>
                  </a:cubicBezTo>
                  <a:cubicBezTo>
                    <a:pt x="4501" y="2558"/>
                    <a:pt x="4481" y="2549"/>
                    <a:pt x="4477" y="2534"/>
                  </a:cubicBezTo>
                  <a:cubicBezTo>
                    <a:pt x="4472" y="2520"/>
                    <a:pt x="4486" y="2506"/>
                    <a:pt x="4507" y="2502"/>
                  </a:cubicBezTo>
                  <a:cubicBezTo>
                    <a:pt x="4527" y="2499"/>
                    <a:pt x="4548" y="2509"/>
                    <a:pt x="4552" y="2523"/>
                  </a:cubicBezTo>
                  <a:close/>
                  <a:moveTo>
                    <a:pt x="4487" y="2638"/>
                  </a:moveTo>
                  <a:cubicBezTo>
                    <a:pt x="4466" y="2641"/>
                    <a:pt x="4446" y="2632"/>
                    <a:pt x="4441" y="2618"/>
                  </a:cubicBezTo>
                  <a:cubicBezTo>
                    <a:pt x="4437" y="2603"/>
                    <a:pt x="4451" y="2589"/>
                    <a:pt x="4472" y="2586"/>
                  </a:cubicBezTo>
                  <a:cubicBezTo>
                    <a:pt x="4493" y="2583"/>
                    <a:pt x="4514" y="2592"/>
                    <a:pt x="4518" y="2606"/>
                  </a:cubicBezTo>
                  <a:cubicBezTo>
                    <a:pt x="4522" y="2621"/>
                    <a:pt x="4508" y="2635"/>
                    <a:pt x="4487" y="2638"/>
                  </a:cubicBezTo>
                  <a:close/>
                  <a:moveTo>
                    <a:pt x="4444" y="2720"/>
                  </a:moveTo>
                  <a:cubicBezTo>
                    <a:pt x="4423" y="2723"/>
                    <a:pt x="4402" y="2714"/>
                    <a:pt x="4398" y="2699"/>
                  </a:cubicBezTo>
                  <a:cubicBezTo>
                    <a:pt x="4394" y="2684"/>
                    <a:pt x="4408" y="2670"/>
                    <a:pt x="4429" y="2667"/>
                  </a:cubicBezTo>
                  <a:cubicBezTo>
                    <a:pt x="4451" y="2664"/>
                    <a:pt x="4471" y="2674"/>
                    <a:pt x="4475" y="2688"/>
                  </a:cubicBezTo>
                  <a:cubicBezTo>
                    <a:pt x="4479" y="2703"/>
                    <a:pt x="4465" y="2717"/>
                    <a:pt x="4444" y="2720"/>
                  </a:cubicBezTo>
                  <a:close/>
                  <a:moveTo>
                    <a:pt x="4367" y="2655"/>
                  </a:moveTo>
                  <a:cubicBezTo>
                    <a:pt x="4346" y="2658"/>
                    <a:pt x="4325" y="2649"/>
                    <a:pt x="4322" y="2634"/>
                  </a:cubicBezTo>
                  <a:cubicBezTo>
                    <a:pt x="4318" y="2620"/>
                    <a:pt x="4332" y="2605"/>
                    <a:pt x="4353" y="2603"/>
                  </a:cubicBezTo>
                  <a:cubicBezTo>
                    <a:pt x="4374" y="2600"/>
                    <a:pt x="4394" y="2609"/>
                    <a:pt x="4398" y="2624"/>
                  </a:cubicBezTo>
                  <a:cubicBezTo>
                    <a:pt x="4402" y="2638"/>
                    <a:pt x="4388" y="2652"/>
                    <a:pt x="4367" y="2655"/>
                  </a:cubicBezTo>
                  <a:close/>
                  <a:moveTo>
                    <a:pt x="4323" y="2737"/>
                  </a:moveTo>
                  <a:cubicBezTo>
                    <a:pt x="4301" y="2740"/>
                    <a:pt x="4281" y="2730"/>
                    <a:pt x="4277" y="2716"/>
                  </a:cubicBezTo>
                  <a:cubicBezTo>
                    <a:pt x="4273" y="2701"/>
                    <a:pt x="4288" y="2687"/>
                    <a:pt x="4309" y="2684"/>
                  </a:cubicBezTo>
                  <a:cubicBezTo>
                    <a:pt x="4330" y="2681"/>
                    <a:pt x="4350" y="2691"/>
                    <a:pt x="4354" y="2705"/>
                  </a:cubicBezTo>
                  <a:cubicBezTo>
                    <a:pt x="4358" y="2720"/>
                    <a:pt x="4344" y="2734"/>
                    <a:pt x="4323" y="2737"/>
                  </a:cubicBezTo>
                  <a:close/>
                  <a:moveTo>
                    <a:pt x="4247" y="2672"/>
                  </a:moveTo>
                  <a:cubicBezTo>
                    <a:pt x="4225" y="2674"/>
                    <a:pt x="4205" y="2665"/>
                    <a:pt x="4202" y="2650"/>
                  </a:cubicBezTo>
                  <a:cubicBezTo>
                    <a:pt x="4198" y="2635"/>
                    <a:pt x="4212" y="2621"/>
                    <a:pt x="4233" y="2619"/>
                  </a:cubicBezTo>
                  <a:cubicBezTo>
                    <a:pt x="4254" y="2616"/>
                    <a:pt x="4274" y="2625"/>
                    <a:pt x="4278" y="2640"/>
                  </a:cubicBezTo>
                  <a:cubicBezTo>
                    <a:pt x="4282" y="2655"/>
                    <a:pt x="4268" y="2669"/>
                    <a:pt x="4247" y="2672"/>
                  </a:cubicBezTo>
                  <a:close/>
                  <a:moveTo>
                    <a:pt x="4201" y="2753"/>
                  </a:moveTo>
                  <a:cubicBezTo>
                    <a:pt x="4180" y="2755"/>
                    <a:pt x="4159" y="2746"/>
                    <a:pt x="4156" y="2731"/>
                  </a:cubicBezTo>
                  <a:cubicBezTo>
                    <a:pt x="4152" y="2716"/>
                    <a:pt x="4167" y="2702"/>
                    <a:pt x="4188" y="2700"/>
                  </a:cubicBezTo>
                  <a:cubicBezTo>
                    <a:pt x="4209" y="2697"/>
                    <a:pt x="4230" y="2707"/>
                    <a:pt x="4233" y="2721"/>
                  </a:cubicBezTo>
                  <a:cubicBezTo>
                    <a:pt x="4237" y="2736"/>
                    <a:pt x="4223" y="2750"/>
                    <a:pt x="4201" y="2753"/>
                  </a:cubicBezTo>
                  <a:close/>
                  <a:moveTo>
                    <a:pt x="4120" y="2582"/>
                  </a:moveTo>
                  <a:cubicBezTo>
                    <a:pt x="4117" y="2568"/>
                    <a:pt x="4131" y="2554"/>
                    <a:pt x="4152" y="2551"/>
                  </a:cubicBezTo>
                  <a:cubicBezTo>
                    <a:pt x="4173" y="2548"/>
                    <a:pt x="4193" y="2558"/>
                    <a:pt x="4196" y="2573"/>
                  </a:cubicBezTo>
                  <a:cubicBezTo>
                    <a:pt x="4200" y="2587"/>
                    <a:pt x="4186" y="2601"/>
                    <a:pt x="4165" y="2604"/>
                  </a:cubicBezTo>
                  <a:cubicBezTo>
                    <a:pt x="4144" y="2607"/>
                    <a:pt x="4124" y="2597"/>
                    <a:pt x="4120" y="2582"/>
                  </a:cubicBezTo>
                  <a:close/>
                  <a:moveTo>
                    <a:pt x="4091" y="2538"/>
                  </a:moveTo>
                  <a:cubicBezTo>
                    <a:pt x="4070" y="2541"/>
                    <a:pt x="4051" y="2531"/>
                    <a:pt x="4047" y="2516"/>
                  </a:cubicBezTo>
                  <a:cubicBezTo>
                    <a:pt x="4044" y="2501"/>
                    <a:pt x="4058" y="2487"/>
                    <a:pt x="4078" y="2485"/>
                  </a:cubicBezTo>
                  <a:cubicBezTo>
                    <a:pt x="4099" y="2482"/>
                    <a:pt x="4119" y="2492"/>
                    <a:pt x="4122" y="2507"/>
                  </a:cubicBezTo>
                  <a:cubicBezTo>
                    <a:pt x="4126" y="2522"/>
                    <a:pt x="4112" y="2536"/>
                    <a:pt x="4091" y="2538"/>
                  </a:cubicBezTo>
                  <a:close/>
                  <a:moveTo>
                    <a:pt x="4045" y="2619"/>
                  </a:moveTo>
                  <a:cubicBezTo>
                    <a:pt x="4024" y="2621"/>
                    <a:pt x="4005" y="2611"/>
                    <a:pt x="4001" y="2597"/>
                  </a:cubicBezTo>
                  <a:cubicBezTo>
                    <a:pt x="3998" y="2582"/>
                    <a:pt x="4012" y="2568"/>
                    <a:pt x="4033" y="2566"/>
                  </a:cubicBezTo>
                  <a:cubicBezTo>
                    <a:pt x="4054" y="2563"/>
                    <a:pt x="4074" y="2573"/>
                    <a:pt x="4077" y="2588"/>
                  </a:cubicBezTo>
                  <a:cubicBezTo>
                    <a:pt x="4081" y="2602"/>
                    <a:pt x="4067" y="2616"/>
                    <a:pt x="4045" y="2619"/>
                  </a:cubicBezTo>
                  <a:close/>
                  <a:moveTo>
                    <a:pt x="3973" y="2552"/>
                  </a:moveTo>
                  <a:cubicBezTo>
                    <a:pt x="3952" y="2555"/>
                    <a:pt x="3932" y="2544"/>
                    <a:pt x="3929" y="2530"/>
                  </a:cubicBezTo>
                  <a:cubicBezTo>
                    <a:pt x="3926" y="2515"/>
                    <a:pt x="3940" y="2501"/>
                    <a:pt x="3961" y="2499"/>
                  </a:cubicBezTo>
                  <a:cubicBezTo>
                    <a:pt x="3982" y="2496"/>
                    <a:pt x="4001" y="2506"/>
                    <a:pt x="4005" y="2521"/>
                  </a:cubicBezTo>
                  <a:cubicBezTo>
                    <a:pt x="4008" y="2536"/>
                    <a:pt x="3994" y="2550"/>
                    <a:pt x="3973" y="2552"/>
                  </a:cubicBezTo>
                  <a:close/>
                  <a:moveTo>
                    <a:pt x="3926" y="2633"/>
                  </a:moveTo>
                  <a:cubicBezTo>
                    <a:pt x="3905" y="2635"/>
                    <a:pt x="3886" y="2625"/>
                    <a:pt x="3882" y="2610"/>
                  </a:cubicBezTo>
                  <a:cubicBezTo>
                    <a:pt x="3879" y="2595"/>
                    <a:pt x="3894" y="2582"/>
                    <a:pt x="3915" y="2579"/>
                  </a:cubicBezTo>
                  <a:cubicBezTo>
                    <a:pt x="3936" y="2577"/>
                    <a:pt x="3955" y="2587"/>
                    <a:pt x="3958" y="2602"/>
                  </a:cubicBezTo>
                  <a:cubicBezTo>
                    <a:pt x="3962" y="2616"/>
                    <a:pt x="3947" y="2630"/>
                    <a:pt x="3926" y="2633"/>
                  </a:cubicBezTo>
                  <a:close/>
                  <a:moveTo>
                    <a:pt x="3855" y="2565"/>
                  </a:moveTo>
                  <a:cubicBezTo>
                    <a:pt x="3834" y="2568"/>
                    <a:pt x="3814" y="2557"/>
                    <a:pt x="3811" y="2543"/>
                  </a:cubicBezTo>
                  <a:cubicBezTo>
                    <a:pt x="3808" y="2528"/>
                    <a:pt x="3823" y="2514"/>
                    <a:pt x="3844" y="2512"/>
                  </a:cubicBezTo>
                  <a:cubicBezTo>
                    <a:pt x="3864" y="2510"/>
                    <a:pt x="3884" y="2520"/>
                    <a:pt x="3887" y="2535"/>
                  </a:cubicBezTo>
                  <a:cubicBezTo>
                    <a:pt x="3890" y="2549"/>
                    <a:pt x="3875" y="2563"/>
                    <a:pt x="3855" y="2565"/>
                  </a:cubicBezTo>
                  <a:close/>
                  <a:moveTo>
                    <a:pt x="3807" y="2646"/>
                  </a:moveTo>
                  <a:cubicBezTo>
                    <a:pt x="3786" y="2648"/>
                    <a:pt x="3766" y="2637"/>
                    <a:pt x="3763" y="2623"/>
                  </a:cubicBezTo>
                  <a:cubicBezTo>
                    <a:pt x="3761" y="2608"/>
                    <a:pt x="3775" y="2594"/>
                    <a:pt x="3796" y="2592"/>
                  </a:cubicBezTo>
                  <a:cubicBezTo>
                    <a:pt x="3817" y="2590"/>
                    <a:pt x="3836" y="2600"/>
                    <a:pt x="3839" y="2615"/>
                  </a:cubicBezTo>
                  <a:cubicBezTo>
                    <a:pt x="3842" y="2630"/>
                    <a:pt x="3828" y="2643"/>
                    <a:pt x="3807" y="2646"/>
                  </a:cubicBezTo>
                  <a:close/>
                  <a:moveTo>
                    <a:pt x="3764" y="2728"/>
                  </a:moveTo>
                  <a:cubicBezTo>
                    <a:pt x="3743" y="2730"/>
                    <a:pt x="3724" y="2720"/>
                    <a:pt x="3721" y="2705"/>
                  </a:cubicBezTo>
                  <a:cubicBezTo>
                    <a:pt x="3718" y="2690"/>
                    <a:pt x="3733" y="2676"/>
                    <a:pt x="3754" y="2674"/>
                  </a:cubicBezTo>
                  <a:cubicBezTo>
                    <a:pt x="3775" y="2672"/>
                    <a:pt x="3795" y="2682"/>
                    <a:pt x="3798" y="2697"/>
                  </a:cubicBezTo>
                  <a:cubicBezTo>
                    <a:pt x="3801" y="2712"/>
                    <a:pt x="3786" y="2725"/>
                    <a:pt x="3764" y="2728"/>
                  </a:cubicBezTo>
                  <a:close/>
                  <a:moveTo>
                    <a:pt x="3693" y="2555"/>
                  </a:moveTo>
                  <a:cubicBezTo>
                    <a:pt x="3691" y="2540"/>
                    <a:pt x="3705" y="2526"/>
                    <a:pt x="3726" y="2524"/>
                  </a:cubicBezTo>
                  <a:cubicBezTo>
                    <a:pt x="3747" y="2522"/>
                    <a:pt x="3766" y="2532"/>
                    <a:pt x="3769" y="2547"/>
                  </a:cubicBezTo>
                  <a:cubicBezTo>
                    <a:pt x="3772" y="2562"/>
                    <a:pt x="3757" y="2576"/>
                    <a:pt x="3736" y="2578"/>
                  </a:cubicBezTo>
                  <a:cubicBezTo>
                    <a:pt x="3715" y="2580"/>
                    <a:pt x="3696" y="2569"/>
                    <a:pt x="3693" y="2555"/>
                  </a:cubicBezTo>
                  <a:close/>
                  <a:moveTo>
                    <a:pt x="3687" y="2658"/>
                  </a:moveTo>
                  <a:cubicBezTo>
                    <a:pt x="3666" y="2660"/>
                    <a:pt x="3647" y="2649"/>
                    <a:pt x="3644" y="2634"/>
                  </a:cubicBezTo>
                  <a:cubicBezTo>
                    <a:pt x="3642" y="2620"/>
                    <a:pt x="3657" y="2606"/>
                    <a:pt x="3677" y="2604"/>
                  </a:cubicBezTo>
                  <a:cubicBezTo>
                    <a:pt x="3698" y="2602"/>
                    <a:pt x="3718" y="2612"/>
                    <a:pt x="3720" y="2627"/>
                  </a:cubicBezTo>
                  <a:cubicBezTo>
                    <a:pt x="3723" y="2642"/>
                    <a:pt x="3708" y="2656"/>
                    <a:pt x="3687" y="2658"/>
                  </a:cubicBezTo>
                  <a:close/>
                  <a:moveTo>
                    <a:pt x="3644" y="2740"/>
                  </a:moveTo>
                  <a:cubicBezTo>
                    <a:pt x="3622" y="2742"/>
                    <a:pt x="3603" y="2731"/>
                    <a:pt x="3601" y="2716"/>
                  </a:cubicBezTo>
                  <a:cubicBezTo>
                    <a:pt x="3598" y="2701"/>
                    <a:pt x="3613" y="2688"/>
                    <a:pt x="3634" y="2686"/>
                  </a:cubicBezTo>
                  <a:cubicBezTo>
                    <a:pt x="3656" y="2684"/>
                    <a:pt x="3675" y="2694"/>
                    <a:pt x="3677" y="2709"/>
                  </a:cubicBezTo>
                  <a:cubicBezTo>
                    <a:pt x="3680" y="2724"/>
                    <a:pt x="3665" y="2737"/>
                    <a:pt x="3644" y="2740"/>
                  </a:cubicBezTo>
                  <a:close/>
                  <a:moveTo>
                    <a:pt x="3568" y="2669"/>
                  </a:moveTo>
                  <a:cubicBezTo>
                    <a:pt x="3546" y="2671"/>
                    <a:pt x="3527" y="2660"/>
                    <a:pt x="3525" y="2645"/>
                  </a:cubicBezTo>
                  <a:cubicBezTo>
                    <a:pt x="3523" y="2630"/>
                    <a:pt x="3538" y="2617"/>
                    <a:pt x="3559" y="2615"/>
                  </a:cubicBezTo>
                  <a:cubicBezTo>
                    <a:pt x="3580" y="2613"/>
                    <a:pt x="3599" y="2624"/>
                    <a:pt x="3601" y="2638"/>
                  </a:cubicBezTo>
                  <a:cubicBezTo>
                    <a:pt x="3604" y="2653"/>
                    <a:pt x="3589" y="2667"/>
                    <a:pt x="3568" y="2669"/>
                  </a:cubicBezTo>
                  <a:close/>
                  <a:moveTo>
                    <a:pt x="3523" y="2750"/>
                  </a:moveTo>
                  <a:cubicBezTo>
                    <a:pt x="3502" y="2752"/>
                    <a:pt x="3483" y="2742"/>
                    <a:pt x="3480" y="2727"/>
                  </a:cubicBezTo>
                  <a:cubicBezTo>
                    <a:pt x="3478" y="2712"/>
                    <a:pt x="3493" y="2699"/>
                    <a:pt x="3514" y="2697"/>
                  </a:cubicBezTo>
                  <a:cubicBezTo>
                    <a:pt x="3536" y="2695"/>
                    <a:pt x="3555" y="2705"/>
                    <a:pt x="3557" y="2720"/>
                  </a:cubicBezTo>
                  <a:cubicBezTo>
                    <a:pt x="3560" y="2735"/>
                    <a:pt x="3544" y="2749"/>
                    <a:pt x="3523" y="2750"/>
                  </a:cubicBezTo>
                  <a:close/>
                  <a:moveTo>
                    <a:pt x="3448" y="2679"/>
                  </a:moveTo>
                  <a:cubicBezTo>
                    <a:pt x="3427" y="2681"/>
                    <a:pt x="3408" y="2670"/>
                    <a:pt x="3406" y="2655"/>
                  </a:cubicBezTo>
                  <a:cubicBezTo>
                    <a:pt x="3404" y="2641"/>
                    <a:pt x="3419" y="2627"/>
                    <a:pt x="3440" y="2625"/>
                  </a:cubicBezTo>
                  <a:cubicBezTo>
                    <a:pt x="3461" y="2624"/>
                    <a:pt x="3480" y="2634"/>
                    <a:pt x="3482" y="2649"/>
                  </a:cubicBezTo>
                  <a:cubicBezTo>
                    <a:pt x="3484" y="2664"/>
                    <a:pt x="3469" y="2677"/>
                    <a:pt x="3448" y="2679"/>
                  </a:cubicBezTo>
                  <a:close/>
                  <a:moveTo>
                    <a:pt x="3402" y="2761"/>
                  </a:moveTo>
                  <a:cubicBezTo>
                    <a:pt x="3381" y="2762"/>
                    <a:pt x="3362" y="2752"/>
                    <a:pt x="3360" y="2737"/>
                  </a:cubicBezTo>
                  <a:cubicBezTo>
                    <a:pt x="3358" y="2722"/>
                    <a:pt x="3373" y="2708"/>
                    <a:pt x="3394" y="2707"/>
                  </a:cubicBezTo>
                  <a:cubicBezTo>
                    <a:pt x="3416" y="2705"/>
                    <a:pt x="3435" y="2716"/>
                    <a:pt x="3437" y="2731"/>
                  </a:cubicBezTo>
                  <a:cubicBezTo>
                    <a:pt x="3439" y="2745"/>
                    <a:pt x="3423" y="2759"/>
                    <a:pt x="3402" y="2761"/>
                  </a:cubicBezTo>
                  <a:close/>
                  <a:moveTo>
                    <a:pt x="3328" y="2689"/>
                  </a:moveTo>
                  <a:cubicBezTo>
                    <a:pt x="3307" y="2690"/>
                    <a:pt x="3288" y="2679"/>
                    <a:pt x="3286" y="2665"/>
                  </a:cubicBezTo>
                  <a:cubicBezTo>
                    <a:pt x="3285" y="2650"/>
                    <a:pt x="3300" y="2636"/>
                    <a:pt x="3321" y="2635"/>
                  </a:cubicBezTo>
                  <a:cubicBezTo>
                    <a:pt x="3342" y="2633"/>
                    <a:pt x="3361" y="2644"/>
                    <a:pt x="3363" y="2659"/>
                  </a:cubicBezTo>
                  <a:cubicBezTo>
                    <a:pt x="3365" y="2674"/>
                    <a:pt x="3349" y="2687"/>
                    <a:pt x="3328" y="2689"/>
                  </a:cubicBezTo>
                  <a:close/>
                  <a:moveTo>
                    <a:pt x="3262" y="2619"/>
                  </a:moveTo>
                  <a:cubicBezTo>
                    <a:pt x="3241" y="2620"/>
                    <a:pt x="3223" y="2609"/>
                    <a:pt x="3221" y="2594"/>
                  </a:cubicBezTo>
                  <a:cubicBezTo>
                    <a:pt x="3219" y="2579"/>
                    <a:pt x="3235" y="2566"/>
                    <a:pt x="3255" y="2565"/>
                  </a:cubicBezTo>
                  <a:cubicBezTo>
                    <a:pt x="3276" y="2563"/>
                    <a:pt x="3295" y="2574"/>
                    <a:pt x="3296" y="2589"/>
                  </a:cubicBezTo>
                  <a:cubicBezTo>
                    <a:pt x="3298" y="2604"/>
                    <a:pt x="3283" y="2617"/>
                    <a:pt x="3262" y="2619"/>
                  </a:cubicBezTo>
                  <a:close/>
                  <a:moveTo>
                    <a:pt x="3208" y="2697"/>
                  </a:moveTo>
                  <a:cubicBezTo>
                    <a:pt x="3187" y="2699"/>
                    <a:pt x="3169" y="2688"/>
                    <a:pt x="3167" y="2673"/>
                  </a:cubicBezTo>
                  <a:cubicBezTo>
                    <a:pt x="3165" y="2658"/>
                    <a:pt x="3181" y="2645"/>
                    <a:pt x="3202" y="2643"/>
                  </a:cubicBezTo>
                  <a:cubicBezTo>
                    <a:pt x="3223" y="2642"/>
                    <a:pt x="3241" y="2653"/>
                    <a:pt x="3243" y="2668"/>
                  </a:cubicBezTo>
                  <a:cubicBezTo>
                    <a:pt x="3245" y="2683"/>
                    <a:pt x="3229" y="2696"/>
                    <a:pt x="3208" y="2697"/>
                  </a:cubicBezTo>
                  <a:close/>
                  <a:moveTo>
                    <a:pt x="3143" y="2627"/>
                  </a:moveTo>
                  <a:cubicBezTo>
                    <a:pt x="3123" y="2628"/>
                    <a:pt x="3104" y="2617"/>
                    <a:pt x="3103" y="2602"/>
                  </a:cubicBezTo>
                  <a:cubicBezTo>
                    <a:pt x="3101" y="2587"/>
                    <a:pt x="3117" y="2574"/>
                    <a:pt x="3138" y="2573"/>
                  </a:cubicBezTo>
                  <a:cubicBezTo>
                    <a:pt x="3158" y="2571"/>
                    <a:pt x="3177" y="2582"/>
                    <a:pt x="3178" y="2597"/>
                  </a:cubicBezTo>
                  <a:cubicBezTo>
                    <a:pt x="3180" y="2612"/>
                    <a:pt x="3164" y="2625"/>
                    <a:pt x="3143" y="2627"/>
                  </a:cubicBezTo>
                  <a:close/>
                  <a:moveTo>
                    <a:pt x="3089" y="2705"/>
                  </a:moveTo>
                  <a:cubicBezTo>
                    <a:pt x="3067" y="2706"/>
                    <a:pt x="3049" y="2695"/>
                    <a:pt x="3048" y="2680"/>
                  </a:cubicBezTo>
                  <a:cubicBezTo>
                    <a:pt x="3046" y="2665"/>
                    <a:pt x="3062" y="2652"/>
                    <a:pt x="3083" y="2651"/>
                  </a:cubicBezTo>
                  <a:cubicBezTo>
                    <a:pt x="3104" y="2650"/>
                    <a:pt x="3122" y="2661"/>
                    <a:pt x="3124" y="2676"/>
                  </a:cubicBezTo>
                  <a:cubicBezTo>
                    <a:pt x="3126" y="2691"/>
                    <a:pt x="3110" y="2704"/>
                    <a:pt x="3089" y="2705"/>
                  </a:cubicBezTo>
                  <a:close/>
                  <a:moveTo>
                    <a:pt x="3025" y="2634"/>
                  </a:moveTo>
                  <a:cubicBezTo>
                    <a:pt x="3004" y="2635"/>
                    <a:pt x="2986" y="2624"/>
                    <a:pt x="2984" y="2609"/>
                  </a:cubicBezTo>
                  <a:cubicBezTo>
                    <a:pt x="2983" y="2594"/>
                    <a:pt x="2999" y="2581"/>
                    <a:pt x="3020" y="2580"/>
                  </a:cubicBezTo>
                  <a:cubicBezTo>
                    <a:pt x="3040" y="2579"/>
                    <a:pt x="3058" y="2590"/>
                    <a:pt x="3060" y="2605"/>
                  </a:cubicBezTo>
                  <a:cubicBezTo>
                    <a:pt x="3061" y="2620"/>
                    <a:pt x="3046" y="2633"/>
                    <a:pt x="3025" y="2634"/>
                  </a:cubicBezTo>
                  <a:close/>
                  <a:moveTo>
                    <a:pt x="2969" y="2712"/>
                  </a:moveTo>
                  <a:cubicBezTo>
                    <a:pt x="2948" y="2713"/>
                    <a:pt x="2929" y="2702"/>
                    <a:pt x="2928" y="2687"/>
                  </a:cubicBezTo>
                  <a:cubicBezTo>
                    <a:pt x="2927" y="2672"/>
                    <a:pt x="2943" y="2659"/>
                    <a:pt x="2964" y="2658"/>
                  </a:cubicBezTo>
                  <a:cubicBezTo>
                    <a:pt x="2985" y="2657"/>
                    <a:pt x="3003" y="2668"/>
                    <a:pt x="3004" y="2683"/>
                  </a:cubicBezTo>
                  <a:cubicBezTo>
                    <a:pt x="3006" y="2698"/>
                    <a:pt x="2990" y="2711"/>
                    <a:pt x="2969" y="2712"/>
                  </a:cubicBezTo>
                  <a:close/>
                  <a:moveTo>
                    <a:pt x="2906" y="2640"/>
                  </a:moveTo>
                  <a:cubicBezTo>
                    <a:pt x="2885" y="2641"/>
                    <a:pt x="2867" y="2630"/>
                    <a:pt x="2866" y="2615"/>
                  </a:cubicBezTo>
                  <a:cubicBezTo>
                    <a:pt x="2865" y="2600"/>
                    <a:pt x="2881" y="2587"/>
                    <a:pt x="2902" y="2586"/>
                  </a:cubicBezTo>
                  <a:cubicBezTo>
                    <a:pt x="2923" y="2585"/>
                    <a:pt x="2940" y="2596"/>
                    <a:pt x="2942" y="2611"/>
                  </a:cubicBezTo>
                  <a:cubicBezTo>
                    <a:pt x="2943" y="2626"/>
                    <a:pt x="2927" y="2639"/>
                    <a:pt x="2906" y="2640"/>
                  </a:cubicBezTo>
                  <a:close/>
                  <a:moveTo>
                    <a:pt x="2849" y="2718"/>
                  </a:moveTo>
                  <a:cubicBezTo>
                    <a:pt x="2828" y="2719"/>
                    <a:pt x="2810" y="2708"/>
                    <a:pt x="2809" y="2693"/>
                  </a:cubicBezTo>
                  <a:cubicBezTo>
                    <a:pt x="2808" y="2678"/>
                    <a:pt x="2824" y="2665"/>
                    <a:pt x="2845" y="2664"/>
                  </a:cubicBezTo>
                  <a:cubicBezTo>
                    <a:pt x="2866" y="2663"/>
                    <a:pt x="2884" y="2674"/>
                    <a:pt x="2885" y="2689"/>
                  </a:cubicBezTo>
                  <a:cubicBezTo>
                    <a:pt x="2886" y="2704"/>
                    <a:pt x="2870" y="2717"/>
                    <a:pt x="2849" y="2718"/>
                  </a:cubicBezTo>
                  <a:close/>
                  <a:moveTo>
                    <a:pt x="2787" y="2646"/>
                  </a:moveTo>
                  <a:cubicBezTo>
                    <a:pt x="2766" y="2647"/>
                    <a:pt x="2749" y="2635"/>
                    <a:pt x="2748" y="2620"/>
                  </a:cubicBezTo>
                  <a:cubicBezTo>
                    <a:pt x="2747" y="2605"/>
                    <a:pt x="2763" y="2593"/>
                    <a:pt x="2784" y="2592"/>
                  </a:cubicBezTo>
                  <a:cubicBezTo>
                    <a:pt x="2805" y="2591"/>
                    <a:pt x="2822" y="2602"/>
                    <a:pt x="2823" y="2617"/>
                  </a:cubicBezTo>
                  <a:cubicBezTo>
                    <a:pt x="2824" y="2632"/>
                    <a:pt x="2808" y="2645"/>
                    <a:pt x="2787" y="2646"/>
                  </a:cubicBezTo>
                  <a:close/>
                  <a:moveTo>
                    <a:pt x="2765" y="2695"/>
                  </a:moveTo>
                  <a:cubicBezTo>
                    <a:pt x="2766" y="2710"/>
                    <a:pt x="2750" y="2723"/>
                    <a:pt x="2729" y="2723"/>
                  </a:cubicBezTo>
                  <a:cubicBezTo>
                    <a:pt x="2708" y="2724"/>
                    <a:pt x="2690" y="2713"/>
                    <a:pt x="2689" y="2698"/>
                  </a:cubicBezTo>
                  <a:cubicBezTo>
                    <a:pt x="2688" y="2683"/>
                    <a:pt x="2705" y="2670"/>
                    <a:pt x="2726" y="2669"/>
                  </a:cubicBezTo>
                  <a:cubicBezTo>
                    <a:pt x="2747" y="2668"/>
                    <a:pt x="2765" y="2680"/>
                    <a:pt x="2765" y="2695"/>
                  </a:cubicBezTo>
                  <a:close/>
                  <a:moveTo>
                    <a:pt x="2668" y="2651"/>
                  </a:moveTo>
                  <a:cubicBezTo>
                    <a:pt x="2647" y="2651"/>
                    <a:pt x="2630" y="2640"/>
                    <a:pt x="2629" y="2625"/>
                  </a:cubicBezTo>
                  <a:cubicBezTo>
                    <a:pt x="2629" y="2610"/>
                    <a:pt x="2645" y="2597"/>
                    <a:pt x="2666" y="2596"/>
                  </a:cubicBezTo>
                  <a:cubicBezTo>
                    <a:pt x="2687" y="2596"/>
                    <a:pt x="2704" y="2607"/>
                    <a:pt x="2705" y="2622"/>
                  </a:cubicBezTo>
                  <a:cubicBezTo>
                    <a:pt x="2706" y="2637"/>
                    <a:pt x="2689" y="2650"/>
                    <a:pt x="2668" y="2651"/>
                  </a:cubicBezTo>
                  <a:close/>
                  <a:moveTo>
                    <a:pt x="2646" y="2699"/>
                  </a:moveTo>
                  <a:cubicBezTo>
                    <a:pt x="2647" y="2714"/>
                    <a:pt x="2630" y="2727"/>
                    <a:pt x="2609" y="2728"/>
                  </a:cubicBezTo>
                  <a:cubicBezTo>
                    <a:pt x="2588" y="2729"/>
                    <a:pt x="2570" y="2717"/>
                    <a:pt x="2570" y="2702"/>
                  </a:cubicBezTo>
                  <a:cubicBezTo>
                    <a:pt x="2569" y="2687"/>
                    <a:pt x="2586" y="2674"/>
                    <a:pt x="2607" y="2673"/>
                  </a:cubicBezTo>
                  <a:cubicBezTo>
                    <a:pt x="2628" y="2673"/>
                    <a:pt x="2645" y="2684"/>
                    <a:pt x="2646" y="2699"/>
                  </a:cubicBezTo>
                  <a:close/>
                  <a:moveTo>
                    <a:pt x="2550" y="2655"/>
                  </a:moveTo>
                  <a:cubicBezTo>
                    <a:pt x="2529" y="2655"/>
                    <a:pt x="2511" y="2643"/>
                    <a:pt x="2511" y="2628"/>
                  </a:cubicBezTo>
                  <a:cubicBezTo>
                    <a:pt x="2510" y="2613"/>
                    <a:pt x="2527" y="2601"/>
                    <a:pt x="2548" y="2600"/>
                  </a:cubicBezTo>
                  <a:cubicBezTo>
                    <a:pt x="2569" y="2599"/>
                    <a:pt x="2586" y="2611"/>
                    <a:pt x="2586" y="2626"/>
                  </a:cubicBezTo>
                  <a:cubicBezTo>
                    <a:pt x="2587" y="2641"/>
                    <a:pt x="2571" y="2654"/>
                    <a:pt x="2550" y="2655"/>
                  </a:cubicBezTo>
                  <a:close/>
                  <a:moveTo>
                    <a:pt x="2526" y="2703"/>
                  </a:moveTo>
                  <a:cubicBezTo>
                    <a:pt x="2527" y="2718"/>
                    <a:pt x="2510" y="2731"/>
                    <a:pt x="2489" y="2731"/>
                  </a:cubicBezTo>
                  <a:cubicBezTo>
                    <a:pt x="2468" y="2732"/>
                    <a:pt x="2450" y="2720"/>
                    <a:pt x="2450" y="2705"/>
                  </a:cubicBezTo>
                  <a:cubicBezTo>
                    <a:pt x="2450" y="2690"/>
                    <a:pt x="2466" y="2677"/>
                    <a:pt x="2487" y="2677"/>
                  </a:cubicBezTo>
                  <a:cubicBezTo>
                    <a:pt x="2508" y="2676"/>
                    <a:pt x="2526" y="2688"/>
                    <a:pt x="2526" y="2703"/>
                  </a:cubicBezTo>
                  <a:close/>
                  <a:moveTo>
                    <a:pt x="2431" y="2658"/>
                  </a:moveTo>
                  <a:cubicBezTo>
                    <a:pt x="2410" y="2658"/>
                    <a:pt x="2393" y="2646"/>
                    <a:pt x="2392" y="2631"/>
                  </a:cubicBezTo>
                  <a:cubicBezTo>
                    <a:pt x="2392" y="2616"/>
                    <a:pt x="2409" y="2604"/>
                    <a:pt x="2430" y="2603"/>
                  </a:cubicBezTo>
                  <a:cubicBezTo>
                    <a:pt x="2451" y="2603"/>
                    <a:pt x="2468" y="2614"/>
                    <a:pt x="2468" y="2629"/>
                  </a:cubicBezTo>
                  <a:cubicBezTo>
                    <a:pt x="2468" y="2645"/>
                    <a:pt x="2452" y="2657"/>
                    <a:pt x="2431" y="2658"/>
                  </a:cubicBezTo>
                  <a:close/>
                  <a:moveTo>
                    <a:pt x="2407" y="2706"/>
                  </a:moveTo>
                  <a:cubicBezTo>
                    <a:pt x="2407" y="2721"/>
                    <a:pt x="2390" y="2734"/>
                    <a:pt x="2369" y="2734"/>
                  </a:cubicBezTo>
                  <a:cubicBezTo>
                    <a:pt x="2348" y="2734"/>
                    <a:pt x="2330" y="2722"/>
                    <a:pt x="2330" y="2707"/>
                  </a:cubicBezTo>
                  <a:cubicBezTo>
                    <a:pt x="2330" y="2692"/>
                    <a:pt x="2347" y="2680"/>
                    <a:pt x="2368" y="2679"/>
                  </a:cubicBezTo>
                  <a:cubicBezTo>
                    <a:pt x="2389" y="2679"/>
                    <a:pt x="2406" y="2691"/>
                    <a:pt x="2407" y="2706"/>
                  </a:cubicBezTo>
                  <a:close/>
                  <a:moveTo>
                    <a:pt x="2312" y="2660"/>
                  </a:moveTo>
                  <a:cubicBezTo>
                    <a:pt x="2291" y="2660"/>
                    <a:pt x="2274" y="2648"/>
                    <a:pt x="2274" y="2633"/>
                  </a:cubicBezTo>
                  <a:cubicBezTo>
                    <a:pt x="2274" y="2618"/>
                    <a:pt x="2291" y="2605"/>
                    <a:pt x="2312" y="2605"/>
                  </a:cubicBezTo>
                  <a:cubicBezTo>
                    <a:pt x="2332" y="2605"/>
                    <a:pt x="2349" y="2617"/>
                    <a:pt x="2350" y="2632"/>
                  </a:cubicBezTo>
                  <a:cubicBezTo>
                    <a:pt x="2350" y="2647"/>
                    <a:pt x="2333" y="2660"/>
                    <a:pt x="2312" y="2660"/>
                  </a:cubicBezTo>
                  <a:close/>
                  <a:moveTo>
                    <a:pt x="2287" y="2708"/>
                  </a:moveTo>
                  <a:cubicBezTo>
                    <a:pt x="2287" y="2723"/>
                    <a:pt x="2270" y="2736"/>
                    <a:pt x="2249" y="2736"/>
                  </a:cubicBezTo>
                  <a:cubicBezTo>
                    <a:pt x="2228" y="2736"/>
                    <a:pt x="2211" y="2724"/>
                    <a:pt x="2211" y="2709"/>
                  </a:cubicBezTo>
                  <a:cubicBezTo>
                    <a:pt x="2211" y="2694"/>
                    <a:pt x="2228" y="2681"/>
                    <a:pt x="2249" y="2681"/>
                  </a:cubicBezTo>
                  <a:cubicBezTo>
                    <a:pt x="2270" y="2681"/>
                    <a:pt x="2287" y="2693"/>
                    <a:pt x="2287" y="2708"/>
                  </a:cubicBezTo>
                  <a:close/>
                  <a:moveTo>
                    <a:pt x="2193" y="2661"/>
                  </a:moveTo>
                  <a:cubicBezTo>
                    <a:pt x="2172" y="2661"/>
                    <a:pt x="2155" y="2649"/>
                    <a:pt x="2155" y="2634"/>
                  </a:cubicBezTo>
                  <a:cubicBezTo>
                    <a:pt x="2156" y="2619"/>
                    <a:pt x="2173" y="2607"/>
                    <a:pt x="2194" y="2606"/>
                  </a:cubicBezTo>
                  <a:cubicBezTo>
                    <a:pt x="2214" y="2606"/>
                    <a:pt x="2231" y="2618"/>
                    <a:pt x="2231" y="2633"/>
                  </a:cubicBezTo>
                  <a:cubicBezTo>
                    <a:pt x="2231" y="2649"/>
                    <a:pt x="2214" y="2661"/>
                    <a:pt x="2193" y="2661"/>
                  </a:cubicBezTo>
                  <a:close/>
                  <a:moveTo>
                    <a:pt x="2167" y="2709"/>
                  </a:moveTo>
                  <a:cubicBezTo>
                    <a:pt x="2167" y="2724"/>
                    <a:pt x="2150" y="2737"/>
                    <a:pt x="2129" y="2737"/>
                  </a:cubicBezTo>
                  <a:cubicBezTo>
                    <a:pt x="2107" y="2737"/>
                    <a:pt x="2091" y="2725"/>
                    <a:pt x="2091" y="2710"/>
                  </a:cubicBezTo>
                  <a:cubicBezTo>
                    <a:pt x="2091" y="2694"/>
                    <a:pt x="2109" y="2682"/>
                    <a:pt x="2130" y="2682"/>
                  </a:cubicBezTo>
                  <a:cubicBezTo>
                    <a:pt x="2151" y="2682"/>
                    <a:pt x="2168" y="2694"/>
                    <a:pt x="2167" y="2709"/>
                  </a:cubicBezTo>
                  <a:close/>
                  <a:moveTo>
                    <a:pt x="2074" y="2662"/>
                  </a:moveTo>
                  <a:cubicBezTo>
                    <a:pt x="2053" y="2662"/>
                    <a:pt x="2036" y="2649"/>
                    <a:pt x="2037" y="2634"/>
                  </a:cubicBezTo>
                  <a:cubicBezTo>
                    <a:pt x="2037" y="2619"/>
                    <a:pt x="2055" y="2607"/>
                    <a:pt x="2076" y="2607"/>
                  </a:cubicBezTo>
                  <a:cubicBezTo>
                    <a:pt x="2096" y="2607"/>
                    <a:pt x="2113" y="2619"/>
                    <a:pt x="2113" y="2634"/>
                  </a:cubicBezTo>
                  <a:cubicBezTo>
                    <a:pt x="2112" y="2649"/>
                    <a:pt x="2095" y="2662"/>
                    <a:pt x="2074" y="2662"/>
                  </a:cubicBezTo>
                  <a:close/>
                  <a:moveTo>
                    <a:pt x="2048" y="2710"/>
                  </a:moveTo>
                  <a:cubicBezTo>
                    <a:pt x="2047" y="2725"/>
                    <a:pt x="2030" y="2737"/>
                    <a:pt x="2009" y="2737"/>
                  </a:cubicBezTo>
                  <a:cubicBezTo>
                    <a:pt x="1987" y="2737"/>
                    <a:pt x="1971" y="2725"/>
                    <a:pt x="1971" y="2709"/>
                  </a:cubicBezTo>
                  <a:cubicBezTo>
                    <a:pt x="1972" y="2694"/>
                    <a:pt x="1990" y="2682"/>
                    <a:pt x="2011" y="2682"/>
                  </a:cubicBezTo>
                  <a:cubicBezTo>
                    <a:pt x="2032" y="2682"/>
                    <a:pt x="2048" y="2694"/>
                    <a:pt x="2048" y="2710"/>
                  </a:cubicBezTo>
                  <a:close/>
                  <a:moveTo>
                    <a:pt x="1955" y="2661"/>
                  </a:moveTo>
                  <a:cubicBezTo>
                    <a:pt x="1934" y="2661"/>
                    <a:pt x="1918" y="2649"/>
                    <a:pt x="1918" y="2634"/>
                  </a:cubicBezTo>
                  <a:cubicBezTo>
                    <a:pt x="1919" y="2618"/>
                    <a:pt x="1937" y="2606"/>
                    <a:pt x="1957" y="2607"/>
                  </a:cubicBezTo>
                  <a:cubicBezTo>
                    <a:pt x="1978" y="2607"/>
                    <a:pt x="1995" y="2619"/>
                    <a:pt x="1994" y="2634"/>
                  </a:cubicBezTo>
                  <a:cubicBezTo>
                    <a:pt x="1993" y="2649"/>
                    <a:pt x="1976" y="2661"/>
                    <a:pt x="1955" y="2661"/>
                  </a:cubicBezTo>
                  <a:close/>
                  <a:moveTo>
                    <a:pt x="1928" y="2709"/>
                  </a:moveTo>
                  <a:cubicBezTo>
                    <a:pt x="1927" y="2724"/>
                    <a:pt x="1910" y="2736"/>
                    <a:pt x="1889" y="2736"/>
                  </a:cubicBezTo>
                  <a:cubicBezTo>
                    <a:pt x="1867" y="2736"/>
                    <a:pt x="1851" y="2723"/>
                    <a:pt x="1852" y="2708"/>
                  </a:cubicBezTo>
                  <a:cubicBezTo>
                    <a:pt x="1853" y="2693"/>
                    <a:pt x="1870" y="2681"/>
                    <a:pt x="1891" y="2681"/>
                  </a:cubicBezTo>
                  <a:cubicBezTo>
                    <a:pt x="1912" y="2682"/>
                    <a:pt x="1929" y="2694"/>
                    <a:pt x="1928" y="2709"/>
                  </a:cubicBezTo>
                  <a:close/>
                  <a:moveTo>
                    <a:pt x="1836" y="2660"/>
                  </a:moveTo>
                  <a:cubicBezTo>
                    <a:pt x="1815" y="2660"/>
                    <a:pt x="1799" y="2647"/>
                    <a:pt x="1800" y="2632"/>
                  </a:cubicBezTo>
                  <a:cubicBezTo>
                    <a:pt x="1801" y="2617"/>
                    <a:pt x="1819" y="2605"/>
                    <a:pt x="1839" y="2605"/>
                  </a:cubicBezTo>
                  <a:cubicBezTo>
                    <a:pt x="1860" y="2606"/>
                    <a:pt x="1876" y="2618"/>
                    <a:pt x="1876" y="2633"/>
                  </a:cubicBezTo>
                  <a:cubicBezTo>
                    <a:pt x="1875" y="2648"/>
                    <a:pt x="1857" y="2660"/>
                    <a:pt x="1836" y="2660"/>
                  </a:cubicBezTo>
                  <a:close/>
                  <a:moveTo>
                    <a:pt x="1808" y="2708"/>
                  </a:moveTo>
                  <a:cubicBezTo>
                    <a:pt x="1807" y="2723"/>
                    <a:pt x="1790" y="2735"/>
                    <a:pt x="1768" y="2735"/>
                  </a:cubicBezTo>
                  <a:cubicBezTo>
                    <a:pt x="1747" y="2734"/>
                    <a:pt x="1731" y="2722"/>
                    <a:pt x="1732" y="2706"/>
                  </a:cubicBezTo>
                  <a:cubicBezTo>
                    <a:pt x="1733" y="2691"/>
                    <a:pt x="1751" y="2679"/>
                    <a:pt x="1772" y="2680"/>
                  </a:cubicBezTo>
                  <a:cubicBezTo>
                    <a:pt x="1793" y="2680"/>
                    <a:pt x="1809" y="2693"/>
                    <a:pt x="1808" y="2708"/>
                  </a:cubicBezTo>
                  <a:close/>
                  <a:moveTo>
                    <a:pt x="1717" y="2658"/>
                  </a:moveTo>
                  <a:cubicBezTo>
                    <a:pt x="1696" y="2658"/>
                    <a:pt x="1680" y="2645"/>
                    <a:pt x="1681" y="2630"/>
                  </a:cubicBezTo>
                  <a:cubicBezTo>
                    <a:pt x="1683" y="2615"/>
                    <a:pt x="1700" y="2603"/>
                    <a:pt x="1721" y="2603"/>
                  </a:cubicBezTo>
                  <a:cubicBezTo>
                    <a:pt x="1742" y="2604"/>
                    <a:pt x="1758" y="2616"/>
                    <a:pt x="1757" y="2631"/>
                  </a:cubicBezTo>
                  <a:cubicBezTo>
                    <a:pt x="1756" y="2646"/>
                    <a:pt x="1738" y="2658"/>
                    <a:pt x="1717" y="2658"/>
                  </a:cubicBezTo>
                  <a:close/>
                  <a:moveTo>
                    <a:pt x="1689" y="2706"/>
                  </a:moveTo>
                  <a:cubicBezTo>
                    <a:pt x="1688" y="2721"/>
                    <a:pt x="1669" y="2733"/>
                    <a:pt x="1648" y="2732"/>
                  </a:cubicBezTo>
                  <a:cubicBezTo>
                    <a:pt x="1627" y="2732"/>
                    <a:pt x="1611" y="2719"/>
                    <a:pt x="1612" y="2704"/>
                  </a:cubicBezTo>
                  <a:cubicBezTo>
                    <a:pt x="1614" y="2689"/>
                    <a:pt x="1632" y="2677"/>
                    <a:pt x="1653" y="2677"/>
                  </a:cubicBezTo>
                  <a:cubicBezTo>
                    <a:pt x="1674" y="2678"/>
                    <a:pt x="1690" y="2690"/>
                    <a:pt x="1689" y="2706"/>
                  </a:cubicBezTo>
                  <a:close/>
                  <a:moveTo>
                    <a:pt x="1598" y="2655"/>
                  </a:moveTo>
                  <a:cubicBezTo>
                    <a:pt x="1577" y="2655"/>
                    <a:pt x="1561" y="2642"/>
                    <a:pt x="1563" y="2627"/>
                  </a:cubicBezTo>
                  <a:cubicBezTo>
                    <a:pt x="1564" y="2611"/>
                    <a:pt x="1582" y="2600"/>
                    <a:pt x="1603" y="2600"/>
                  </a:cubicBezTo>
                  <a:cubicBezTo>
                    <a:pt x="1624" y="2601"/>
                    <a:pt x="1640" y="2614"/>
                    <a:pt x="1639" y="2629"/>
                  </a:cubicBezTo>
                  <a:cubicBezTo>
                    <a:pt x="1637" y="2644"/>
                    <a:pt x="1619" y="2656"/>
                    <a:pt x="1598" y="2655"/>
                  </a:cubicBezTo>
                  <a:close/>
                  <a:moveTo>
                    <a:pt x="1569" y="2702"/>
                  </a:moveTo>
                  <a:cubicBezTo>
                    <a:pt x="1568" y="2718"/>
                    <a:pt x="1549" y="2729"/>
                    <a:pt x="1528" y="2729"/>
                  </a:cubicBezTo>
                  <a:cubicBezTo>
                    <a:pt x="1507" y="2728"/>
                    <a:pt x="1491" y="2715"/>
                    <a:pt x="1493" y="2700"/>
                  </a:cubicBezTo>
                  <a:cubicBezTo>
                    <a:pt x="1494" y="2685"/>
                    <a:pt x="1513" y="2673"/>
                    <a:pt x="1534" y="2674"/>
                  </a:cubicBezTo>
                  <a:cubicBezTo>
                    <a:pt x="1555" y="2675"/>
                    <a:pt x="1571" y="2687"/>
                    <a:pt x="1569" y="2702"/>
                  </a:cubicBezTo>
                  <a:close/>
                  <a:moveTo>
                    <a:pt x="1479" y="2651"/>
                  </a:moveTo>
                  <a:cubicBezTo>
                    <a:pt x="1458" y="2651"/>
                    <a:pt x="1443" y="2638"/>
                    <a:pt x="1444" y="2623"/>
                  </a:cubicBezTo>
                  <a:cubicBezTo>
                    <a:pt x="1446" y="2607"/>
                    <a:pt x="1464" y="2596"/>
                    <a:pt x="1485" y="2596"/>
                  </a:cubicBezTo>
                  <a:cubicBezTo>
                    <a:pt x="1506" y="2597"/>
                    <a:pt x="1522" y="2610"/>
                    <a:pt x="1520" y="2625"/>
                  </a:cubicBezTo>
                  <a:cubicBezTo>
                    <a:pt x="1518" y="2640"/>
                    <a:pt x="1500" y="2652"/>
                    <a:pt x="1479" y="2651"/>
                  </a:cubicBezTo>
                  <a:close/>
                  <a:moveTo>
                    <a:pt x="1449" y="2699"/>
                  </a:moveTo>
                  <a:cubicBezTo>
                    <a:pt x="1448" y="2714"/>
                    <a:pt x="1429" y="2725"/>
                    <a:pt x="1408" y="2725"/>
                  </a:cubicBezTo>
                  <a:cubicBezTo>
                    <a:pt x="1387" y="2724"/>
                    <a:pt x="1371" y="2711"/>
                    <a:pt x="1373" y="2696"/>
                  </a:cubicBezTo>
                  <a:cubicBezTo>
                    <a:pt x="1375" y="2680"/>
                    <a:pt x="1393" y="2669"/>
                    <a:pt x="1414" y="2670"/>
                  </a:cubicBezTo>
                  <a:cubicBezTo>
                    <a:pt x="1435" y="2671"/>
                    <a:pt x="1451" y="2683"/>
                    <a:pt x="1449" y="2699"/>
                  </a:cubicBezTo>
                  <a:close/>
                  <a:moveTo>
                    <a:pt x="1360" y="2647"/>
                  </a:moveTo>
                  <a:cubicBezTo>
                    <a:pt x="1339" y="2646"/>
                    <a:pt x="1324" y="2633"/>
                    <a:pt x="1326" y="2618"/>
                  </a:cubicBezTo>
                  <a:cubicBezTo>
                    <a:pt x="1328" y="2602"/>
                    <a:pt x="1346" y="2591"/>
                    <a:pt x="1367" y="2592"/>
                  </a:cubicBezTo>
                  <a:cubicBezTo>
                    <a:pt x="1388" y="2593"/>
                    <a:pt x="1403" y="2606"/>
                    <a:pt x="1402" y="2621"/>
                  </a:cubicBezTo>
                  <a:cubicBezTo>
                    <a:pt x="1400" y="2636"/>
                    <a:pt x="1381" y="2648"/>
                    <a:pt x="1360" y="2647"/>
                  </a:cubicBezTo>
                  <a:close/>
                  <a:moveTo>
                    <a:pt x="1330" y="2694"/>
                  </a:moveTo>
                  <a:cubicBezTo>
                    <a:pt x="1328" y="2709"/>
                    <a:pt x="1309" y="2721"/>
                    <a:pt x="1288" y="2720"/>
                  </a:cubicBezTo>
                  <a:cubicBezTo>
                    <a:pt x="1267" y="2719"/>
                    <a:pt x="1251" y="2705"/>
                    <a:pt x="1254" y="2690"/>
                  </a:cubicBezTo>
                  <a:cubicBezTo>
                    <a:pt x="1256" y="2675"/>
                    <a:pt x="1274" y="2664"/>
                    <a:pt x="1295" y="2665"/>
                  </a:cubicBezTo>
                  <a:cubicBezTo>
                    <a:pt x="1316" y="2666"/>
                    <a:pt x="1332" y="2679"/>
                    <a:pt x="1330" y="2694"/>
                  </a:cubicBezTo>
                  <a:close/>
                  <a:moveTo>
                    <a:pt x="1242" y="2641"/>
                  </a:moveTo>
                  <a:cubicBezTo>
                    <a:pt x="1221" y="2640"/>
                    <a:pt x="1205" y="2627"/>
                    <a:pt x="1207" y="2612"/>
                  </a:cubicBezTo>
                  <a:cubicBezTo>
                    <a:pt x="1210" y="2597"/>
                    <a:pt x="1228" y="2585"/>
                    <a:pt x="1249" y="2586"/>
                  </a:cubicBezTo>
                  <a:cubicBezTo>
                    <a:pt x="1270" y="2587"/>
                    <a:pt x="1285" y="2601"/>
                    <a:pt x="1283" y="2616"/>
                  </a:cubicBezTo>
                  <a:cubicBezTo>
                    <a:pt x="1281" y="2631"/>
                    <a:pt x="1262" y="2642"/>
                    <a:pt x="1242" y="2641"/>
                  </a:cubicBezTo>
                  <a:close/>
                  <a:moveTo>
                    <a:pt x="1210" y="2688"/>
                  </a:moveTo>
                  <a:cubicBezTo>
                    <a:pt x="1208" y="2703"/>
                    <a:pt x="1189" y="2715"/>
                    <a:pt x="1168" y="2714"/>
                  </a:cubicBezTo>
                  <a:cubicBezTo>
                    <a:pt x="1147" y="2713"/>
                    <a:pt x="1132" y="2699"/>
                    <a:pt x="1134" y="2684"/>
                  </a:cubicBezTo>
                  <a:cubicBezTo>
                    <a:pt x="1136" y="2669"/>
                    <a:pt x="1155" y="2658"/>
                    <a:pt x="1176" y="2659"/>
                  </a:cubicBezTo>
                  <a:cubicBezTo>
                    <a:pt x="1197" y="2660"/>
                    <a:pt x="1212" y="2673"/>
                    <a:pt x="1210" y="2688"/>
                  </a:cubicBezTo>
                  <a:close/>
                  <a:moveTo>
                    <a:pt x="1123" y="2635"/>
                  </a:moveTo>
                  <a:cubicBezTo>
                    <a:pt x="1102" y="2634"/>
                    <a:pt x="1087" y="2621"/>
                    <a:pt x="1089" y="2605"/>
                  </a:cubicBezTo>
                  <a:cubicBezTo>
                    <a:pt x="1091" y="2590"/>
                    <a:pt x="1110" y="2579"/>
                    <a:pt x="1131" y="2580"/>
                  </a:cubicBezTo>
                  <a:cubicBezTo>
                    <a:pt x="1152" y="2581"/>
                    <a:pt x="1167" y="2594"/>
                    <a:pt x="1165" y="2610"/>
                  </a:cubicBezTo>
                  <a:cubicBezTo>
                    <a:pt x="1162" y="2625"/>
                    <a:pt x="1144" y="2636"/>
                    <a:pt x="1123" y="2635"/>
                  </a:cubicBezTo>
                  <a:close/>
                  <a:moveTo>
                    <a:pt x="1091" y="2682"/>
                  </a:moveTo>
                  <a:cubicBezTo>
                    <a:pt x="1088" y="2697"/>
                    <a:pt x="1069" y="2708"/>
                    <a:pt x="1048" y="2707"/>
                  </a:cubicBezTo>
                  <a:cubicBezTo>
                    <a:pt x="1027" y="2706"/>
                    <a:pt x="1012" y="2692"/>
                    <a:pt x="1014" y="2677"/>
                  </a:cubicBezTo>
                  <a:cubicBezTo>
                    <a:pt x="1017" y="2662"/>
                    <a:pt x="1036" y="2651"/>
                    <a:pt x="1057" y="2652"/>
                  </a:cubicBezTo>
                  <a:cubicBezTo>
                    <a:pt x="1078" y="2653"/>
                    <a:pt x="1093" y="2667"/>
                    <a:pt x="1091" y="2682"/>
                  </a:cubicBezTo>
                  <a:close/>
                  <a:moveTo>
                    <a:pt x="1004" y="2628"/>
                  </a:moveTo>
                  <a:cubicBezTo>
                    <a:pt x="983" y="2627"/>
                    <a:pt x="968" y="2613"/>
                    <a:pt x="971" y="2598"/>
                  </a:cubicBezTo>
                  <a:cubicBezTo>
                    <a:pt x="973" y="2583"/>
                    <a:pt x="992" y="2572"/>
                    <a:pt x="1013" y="2573"/>
                  </a:cubicBezTo>
                  <a:cubicBezTo>
                    <a:pt x="1034" y="2574"/>
                    <a:pt x="1049" y="2588"/>
                    <a:pt x="1046" y="2603"/>
                  </a:cubicBezTo>
                  <a:cubicBezTo>
                    <a:pt x="1044" y="2618"/>
                    <a:pt x="1025" y="2629"/>
                    <a:pt x="1004" y="2628"/>
                  </a:cubicBezTo>
                  <a:close/>
                  <a:moveTo>
                    <a:pt x="971" y="2674"/>
                  </a:moveTo>
                  <a:cubicBezTo>
                    <a:pt x="969" y="2690"/>
                    <a:pt x="949" y="2701"/>
                    <a:pt x="928" y="2699"/>
                  </a:cubicBezTo>
                  <a:cubicBezTo>
                    <a:pt x="907" y="2698"/>
                    <a:pt x="892" y="2684"/>
                    <a:pt x="895" y="2669"/>
                  </a:cubicBezTo>
                  <a:cubicBezTo>
                    <a:pt x="898" y="2654"/>
                    <a:pt x="917" y="2643"/>
                    <a:pt x="938" y="2644"/>
                  </a:cubicBezTo>
                  <a:cubicBezTo>
                    <a:pt x="959" y="2646"/>
                    <a:pt x="974" y="2659"/>
                    <a:pt x="971" y="2674"/>
                  </a:cubicBezTo>
                  <a:close/>
                  <a:moveTo>
                    <a:pt x="885" y="2620"/>
                  </a:moveTo>
                  <a:cubicBezTo>
                    <a:pt x="864" y="2618"/>
                    <a:pt x="849" y="2605"/>
                    <a:pt x="852" y="2590"/>
                  </a:cubicBezTo>
                  <a:cubicBezTo>
                    <a:pt x="855" y="2575"/>
                    <a:pt x="874" y="2563"/>
                    <a:pt x="895" y="2565"/>
                  </a:cubicBezTo>
                  <a:cubicBezTo>
                    <a:pt x="916" y="2566"/>
                    <a:pt x="931" y="2580"/>
                    <a:pt x="928" y="2595"/>
                  </a:cubicBezTo>
                  <a:cubicBezTo>
                    <a:pt x="925" y="2610"/>
                    <a:pt x="906" y="2621"/>
                    <a:pt x="885" y="2620"/>
                  </a:cubicBezTo>
                  <a:close/>
                  <a:moveTo>
                    <a:pt x="837" y="2537"/>
                  </a:moveTo>
                  <a:cubicBezTo>
                    <a:pt x="817" y="2536"/>
                    <a:pt x="802" y="2522"/>
                    <a:pt x="805" y="2507"/>
                  </a:cubicBezTo>
                  <a:cubicBezTo>
                    <a:pt x="808" y="2492"/>
                    <a:pt x="827" y="2481"/>
                    <a:pt x="848" y="2482"/>
                  </a:cubicBezTo>
                  <a:cubicBezTo>
                    <a:pt x="868" y="2484"/>
                    <a:pt x="883" y="2497"/>
                    <a:pt x="880" y="2512"/>
                  </a:cubicBezTo>
                  <a:cubicBezTo>
                    <a:pt x="877" y="2528"/>
                    <a:pt x="858" y="2539"/>
                    <a:pt x="837" y="2537"/>
                  </a:cubicBezTo>
                  <a:close/>
                  <a:moveTo>
                    <a:pt x="852" y="2666"/>
                  </a:moveTo>
                  <a:cubicBezTo>
                    <a:pt x="849" y="2681"/>
                    <a:pt x="829" y="2692"/>
                    <a:pt x="808" y="2691"/>
                  </a:cubicBezTo>
                  <a:cubicBezTo>
                    <a:pt x="787" y="2689"/>
                    <a:pt x="772" y="2676"/>
                    <a:pt x="775" y="2661"/>
                  </a:cubicBezTo>
                  <a:cubicBezTo>
                    <a:pt x="778" y="2645"/>
                    <a:pt x="798" y="2634"/>
                    <a:pt x="819" y="2636"/>
                  </a:cubicBezTo>
                  <a:cubicBezTo>
                    <a:pt x="840" y="2638"/>
                    <a:pt x="854" y="2651"/>
                    <a:pt x="852" y="2666"/>
                  </a:cubicBezTo>
                  <a:close/>
                  <a:moveTo>
                    <a:pt x="766" y="2611"/>
                  </a:moveTo>
                  <a:cubicBezTo>
                    <a:pt x="745" y="2609"/>
                    <a:pt x="731" y="2596"/>
                    <a:pt x="734" y="2581"/>
                  </a:cubicBezTo>
                  <a:cubicBezTo>
                    <a:pt x="737" y="2565"/>
                    <a:pt x="756" y="2555"/>
                    <a:pt x="777" y="2556"/>
                  </a:cubicBezTo>
                  <a:cubicBezTo>
                    <a:pt x="798" y="2558"/>
                    <a:pt x="812" y="2571"/>
                    <a:pt x="810" y="2586"/>
                  </a:cubicBezTo>
                  <a:cubicBezTo>
                    <a:pt x="807" y="2602"/>
                    <a:pt x="787" y="2613"/>
                    <a:pt x="766" y="2611"/>
                  </a:cubicBezTo>
                  <a:close/>
                  <a:moveTo>
                    <a:pt x="720" y="2528"/>
                  </a:moveTo>
                  <a:cubicBezTo>
                    <a:pt x="699" y="2526"/>
                    <a:pt x="685" y="2512"/>
                    <a:pt x="688" y="2497"/>
                  </a:cubicBezTo>
                  <a:cubicBezTo>
                    <a:pt x="691" y="2482"/>
                    <a:pt x="711" y="2471"/>
                    <a:pt x="731" y="2473"/>
                  </a:cubicBezTo>
                  <a:cubicBezTo>
                    <a:pt x="752" y="2475"/>
                    <a:pt x="766" y="2488"/>
                    <a:pt x="763" y="2503"/>
                  </a:cubicBezTo>
                  <a:cubicBezTo>
                    <a:pt x="760" y="2519"/>
                    <a:pt x="741" y="2530"/>
                    <a:pt x="720" y="2528"/>
                  </a:cubicBezTo>
                  <a:close/>
                  <a:moveTo>
                    <a:pt x="691" y="2577"/>
                  </a:moveTo>
                  <a:cubicBezTo>
                    <a:pt x="688" y="2592"/>
                    <a:pt x="669" y="2603"/>
                    <a:pt x="648" y="2601"/>
                  </a:cubicBezTo>
                  <a:cubicBezTo>
                    <a:pt x="627" y="2600"/>
                    <a:pt x="612" y="2586"/>
                    <a:pt x="616" y="2571"/>
                  </a:cubicBezTo>
                  <a:cubicBezTo>
                    <a:pt x="619" y="2555"/>
                    <a:pt x="639" y="2545"/>
                    <a:pt x="659" y="2546"/>
                  </a:cubicBezTo>
                  <a:cubicBezTo>
                    <a:pt x="680" y="2548"/>
                    <a:pt x="694" y="2562"/>
                    <a:pt x="691" y="2577"/>
                  </a:cubicBezTo>
                  <a:close/>
                  <a:moveTo>
                    <a:pt x="602" y="2518"/>
                  </a:moveTo>
                  <a:cubicBezTo>
                    <a:pt x="582" y="2516"/>
                    <a:pt x="568" y="2502"/>
                    <a:pt x="571" y="2487"/>
                  </a:cubicBezTo>
                  <a:cubicBezTo>
                    <a:pt x="574" y="2472"/>
                    <a:pt x="594" y="2461"/>
                    <a:pt x="614" y="2463"/>
                  </a:cubicBezTo>
                  <a:cubicBezTo>
                    <a:pt x="635" y="2465"/>
                    <a:pt x="649" y="2478"/>
                    <a:pt x="646" y="2494"/>
                  </a:cubicBezTo>
                  <a:cubicBezTo>
                    <a:pt x="643" y="2509"/>
                    <a:pt x="623" y="2520"/>
                    <a:pt x="602" y="2518"/>
                  </a:cubicBezTo>
                  <a:close/>
                  <a:moveTo>
                    <a:pt x="573" y="2567"/>
                  </a:moveTo>
                  <a:cubicBezTo>
                    <a:pt x="570" y="2582"/>
                    <a:pt x="550" y="2593"/>
                    <a:pt x="529" y="2591"/>
                  </a:cubicBezTo>
                  <a:cubicBezTo>
                    <a:pt x="508" y="2589"/>
                    <a:pt x="494" y="2575"/>
                    <a:pt x="498" y="2560"/>
                  </a:cubicBezTo>
                  <a:cubicBezTo>
                    <a:pt x="501" y="2545"/>
                    <a:pt x="521" y="2534"/>
                    <a:pt x="541" y="2536"/>
                  </a:cubicBezTo>
                  <a:cubicBezTo>
                    <a:pt x="562" y="2538"/>
                    <a:pt x="576" y="2552"/>
                    <a:pt x="573" y="2567"/>
                  </a:cubicBezTo>
                  <a:close/>
                  <a:moveTo>
                    <a:pt x="485" y="2507"/>
                  </a:moveTo>
                  <a:cubicBezTo>
                    <a:pt x="464" y="2505"/>
                    <a:pt x="450" y="2491"/>
                    <a:pt x="454" y="2476"/>
                  </a:cubicBezTo>
                  <a:cubicBezTo>
                    <a:pt x="458" y="2461"/>
                    <a:pt x="477" y="2450"/>
                    <a:pt x="498" y="2452"/>
                  </a:cubicBezTo>
                  <a:cubicBezTo>
                    <a:pt x="518" y="2454"/>
                    <a:pt x="532" y="2468"/>
                    <a:pt x="529" y="2483"/>
                  </a:cubicBezTo>
                  <a:cubicBezTo>
                    <a:pt x="525" y="2498"/>
                    <a:pt x="506" y="2509"/>
                    <a:pt x="485" y="2507"/>
                  </a:cubicBezTo>
                  <a:close/>
                  <a:moveTo>
                    <a:pt x="455" y="2556"/>
                  </a:moveTo>
                  <a:cubicBezTo>
                    <a:pt x="451" y="2571"/>
                    <a:pt x="431" y="2581"/>
                    <a:pt x="410" y="2579"/>
                  </a:cubicBezTo>
                  <a:cubicBezTo>
                    <a:pt x="389" y="2577"/>
                    <a:pt x="376" y="2563"/>
                    <a:pt x="379" y="2548"/>
                  </a:cubicBezTo>
                  <a:cubicBezTo>
                    <a:pt x="383" y="2533"/>
                    <a:pt x="403" y="2523"/>
                    <a:pt x="424" y="2525"/>
                  </a:cubicBezTo>
                  <a:cubicBezTo>
                    <a:pt x="444" y="2527"/>
                    <a:pt x="458" y="2541"/>
                    <a:pt x="455" y="2556"/>
                  </a:cubicBezTo>
                  <a:close/>
                  <a:moveTo>
                    <a:pt x="418" y="2709"/>
                  </a:moveTo>
                  <a:cubicBezTo>
                    <a:pt x="415" y="2724"/>
                    <a:pt x="394" y="2735"/>
                    <a:pt x="373" y="2733"/>
                  </a:cubicBezTo>
                  <a:cubicBezTo>
                    <a:pt x="352" y="2731"/>
                    <a:pt x="338" y="2717"/>
                    <a:pt x="341" y="2702"/>
                  </a:cubicBezTo>
                  <a:cubicBezTo>
                    <a:pt x="345" y="2687"/>
                    <a:pt x="365" y="2676"/>
                    <a:pt x="386" y="2678"/>
                  </a:cubicBezTo>
                  <a:cubicBezTo>
                    <a:pt x="408" y="2680"/>
                    <a:pt x="422" y="2694"/>
                    <a:pt x="418" y="2709"/>
                  </a:cubicBezTo>
                  <a:close/>
                  <a:moveTo>
                    <a:pt x="329" y="2648"/>
                  </a:moveTo>
                  <a:cubicBezTo>
                    <a:pt x="308" y="2646"/>
                    <a:pt x="294" y="2632"/>
                    <a:pt x="298" y="2617"/>
                  </a:cubicBezTo>
                  <a:cubicBezTo>
                    <a:pt x="302" y="2602"/>
                    <a:pt x="322" y="2591"/>
                    <a:pt x="343" y="2594"/>
                  </a:cubicBezTo>
                  <a:cubicBezTo>
                    <a:pt x="364" y="2596"/>
                    <a:pt x="378" y="2610"/>
                    <a:pt x="374" y="2625"/>
                  </a:cubicBezTo>
                  <a:cubicBezTo>
                    <a:pt x="370" y="2640"/>
                    <a:pt x="350" y="2651"/>
                    <a:pt x="329" y="2648"/>
                  </a:cubicBezTo>
                  <a:close/>
                  <a:moveTo>
                    <a:pt x="298" y="2697"/>
                  </a:moveTo>
                  <a:cubicBezTo>
                    <a:pt x="294" y="2712"/>
                    <a:pt x="274" y="2723"/>
                    <a:pt x="252" y="2721"/>
                  </a:cubicBezTo>
                  <a:cubicBezTo>
                    <a:pt x="231" y="2718"/>
                    <a:pt x="217" y="2704"/>
                    <a:pt x="221" y="2689"/>
                  </a:cubicBezTo>
                  <a:cubicBezTo>
                    <a:pt x="225" y="2674"/>
                    <a:pt x="245" y="2664"/>
                    <a:pt x="266" y="2666"/>
                  </a:cubicBezTo>
                  <a:cubicBezTo>
                    <a:pt x="288" y="2668"/>
                    <a:pt x="302" y="2682"/>
                    <a:pt x="298" y="2697"/>
                  </a:cubicBezTo>
                  <a:close/>
                  <a:moveTo>
                    <a:pt x="261" y="2536"/>
                  </a:moveTo>
                  <a:cubicBezTo>
                    <a:pt x="265" y="2521"/>
                    <a:pt x="285" y="2510"/>
                    <a:pt x="306" y="2512"/>
                  </a:cubicBezTo>
                  <a:cubicBezTo>
                    <a:pt x="327" y="2515"/>
                    <a:pt x="340" y="2529"/>
                    <a:pt x="337" y="2544"/>
                  </a:cubicBezTo>
                  <a:cubicBezTo>
                    <a:pt x="333" y="2559"/>
                    <a:pt x="313" y="2569"/>
                    <a:pt x="292" y="2567"/>
                  </a:cubicBezTo>
                  <a:cubicBezTo>
                    <a:pt x="271" y="2565"/>
                    <a:pt x="257" y="2551"/>
                    <a:pt x="261" y="2536"/>
                  </a:cubicBezTo>
                  <a:close/>
                  <a:moveTo>
                    <a:pt x="302" y="2382"/>
                  </a:moveTo>
                  <a:cubicBezTo>
                    <a:pt x="306" y="2367"/>
                    <a:pt x="325" y="2357"/>
                    <a:pt x="346" y="2359"/>
                  </a:cubicBezTo>
                  <a:cubicBezTo>
                    <a:pt x="366" y="2361"/>
                    <a:pt x="379" y="2375"/>
                    <a:pt x="376" y="2390"/>
                  </a:cubicBezTo>
                  <a:cubicBezTo>
                    <a:pt x="372" y="2405"/>
                    <a:pt x="352" y="2416"/>
                    <a:pt x="332" y="2414"/>
                  </a:cubicBezTo>
                  <a:cubicBezTo>
                    <a:pt x="311" y="2412"/>
                    <a:pt x="298" y="2397"/>
                    <a:pt x="302" y="2382"/>
                  </a:cubicBezTo>
                  <a:close/>
                  <a:moveTo>
                    <a:pt x="291" y="2329"/>
                  </a:moveTo>
                  <a:cubicBezTo>
                    <a:pt x="271" y="2327"/>
                    <a:pt x="258" y="2313"/>
                    <a:pt x="262" y="2298"/>
                  </a:cubicBezTo>
                  <a:cubicBezTo>
                    <a:pt x="266" y="2282"/>
                    <a:pt x="286" y="2272"/>
                    <a:pt x="306" y="2274"/>
                  </a:cubicBezTo>
                  <a:cubicBezTo>
                    <a:pt x="326" y="2277"/>
                    <a:pt x="339" y="2291"/>
                    <a:pt x="335" y="2306"/>
                  </a:cubicBezTo>
                  <a:cubicBezTo>
                    <a:pt x="331" y="2321"/>
                    <a:pt x="311" y="2331"/>
                    <a:pt x="291" y="2329"/>
                  </a:cubicBezTo>
                  <a:close/>
                  <a:moveTo>
                    <a:pt x="257" y="2248"/>
                  </a:moveTo>
                  <a:cubicBezTo>
                    <a:pt x="237" y="2245"/>
                    <a:pt x="225" y="2231"/>
                    <a:pt x="229" y="2216"/>
                  </a:cubicBezTo>
                  <a:cubicBezTo>
                    <a:pt x="233" y="2201"/>
                    <a:pt x="252" y="2191"/>
                    <a:pt x="272" y="2193"/>
                  </a:cubicBezTo>
                  <a:cubicBezTo>
                    <a:pt x="292" y="2195"/>
                    <a:pt x="305" y="2209"/>
                    <a:pt x="301" y="2224"/>
                  </a:cubicBezTo>
                  <a:cubicBezTo>
                    <a:pt x="297" y="2240"/>
                    <a:pt x="277" y="2250"/>
                    <a:pt x="257" y="2248"/>
                  </a:cubicBezTo>
                  <a:close/>
                  <a:moveTo>
                    <a:pt x="263" y="2009"/>
                  </a:moveTo>
                  <a:cubicBezTo>
                    <a:pt x="243" y="2007"/>
                    <a:pt x="231" y="1993"/>
                    <a:pt x="235" y="1978"/>
                  </a:cubicBezTo>
                  <a:cubicBezTo>
                    <a:pt x="240" y="1963"/>
                    <a:pt x="259" y="1952"/>
                    <a:pt x="278" y="1955"/>
                  </a:cubicBezTo>
                  <a:cubicBezTo>
                    <a:pt x="297" y="1957"/>
                    <a:pt x="310" y="1971"/>
                    <a:pt x="306" y="1986"/>
                  </a:cubicBezTo>
                  <a:cubicBezTo>
                    <a:pt x="301" y="2001"/>
                    <a:pt x="282" y="2012"/>
                    <a:pt x="263" y="2009"/>
                  </a:cubicBezTo>
                  <a:close/>
                  <a:moveTo>
                    <a:pt x="232" y="1928"/>
                  </a:moveTo>
                  <a:cubicBezTo>
                    <a:pt x="213" y="1925"/>
                    <a:pt x="201" y="1911"/>
                    <a:pt x="206" y="1896"/>
                  </a:cubicBezTo>
                  <a:cubicBezTo>
                    <a:pt x="210" y="1881"/>
                    <a:pt x="229" y="1871"/>
                    <a:pt x="248" y="1873"/>
                  </a:cubicBezTo>
                  <a:cubicBezTo>
                    <a:pt x="267" y="1876"/>
                    <a:pt x="279" y="1890"/>
                    <a:pt x="275" y="1905"/>
                  </a:cubicBezTo>
                  <a:cubicBezTo>
                    <a:pt x="271" y="1920"/>
                    <a:pt x="252" y="1930"/>
                    <a:pt x="232" y="1928"/>
                  </a:cubicBezTo>
                  <a:close/>
                  <a:moveTo>
                    <a:pt x="244" y="1690"/>
                  </a:moveTo>
                  <a:cubicBezTo>
                    <a:pt x="225" y="1687"/>
                    <a:pt x="214" y="1673"/>
                    <a:pt x="219" y="1658"/>
                  </a:cubicBezTo>
                  <a:cubicBezTo>
                    <a:pt x="223" y="1643"/>
                    <a:pt x="242" y="1633"/>
                    <a:pt x="260" y="1635"/>
                  </a:cubicBezTo>
                  <a:cubicBezTo>
                    <a:pt x="279" y="1637"/>
                    <a:pt x="290" y="1652"/>
                    <a:pt x="286" y="1667"/>
                  </a:cubicBezTo>
                  <a:cubicBezTo>
                    <a:pt x="281" y="1682"/>
                    <a:pt x="262" y="1692"/>
                    <a:pt x="244" y="1690"/>
                  </a:cubicBezTo>
                  <a:close/>
                  <a:moveTo>
                    <a:pt x="240" y="1423"/>
                  </a:moveTo>
                  <a:cubicBezTo>
                    <a:pt x="244" y="1408"/>
                    <a:pt x="263" y="1398"/>
                    <a:pt x="280" y="1400"/>
                  </a:cubicBezTo>
                  <a:cubicBezTo>
                    <a:pt x="298" y="1403"/>
                    <a:pt x="309" y="1417"/>
                    <a:pt x="304" y="1432"/>
                  </a:cubicBezTo>
                  <a:cubicBezTo>
                    <a:pt x="300" y="1447"/>
                    <a:pt x="282" y="1457"/>
                    <a:pt x="264" y="1455"/>
                  </a:cubicBezTo>
                  <a:cubicBezTo>
                    <a:pt x="246" y="1452"/>
                    <a:pt x="235" y="1438"/>
                    <a:pt x="240" y="1423"/>
                  </a:cubicBezTo>
                  <a:close/>
                  <a:moveTo>
                    <a:pt x="308" y="1032"/>
                  </a:moveTo>
                  <a:cubicBezTo>
                    <a:pt x="313" y="1017"/>
                    <a:pt x="331" y="1007"/>
                    <a:pt x="348" y="1009"/>
                  </a:cubicBezTo>
                  <a:cubicBezTo>
                    <a:pt x="364" y="1012"/>
                    <a:pt x="374" y="1026"/>
                    <a:pt x="369" y="1041"/>
                  </a:cubicBezTo>
                  <a:cubicBezTo>
                    <a:pt x="365" y="1056"/>
                    <a:pt x="347" y="1066"/>
                    <a:pt x="330" y="1064"/>
                  </a:cubicBezTo>
                  <a:cubicBezTo>
                    <a:pt x="313" y="1062"/>
                    <a:pt x="304" y="1047"/>
                    <a:pt x="308" y="1032"/>
                  </a:cubicBezTo>
                  <a:close/>
                  <a:moveTo>
                    <a:pt x="374" y="1094"/>
                  </a:moveTo>
                  <a:cubicBezTo>
                    <a:pt x="391" y="1097"/>
                    <a:pt x="401" y="1111"/>
                    <a:pt x="396" y="1126"/>
                  </a:cubicBezTo>
                  <a:cubicBezTo>
                    <a:pt x="392" y="1141"/>
                    <a:pt x="374" y="1151"/>
                    <a:pt x="357" y="1149"/>
                  </a:cubicBezTo>
                  <a:cubicBezTo>
                    <a:pt x="340" y="1147"/>
                    <a:pt x="330" y="1132"/>
                    <a:pt x="335" y="1117"/>
                  </a:cubicBezTo>
                  <a:cubicBezTo>
                    <a:pt x="339" y="1102"/>
                    <a:pt x="357" y="1092"/>
                    <a:pt x="374" y="1094"/>
                  </a:cubicBezTo>
                  <a:close/>
                  <a:moveTo>
                    <a:pt x="420" y="1207"/>
                  </a:moveTo>
                  <a:cubicBezTo>
                    <a:pt x="416" y="1223"/>
                    <a:pt x="398" y="1233"/>
                    <a:pt x="381" y="1231"/>
                  </a:cubicBezTo>
                  <a:cubicBezTo>
                    <a:pt x="363" y="1228"/>
                    <a:pt x="353" y="1214"/>
                    <a:pt x="358" y="1199"/>
                  </a:cubicBezTo>
                  <a:cubicBezTo>
                    <a:pt x="362" y="1184"/>
                    <a:pt x="380" y="1174"/>
                    <a:pt x="397" y="1176"/>
                  </a:cubicBezTo>
                  <a:cubicBezTo>
                    <a:pt x="414" y="1178"/>
                    <a:pt x="425" y="1192"/>
                    <a:pt x="420" y="1207"/>
                  </a:cubicBezTo>
                  <a:close/>
                  <a:moveTo>
                    <a:pt x="404" y="1046"/>
                  </a:moveTo>
                  <a:cubicBezTo>
                    <a:pt x="409" y="1031"/>
                    <a:pt x="426" y="1021"/>
                    <a:pt x="443" y="1023"/>
                  </a:cubicBezTo>
                  <a:cubicBezTo>
                    <a:pt x="459" y="1025"/>
                    <a:pt x="469" y="1039"/>
                    <a:pt x="465" y="1054"/>
                  </a:cubicBezTo>
                  <a:cubicBezTo>
                    <a:pt x="461" y="1069"/>
                    <a:pt x="443" y="1080"/>
                    <a:pt x="426" y="1078"/>
                  </a:cubicBezTo>
                  <a:cubicBezTo>
                    <a:pt x="409" y="1075"/>
                    <a:pt x="399" y="1061"/>
                    <a:pt x="404" y="1046"/>
                  </a:cubicBezTo>
                  <a:close/>
                  <a:moveTo>
                    <a:pt x="470" y="1108"/>
                  </a:moveTo>
                  <a:cubicBezTo>
                    <a:pt x="487" y="1110"/>
                    <a:pt x="497" y="1124"/>
                    <a:pt x="493" y="1139"/>
                  </a:cubicBezTo>
                  <a:cubicBezTo>
                    <a:pt x="489" y="1154"/>
                    <a:pt x="471" y="1165"/>
                    <a:pt x="454" y="1162"/>
                  </a:cubicBezTo>
                  <a:cubicBezTo>
                    <a:pt x="437" y="1160"/>
                    <a:pt x="427" y="1146"/>
                    <a:pt x="431" y="1131"/>
                  </a:cubicBezTo>
                  <a:cubicBezTo>
                    <a:pt x="436" y="1116"/>
                    <a:pt x="453" y="1105"/>
                    <a:pt x="470" y="1108"/>
                  </a:cubicBezTo>
                  <a:close/>
                  <a:moveTo>
                    <a:pt x="476" y="978"/>
                  </a:moveTo>
                  <a:cubicBezTo>
                    <a:pt x="481" y="963"/>
                    <a:pt x="498" y="952"/>
                    <a:pt x="514" y="955"/>
                  </a:cubicBezTo>
                  <a:cubicBezTo>
                    <a:pt x="531" y="957"/>
                    <a:pt x="541" y="971"/>
                    <a:pt x="537" y="986"/>
                  </a:cubicBezTo>
                  <a:cubicBezTo>
                    <a:pt x="532" y="1001"/>
                    <a:pt x="515" y="1011"/>
                    <a:pt x="499" y="1009"/>
                  </a:cubicBezTo>
                  <a:cubicBezTo>
                    <a:pt x="482" y="1007"/>
                    <a:pt x="472" y="993"/>
                    <a:pt x="476" y="978"/>
                  </a:cubicBezTo>
                  <a:close/>
                  <a:moveTo>
                    <a:pt x="538" y="1036"/>
                  </a:moveTo>
                  <a:cubicBezTo>
                    <a:pt x="555" y="1038"/>
                    <a:pt x="565" y="1052"/>
                    <a:pt x="561" y="1067"/>
                  </a:cubicBezTo>
                  <a:cubicBezTo>
                    <a:pt x="556" y="1082"/>
                    <a:pt x="539" y="1093"/>
                    <a:pt x="522" y="1090"/>
                  </a:cubicBezTo>
                  <a:cubicBezTo>
                    <a:pt x="505" y="1088"/>
                    <a:pt x="495" y="1074"/>
                    <a:pt x="500" y="1059"/>
                  </a:cubicBezTo>
                  <a:cubicBezTo>
                    <a:pt x="504" y="1044"/>
                    <a:pt x="521" y="1034"/>
                    <a:pt x="538" y="1036"/>
                  </a:cubicBezTo>
                  <a:close/>
                  <a:moveTo>
                    <a:pt x="566" y="1120"/>
                  </a:moveTo>
                  <a:cubicBezTo>
                    <a:pt x="583" y="1122"/>
                    <a:pt x="594" y="1136"/>
                    <a:pt x="590" y="1151"/>
                  </a:cubicBezTo>
                  <a:cubicBezTo>
                    <a:pt x="586" y="1166"/>
                    <a:pt x="569" y="1177"/>
                    <a:pt x="551" y="1175"/>
                  </a:cubicBezTo>
                  <a:cubicBezTo>
                    <a:pt x="534" y="1173"/>
                    <a:pt x="524" y="1159"/>
                    <a:pt x="528" y="1144"/>
                  </a:cubicBezTo>
                  <a:cubicBezTo>
                    <a:pt x="532" y="1128"/>
                    <a:pt x="549" y="1118"/>
                    <a:pt x="566" y="1120"/>
                  </a:cubicBezTo>
                  <a:close/>
                  <a:moveTo>
                    <a:pt x="571" y="990"/>
                  </a:moveTo>
                  <a:cubicBezTo>
                    <a:pt x="575" y="975"/>
                    <a:pt x="592" y="965"/>
                    <a:pt x="608" y="967"/>
                  </a:cubicBezTo>
                  <a:cubicBezTo>
                    <a:pt x="625" y="969"/>
                    <a:pt x="635" y="983"/>
                    <a:pt x="631" y="998"/>
                  </a:cubicBezTo>
                  <a:cubicBezTo>
                    <a:pt x="627" y="1013"/>
                    <a:pt x="610" y="1024"/>
                    <a:pt x="593" y="1022"/>
                  </a:cubicBezTo>
                  <a:cubicBezTo>
                    <a:pt x="577" y="1019"/>
                    <a:pt x="567" y="1005"/>
                    <a:pt x="571" y="990"/>
                  </a:cubicBezTo>
                  <a:close/>
                  <a:moveTo>
                    <a:pt x="633" y="1048"/>
                  </a:moveTo>
                  <a:cubicBezTo>
                    <a:pt x="650" y="1050"/>
                    <a:pt x="660" y="1064"/>
                    <a:pt x="656" y="1079"/>
                  </a:cubicBezTo>
                  <a:cubicBezTo>
                    <a:pt x="652" y="1094"/>
                    <a:pt x="635" y="1105"/>
                    <a:pt x="618" y="1103"/>
                  </a:cubicBezTo>
                  <a:cubicBezTo>
                    <a:pt x="601" y="1100"/>
                    <a:pt x="591" y="1087"/>
                    <a:pt x="595" y="1071"/>
                  </a:cubicBezTo>
                  <a:cubicBezTo>
                    <a:pt x="599" y="1056"/>
                    <a:pt x="616" y="1046"/>
                    <a:pt x="633" y="1048"/>
                  </a:cubicBezTo>
                  <a:close/>
                  <a:moveTo>
                    <a:pt x="663" y="1132"/>
                  </a:moveTo>
                  <a:cubicBezTo>
                    <a:pt x="680" y="1134"/>
                    <a:pt x="691" y="1148"/>
                    <a:pt x="687" y="1163"/>
                  </a:cubicBezTo>
                  <a:cubicBezTo>
                    <a:pt x="683" y="1178"/>
                    <a:pt x="666" y="1189"/>
                    <a:pt x="649" y="1187"/>
                  </a:cubicBezTo>
                  <a:cubicBezTo>
                    <a:pt x="632" y="1185"/>
                    <a:pt x="621" y="1171"/>
                    <a:pt x="625" y="1156"/>
                  </a:cubicBezTo>
                  <a:cubicBezTo>
                    <a:pt x="629" y="1141"/>
                    <a:pt x="646" y="1130"/>
                    <a:pt x="663" y="1132"/>
                  </a:cubicBezTo>
                  <a:close/>
                  <a:moveTo>
                    <a:pt x="665" y="1002"/>
                  </a:moveTo>
                  <a:cubicBezTo>
                    <a:pt x="669" y="987"/>
                    <a:pt x="686" y="977"/>
                    <a:pt x="703" y="979"/>
                  </a:cubicBezTo>
                  <a:cubicBezTo>
                    <a:pt x="719" y="981"/>
                    <a:pt x="730" y="994"/>
                    <a:pt x="726" y="1010"/>
                  </a:cubicBezTo>
                  <a:cubicBezTo>
                    <a:pt x="722" y="1025"/>
                    <a:pt x="705" y="1035"/>
                    <a:pt x="688" y="1033"/>
                  </a:cubicBezTo>
                  <a:cubicBezTo>
                    <a:pt x="672" y="1031"/>
                    <a:pt x="661" y="1017"/>
                    <a:pt x="665" y="1002"/>
                  </a:cubicBezTo>
                  <a:close/>
                  <a:moveTo>
                    <a:pt x="728" y="1059"/>
                  </a:moveTo>
                  <a:cubicBezTo>
                    <a:pt x="745" y="1061"/>
                    <a:pt x="756" y="1075"/>
                    <a:pt x="752" y="1090"/>
                  </a:cubicBezTo>
                  <a:cubicBezTo>
                    <a:pt x="748" y="1105"/>
                    <a:pt x="731" y="1116"/>
                    <a:pt x="714" y="1114"/>
                  </a:cubicBezTo>
                  <a:cubicBezTo>
                    <a:pt x="698" y="1112"/>
                    <a:pt x="687" y="1098"/>
                    <a:pt x="691" y="1083"/>
                  </a:cubicBezTo>
                  <a:cubicBezTo>
                    <a:pt x="695" y="1068"/>
                    <a:pt x="711" y="1057"/>
                    <a:pt x="728" y="1059"/>
                  </a:cubicBezTo>
                  <a:close/>
                  <a:moveTo>
                    <a:pt x="759" y="1143"/>
                  </a:moveTo>
                  <a:cubicBezTo>
                    <a:pt x="776" y="1145"/>
                    <a:pt x="787" y="1159"/>
                    <a:pt x="784" y="1174"/>
                  </a:cubicBezTo>
                  <a:cubicBezTo>
                    <a:pt x="780" y="1189"/>
                    <a:pt x="763" y="1200"/>
                    <a:pt x="746" y="1198"/>
                  </a:cubicBezTo>
                  <a:cubicBezTo>
                    <a:pt x="729" y="1196"/>
                    <a:pt x="718" y="1182"/>
                    <a:pt x="722" y="1167"/>
                  </a:cubicBezTo>
                  <a:cubicBezTo>
                    <a:pt x="726" y="1152"/>
                    <a:pt x="742" y="1141"/>
                    <a:pt x="759" y="1143"/>
                  </a:cubicBezTo>
                  <a:close/>
                  <a:moveTo>
                    <a:pt x="760" y="1014"/>
                  </a:moveTo>
                  <a:cubicBezTo>
                    <a:pt x="764" y="998"/>
                    <a:pt x="780" y="988"/>
                    <a:pt x="797" y="990"/>
                  </a:cubicBezTo>
                  <a:cubicBezTo>
                    <a:pt x="813" y="992"/>
                    <a:pt x="824" y="1005"/>
                    <a:pt x="820" y="1020"/>
                  </a:cubicBezTo>
                  <a:cubicBezTo>
                    <a:pt x="817" y="1036"/>
                    <a:pt x="800" y="1046"/>
                    <a:pt x="783" y="1044"/>
                  </a:cubicBezTo>
                  <a:cubicBezTo>
                    <a:pt x="767" y="1043"/>
                    <a:pt x="756" y="1029"/>
                    <a:pt x="760" y="1014"/>
                  </a:cubicBezTo>
                  <a:close/>
                  <a:moveTo>
                    <a:pt x="824" y="1070"/>
                  </a:moveTo>
                  <a:cubicBezTo>
                    <a:pt x="840" y="1072"/>
                    <a:pt x="851" y="1086"/>
                    <a:pt x="848" y="1101"/>
                  </a:cubicBezTo>
                  <a:cubicBezTo>
                    <a:pt x="844" y="1116"/>
                    <a:pt x="828" y="1127"/>
                    <a:pt x="811" y="1125"/>
                  </a:cubicBezTo>
                  <a:cubicBezTo>
                    <a:pt x="794" y="1123"/>
                    <a:pt x="783" y="1109"/>
                    <a:pt x="787" y="1094"/>
                  </a:cubicBezTo>
                  <a:cubicBezTo>
                    <a:pt x="790" y="1079"/>
                    <a:pt x="807" y="1068"/>
                    <a:pt x="824" y="1070"/>
                  </a:cubicBezTo>
                  <a:close/>
                  <a:moveTo>
                    <a:pt x="856" y="1154"/>
                  </a:moveTo>
                  <a:cubicBezTo>
                    <a:pt x="873" y="1155"/>
                    <a:pt x="884" y="1169"/>
                    <a:pt x="881" y="1184"/>
                  </a:cubicBezTo>
                  <a:cubicBezTo>
                    <a:pt x="877" y="1199"/>
                    <a:pt x="861" y="1210"/>
                    <a:pt x="844" y="1208"/>
                  </a:cubicBezTo>
                  <a:cubicBezTo>
                    <a:pt x="826" y="1207"/>
                    <a:pt x="815" y="1193"/>
                    <a:pt x="819" y="1178"/>
                  </a:cubicBezTo>
                  <a:cubicBezTo>
                    <a:pt x="822" y="1163"/>
                    <a:pt x="839" y="1152"/>
                    <a:pt x="856" y="1154"/>
                  </a:cubicBezTo>
                  <a:close/>
                  <a:moveTo>
                    <a:pt x="854" y="1024"/>
                  </a:moveTo>
                  <a:cubicBezTo>
                    <a:pt x="858" y="1009"/>
                    <a:pt x="874" y="998"/>
                    <a:pt x="891" y="1000"/>
                  </a:cubicBezTo>
                  <a:cubicBezTo>
                    <a:pt x="908" y="1002"/>
                    <a:pt x="918" y="1015"/>
                    <a:pt x="915" y="1031"/>
                  </a:cubicBezTo>
                  <a:cubicBezTo>
                    <a:pt x="912" y="1046"/>
                    <a:pt x="895" y="1057"/>
                    <a:pt x="878" y="1055"/>
                  </a:cubicBezTo>
                  <a:cubicBezTo>
                    <a:pt x="862" y="1053"/>
                    <a:pt x="851" y="1039"/>
                    <a:pt x="854" y="1024"/>
                  </a:cubicBezTo>
                  <a:close/>
                  <a:moveTo>
                    <a:pt x="919" y="1080"/>
                  </a:moveTo>
                  <a:cubicBezTo>
                    <a:pt x="936" y="1082"/>
                    <a:pt x="947" y="1095"/>
                    <a:pt x="944" y="1111"/>
                  </a:cubicBezTo>
                  <a:cubicBezTo>
                    <a:pt x="940" y="1126"/>
                    <a:pt x="924" y="1137"/>
                    <a:pt x="907" y="1135"/>
                  </a:cubicBezTo>
                  <a:cubicBezTo>
                    <a:pt x="890" y="1133"/>
                    <a:pt x="879" y="1120"/>
                    <a:pt x="882" y="1104"/>
                  </a:cubicBezTo>
                  <a:cubicBezTo>
                    <a:pt x="886" y="1089"/>
                    <a:pt x="902" y="1078"/>
                    <a:pt x="919" y="1080"/>
                  </a:cubicBezTo>
                  <a:close/>
                  <a:moveTo>
                    <a:pt x="953" y="1163"/>
                  </a:moveTo>
                  <a:cubicBezTo>
                    <a:pt x="970" y="1165"/>
                    <a:pt x="981" y="1179"/>
                    <a:pt x="978" y="1194"/>
                  </a:cubicBezTo>
                  <a:cubicBezTo>
                    <a:pt x="975" y="1209"/>
                    <a:pt x="958" y="1220"/>
                    <a:pt x="941" y="1218"/>
                  </a:cubicBezTo>
                  <a:cubicBezTo>
                    <a:pt x="924" y="1217"/>
                    <a:pt x="913" y="1203"/>
                    <a:pt x="916" y="1188"/>
                  </a:cubicBezTo>
                  <a:cubicBezTo>
                    <a:pt x="919" y="1173"/>
                    <a:pt x="936" y="1162"/>
                    <a:pt x="953" y="1163"/>
                  </a:cubicBezTo>
                  <a:close/>
                  <a:moveTo>
                    <a:pt x="949" y="1034"/>
                  </a:moveTo>
                  <a:cubicBezTo>
                    <a:pt x="952" y="1019"/>
                    <a:pt x="969" y="1008"/>
                    <a:pt x="985" y="1010"/>
                  </a:cubicBezTo>
                  <a:cubicBezTo>
                    <a:pt x="1002" y="1011"/>
                    <a:pt x="1013" y="1025"/>
                    <a:pt x="1010" y="1040"/>
                  </a:cubicBezTo>
                  <a:cubicBezTo>
                    <a:pt x="1006" y="1055"/>
                    <a:pt x="990" y="1066"/>
                    <a:pt x="974" y="1065"/>
                  </a:cubicBezTo>
                  <a:cubicBezTo>
                    <a:pt x="957" y="1063"/>
                    <a:pt x="946" y="1049"/>
                    <a:pt x="949" y="1034"/>
                  </a:cubicBezTo>
                  <a:close/>
                  <a:moveTo>
                    <a:pt x="1014" y="1090"/>
                  </a:moveTo>
                  <a:cubicBezTo>
                    <a:pt x="1031" y="1091"/>
                    <a:pt x="1042" y="1105"/>
                    <a:pt x="1039" y="1120"/>
                  </a:cubicBezTo>
                  <a:cubicBezTo>
                    <a:pt x="1036" y="1135"/>
                    <a:pt x="1020" y="1146"/>
                    <a:pt x="1003" y="1144"/>
                  </a:cubicBezTo>
                  <a:cubicBezTo>
                    <a:pt x="986" y="1143"/>
                    <a:pt x="975" y="1129"/>
                    <a:pt x="978" y="1114"/>
                  </a:cubicBezTo>
                  <a:cubicBezTo>
                    <a:pt x="981" y="1099"/>
                    <a:pt x="998" y="1088"/>
                    <a:pt x="1014" y="1090"/>
                  </a:cubicBezTo>
                  <a:close/>
                  <a:moveTo>
                    <a:pt x="1049" y="1172"/>
                  </a:moveTo>
                  <a:cubicBezTo>
                    <a:pt x="1066" y="1174"/>
                    <a:pt x="1078" y="1187"/>
                    <a:pt x="1075" y="1203"/>
                  </a:cubicBezTo>
                  <a:cubicBezTo>
                    <a:pt x="1072" y="1218"/>
                    <a:pt x="1056" y="1229"/>
                    <a:pt x="1038" y="1227"/>
                  </a:cubicBezTo>
                  <a:cubicBezTo>
                    <a:pt x="1021" y="1226"/>
                    <a:pt x="1010" y="1212"/>
                    <a:pt x="1013" y="1197"/>
                  </a:cubicBezTo>
                  <a:cubicBezTo>
                    <a:pt x="1016" y="1182"/>
                    <a:pt x="1032" y="1171"/>
                    <a:pt x="1049" y="1172"/>
                  </a:cubicBezTo>
                  <a:close/>
                  <a:moveTo>
                    <a:pt x="1044" y="1043"/>
                  </a:moveTo>
                  <a:cubicBezTo>
                    <a:pt x="1047" y="1028"/>
                    <a:pt x="1063" y="1017"/>
                    <a:pt x="1080" y="1019"/>
                  </a:cubicBezTo>
                  <a:cubicBezTo>
                    <a:pt x="1096" y="1020"/>
                    <a:pt x="1107" y="1034"/>
                    <a:pt x="1104" y="1049"/>
                  </a:cubicBezTo>
                  <a:cubicBezTo>
                    <a:pt x="1101" y="1064"/>
                    <a:pt x="1086" y="1075"/>
                    <a:pt x="1069" y="1074"/>
                  </a:cubicBezTo>
                  <a:cubicBezTo>
                    <a:pt x="1052" y="1072"/>
                    <a:pt x="1041" y="1058"/>
                    <a:pt x="1044" y="1043"/>
                  </a:cubicBezTo>
                  <a:close/>
                  <a:moveTo>
                    <a:pt x="1104" y="969"/>
                  </a:moveTo>
                  <a:cubicBezTo>
                    <a:pt x="1107" y="954"/>
                    <a:pt x="1123" y="943"/>
                    <a:pt x="1139" y="944"/>
                  </a:cubicBezTo>
                  <a:cubicBezTo>
                    <a:pt x="1155" y="946"/>
                    <a:pt x="1166" y="959"/>
                    <a:pt x="1164" y="975"/>
                  </a:cubicBezTo>
                  <a:cubicBezTo>
                    <a:pt x="1161" y="990"/>
                    <a:pt x="1145" y="1001"/>
                    <a:pt x="1129" y="999"/>
                  </a:cubicBezTo>
                  <a:cubicBezTo>
                    <a:pt x="1112" y="998"/>
                    <a:pt x="1101" y="984"/>
                    <a:pt x="1104" y="969"/>
                  </a:cubicBezTo>
                  <a:close/>
                  <a:moveTo>
                    <a:pt x="1134" y="815"/>
                  </a:moveTo>
                  <a:cubicBezTo>
                    <a:pt x="1137" y="800"/>
                    <a:pt x="1152" y="789"/>
                    <a:pt x="1168" y="791"/>
                  </a:cubicBezTo>
                  <a:cubicBezTo>
                    <a:pt x="1184" y="792"/>
                    <a:pt x="1195" y="806"/>
                    <a:pt x="1192" y="821"/>
                  </a:cubicBezTo>
                  <a:cubicBezTo>
                    <a:pt x="1189" y="836"/>
                    <a:pt x="1174" y="847"/>
                    <a:pt x="1158" y="846"/>
                  </a:cubicBezTo>
                  <a:cubicBezTo>
                    <a:pt x="1142" y="844"/>
                    <a:pt x="1131" y="831"/>
                    <a:pt x="1134" y="815"/>
                  </a:cubicBezTo>
                  <a:close/>
                  <a:moveTo>
                    <a:pt x="1202" y="873"/>
                  </a:moveTo>
                  <a:cubicBezTo>
                    <a:pt x="1218" y="875"/>
                    <a:pt x="1229" y="888"/>
                    <a:pt x="1226" y="903"/>
                  </a:cubicBezTo>
                  <a:cubicBezTo>
                    <a:pt x="1224" y="918"/>
                    <a:pt x="1208" y="929"/>
                    <a:pt x="1192" y="928"/>
                  </a:cubicBezTo>
                  <a:cubicBezTo>
                    <a:pt x="1175" y="927"/>
                    <a:pt x="1164" y="913"/>
                    <a:pt x="1167" y="898"/>
                  </a:cubicBezTo>
                  <a:cubicBezTo>
                    <a:pt x="1170" y="883"/>
                    <a:pt x="1186" y="872"/>
                    <a:pt x="1202" y="873"/>
                  </a:cubicBezTo>
                  <a:close/>
                  <a:moveTo>
                    <a:pt x="1225" y="824"/>
                  </a:moveTo>
                  <a:cubicBezTo>
                    <a:pt x="1228" y="808"/>
                    <a:pt x="1243" y="797"/>
                    <a:pt x="1259" y="799"/>
                  </a:cubicBezTo>
                  <a:cubicBezTo>
                    <a:pt x="1275" y="800"/>
                    <a:pt x="1286" y="813"/>
                    <a:pt x="1283" y="828"/>
                  </a:cubicBezTo>
                  <a:cubicBezTo>
                    <a:pt x="1281" y="844"/>
                    <a:pt x="1266" y="855"/>
                    <a:pt x="1249" y="854"/>
                  </a:cubicBezTo>
                  <a:cubicBezTo>
                    <a:pt x="1233" y="852"/>
                    <a:pt x="1222" y="839"/>
                    <a:pt x="1225" y="824"/>
                  </a:cubicBezTo>
                  <a:close/>
                  <a:moveTo>
                    <a:pt x="1294" y="881"/>
                  </a:moveTo>
                  <a:cubicBezTo>
                    <a:pt x="1310" y="882"/>
                    <a:pt x="1321" y="895"/>
                    <a:pt x="1319" y="911"/>
                  </a:cubicBezTo>
                  <a:cubicBezTo>
                    <a:pt x="1316" y="926"/>
                    <a:pt x="1301" y="937"/>
                    <a:pt x="1285" y="936"/>
                  </a:cubicBezTo>
                  <a:cubicBezTo>
                    <a:pt x="1268" y="934"/>
                    <a:pt x="1257" y="921"/>
                    <a:pt x="1260" y="906"/>
                  </a:cubicBezTo>
                  <a:cubicBezTo>
                    <a:pt x="1262" y="891"/>
                    <a:pt x="1278" y="880"/>
                    <a:pt x="1294" y="881"/>
                  </a:cubicBezTo>
                  <a:close/>
                  <a:moveTo>
                    <a:pt x="1316" y="831"/>
                  </a:moveTo>
                  <a:cubicBezTo>
                    <a:pt x="1319" y="816"/>
                    <a:pt x="1334" y="805"/>
                    <a:pt x="1350" y="806"/>
                  </a:cubicBezTo>
                  <a:cubicBezTo>
                    <a:pt x="1366" y="807"/>
                    <a:pt x="1377" y="820"/>
                    <a:pt x="1375" y="836"/>
                  </a:cubicBezTo>
                  <a:cubicBezTo>
                    <a:pt x="1372" y="851"/>
                    <a:pt x="1357" y="862"/>
                    <a:pt x="1341" y="861"/>
                  </a:cubicBezTo>
                  <a:cubicBezTo>
                    <a:pt x="1325" y="860"/>
                    <a:pt x="1314" y="846"/>
                    <a:pt x="1316" y="831"/>
                  </a:cubicBezTo>
                  <a:close/>
                  <a:moveTo>
                    <a:pt x="1342" y="677"/>
                  </a:moveTo>
                  <a:cubicBezTo>
                    <a:pt x="1344" y="662"/>
                    <a:pt x="1359" y="651"/>
                    <a:pt x="1374" y="652"/>
                  </a:cubicBezTo>
                  <a:cubicBezTo>
                    <a:pt x="1390" y="653"/>
                    <a:pt x="1401" y="667"/>
                    <a:pt x="1398" y="682"/>
                  </a:cubicBezTo>
                  <a:cubicBezTo>
                    <a:pt x="1396" y="697"/>
                    <a:pt x="1381" y="708"/>
                    <a:pt x="1366" y="707"/>
                  </a:cubicBezTo>
                  <a:cubicBezTo>
                    <a:pt x="1350" y="706"/>
                    <a:pt x="1339" y="692"/>
                    <a:pt x="1342" y="677"/>
                  </a:cubicBezTo>
                  <a:close/>
                  <a:moveTo>
                    <a:pt x="1409" y="734"/>
                  </a:moveTo>
                  <a:cubicBezTo>
                    <a:pt x="1425" y="735"/>
                    <a:pt x="1436" y="748"/>
                    <a:pt x="1434" y="763"/>
                  </a:cubicBezTo>
                  <a:cubicBezTo>
                    <a:pt x="1432" y="779"/>
                    <a:pt x="1417" y="790"/>
                    <a:pt x="1401" y="789"/>
                  </a:cubicBezTo>
                  <a:cubicBezTo>
                    <a:pt x="1385" y="788"/>
                    <a:pt x="1374" y="774"/>
                    <a:pt x="1376" y="759"/>
                  </a:cubicBezTo>
                  <a:cubicBezTo>
                    <a:pt x="1379" y="744"/>
                    <a:pt x="1393" y="733"/>
                    <a:pt x="1409" y="734"/>
                  </a:cubicBezTo>
                  <a:close/>
                  <a:moveTo>
                    <a:pt x="1430" y="684"/>
                  </a:moveTo>
                  <a:cubicBezTo>
                    <a:pt x="1433" y="669"/>
                    <a:pt x="1447" y="658"/>
                    <a:pt x="1463" y="659"/>
                  </a:cubicBezTo>
                  <a:cubicBezTo>
                    <a:pt x="1478" y="660"/>
                    <a:pt x="1489" y="673"/>
                    <a:pt x="1487" y="688"/>
                  </a:cubicBezTo>
                  <a:cubicBezTo>
                    <a:pt x="1485" y="703"/>
                    <a:pt x="1471" y="715"/>
                    <a:pt x="1455" y="714"/>
                  </a:cubicBezTo>
                  <a:cubicBezTo>
                    <a:pt x="1439" y="713"/>
                    <a:pt x="1428" y="699"/>
                    <a:pt x="1430" y="684"/>
                  </a:cubicBezTo>
                  <a:close/>
                  <a:moveTo>
                    <a:pt x="1499" y="740"/>
                  </a:moveTo>
                  <a:cubicBezTo>
                    <a:pt x="1515" y="741"/>
                    <a:pt x="1526" y="754"/>
                    <a:pt x="1524" y="770"/>
                  </a:cubicBezTo>
                  <a:cubicBezTo>
                    <a:pt x="1522" y="785"/>
                    <a:pt x="1507" y="796"/>
                    <a:pt x="1491" y="795"/>
                  </a:cubicBezTo>
                  <a:cubicBezTo>
                    <a:pt x="1475" y="794"/>
                    <a:pt x="1464" y="781"/>
                    <a:pt x="1466" y="766"/>
                  </a:cubicBezTo>
                  <a:cubicBezTo>
                    <a:pt x="1468" y="751"/>
                    <a:pt x="1483" y="739"/>
                    <a:pt x="1499" y="740"/>
                  </a:cubicBezTo>
                  <a:close/>
                  <a:moveTo>
                    <a:pt x="1519" y="690"/>
                  </a:moveTo>
                  <a:cubicBezTo>
                    <a:pt x="1521" y="675"/>
                    <a:pt x="1536" y="664"/>
                    <a:pt x="1551" y="665"/>
                  </a:cubicBezTo>
                  <a:cubicBezTo>
                    <a:pt x="1567" y="666"/>
                    <a:pt x="1578" y="679"/>
                    <a:pt x="1576" y="694"/>
                  </a:cubicBezTo>
                  <a:cubicBezTo>
                    <a:pt x="1574" y="709"/>
                    <a:pt x="1560" y="721"/>
                    <a:pt x="1544" y="720"/>
                  </a:cubicBezTo>
                  <a:cubicBezTo>
                    <a:pt x="1529" y="719"/>
                    <a:pt x="1517" y="705"/>
                    <a:pt x="1519" y="690"/>
                  </a:cubicBezTo>
                  <a:close/>
                  <a:moveTo>
                    <a:pt x="1589" y="746"/>
                  </a:moveTo>
                  <a:cubicBezTo>
                    <a:pt x="1604" y="747"/>
                    <a:pt x="1616" y="760"/>
                    <a:pt x="1614" y="775"/>
                  </a:cubicBezTo>
                  <a:cubicBezTo>
                    <a:pt x="1612" y="790"/>
                    <a:pt x="1598" y="802"/>
                    <a:pt x="1582" y="801"/>
                  </a:cubicBezTo>
                  <a:cubicBezTo>
                    <a:pt x="1566" y="800"/>
                    <a:pt x="1555" y="787"/>
                    <a:pt x="1557" y="772"/>
                  </a:cubicBezTo>
                  <a:cubicBezTo>
                    <a:pt x="1558" y="756"/>
                    <a:pt x="1573" y="745"/>
                    <a:pt x="1589" y="746"/>
                  </a:cubicBezTo>
                  <a:close/>
                  <a:moveTo>
                    <a:pt x="1609" y="696"/>
                  </a:moveTo>
                  <a:cubicBezTo>
                    <a:pt x="1610" y="681"/>
                    <a:pt x="1624" y="669"/>
                    <a:pt x="1640" y="670"/>
                  </a:cubicBezTo>
                  <a:cubicBezTo>
                    <a:pt x="1656" y="671"/>
                    <a:pt x="1667" y="684"/>
                    <a:pt x="1665" y="699"/>
                  </a:cubicBezTo>
                  <a:cubicBezTo>
                    <a:pt x="1664" y="714"/>
                    <a:pt x="1650" y="726"/>
                    <a:pt x="1634" y="725"/>
                  </a:cubicBezTo>
                  <a:cubicBezTo>
                    <a:pt x="1618" y="724"/>
                    <a:pt x="1607" y="711"/>
                    <a:pt x="1609" y="696"/>
                  </a:cubicBezTo>
                  <a:close/>
                  <a:moveTo>
                    <a:pt x="1679" y="751"/>
                  </a:moveTo>
                  <a:cubicBezTo>
                    <a:pt x="1694" y="752"/>
                    <a:pt x="1706" y="765"/>
                    <a:pt x="1704" y="780"/>
                  </a:cubicBezTo>
                  <a:cubicBezTo>
                    <a:pt x="1703" y="795"/>
                    <a:pt x="1689" y="807"/>
                    <a:pt x="1673" y="806"/>
                  </a:cubicBezTo>
                  <a:cubicBezTo>
                    <a:pt x="1657" y="805"/>
                    <a:pt x="1645" y="792"/>
                    <a:pt x="1647" y="777"/>
                  </a:cubicBezTo>
                  <a:cubicBezTo>
                    <a:pt x="1648" y="762"/>
                    <a:pt x="1663" y="750"/>
                    <a:pt x="1679" y="751"/>
                  </a:cubicBezTo>
                  <a:close/>
                  <a:moveTo>
                    <a:pt x="1698" y="701"/>
                  </a:moveTo>
                  <a:cubicBezTo>
                    <a:pt x="1699" y="686"/>
                    <a:pt x="1713" y="674"/>
                    <a:pt x="1729" y="675"/>
                  </a:cubicBezTo>
                  <a:cubicBezTo>
                    <a:pt x="1744" y="676"/>
                    <a:pt x="1756" y="688"/>
                    <a:pt x="1754" y="704"/>
                  </a:cubicBezTo>
                  <a:cubicBezTo>
                    <a:pt x="1753" y="719"/>
                    <a:pt x="1739" y="730"/>
                    <a:pt x="1723" y="730"/>
                  </a:cubicBezTo>
                  <a:cubicBezTo>
                    <a:pt x="1708" y="729"/>
                    <a:pt x="1696" y="716"/>
                    <a:pt x="1698" y="701"/>
                  </a:cubicBezTo>
                  <a:close/>
                  <a:moveTo>
                    <a:pt x="1768" y="755"/>
                  </a:moveTo>
                  <a:cubicBezTo>
                    <a:pt x="1784" y="756"/>
                    <a:pt x="1796" y="769"/>
                    <a:pt x="1795" y="784"/>
                  </a:cubicBezTo>
                  <a:cubicBezTo>
                    <a:pt x="1793" y="799"/>
                    <a:pt x="1779" y="811"/>
                    <a:pt x="1763" y="810"/>
                  </a:cubicBezTo>
                  <a:cubicBezTo>
                    <a:pt x="1747" y="809"/>
                    <a:pt x="1736" y="797"/>
                    <a:pt x="1737" y="781"/>
                  </a:cubicBezTo>
                  <a:cubicBezTo>
                    <a:pt x="1739" y="766"/>
                    <a:pt x="1753" y="755"/>
                    <a:pt x="1768" y="755"/>
                  </a:cubicBezTo>
                  <a:close/>
                  <a:moveTo>
                    <a:pt x="1787" y="705"/>
                  </a:moveTo>
                  <a:cubicBezTo>
                    <a:pt x="1788" y="690"/>
                    <a:pt x="1802" y="678"/>
                    <a:pt x="1817" y="679"/>
                  </a:cubicBezTo>
                  <a:cubicBezTo>
                    <a:pt x="1833" y="680"/>
                    <a:pt x="1845" y="692"/>
                    <a:pt x="1844" y="708"/>
                  </a:cubicBezTo>
                  <a:cubicBezTo>
                    <a:pt x="1842" y="723"/>
                    <a:pt x="1829" y="734"/>
                    <a:pt x="1813" y="734"/>
                  </a:cubicBezTo>
                  <a:cubicBezTo>
                    <a:pt x="1797" y="733"/>
                    <a:pt x="1785" y="720"/>
                    <a:pt x="1787" y="705"/>
                  </a:cubicBezTo>
                  <a:close/>
                  <a:moveTo>
                    <a:pt x="1858" y="759"/>
                  </a:moveTo>
                  <a:cubicBezTo>
                    <a:pt x="1874" y="760"/>
                    <a:pt x="1886" y="772"/>
                    <a:pt x="1885" y="787"/>
                  </a:cubicBezTo>
                  <a:cubicBezTo>
                    <a:pt x="1884" y="803"/>
                    <a:pt x="1870" y="814"/>
                    <a:pt x="1854" y="814"/>
                  </a:cubicBezTo>
                  <a:cubicBezTo>
                    <a:pt x="1838" y="813"/>
                    <a:pt x="1826" y="800"/>
                    <a:pt x="1827" y="785"/>
                  </a:cubicBezTo>
                  <a:cubicBezTo>
                    <a:pt x="1829" y="770"/>
                    <a:pt x="1842" y="758"/>
                    <a:pt x="1858" y="759"/>
                  </a:cubicBezTo>
                  <a:close/>
                  <a:moveTo>
                    <a:pt x="1876" y="709"/>
                  </a:moveTo>
                  <a:cubicBezTo>
                    <a:pt x="1877" y="694"/>
                    <a:pt x="1890" y="682"/>
                    <a:pt x="1906" y="682"/>
                  </a:cubicBezTo>
                  <a:cubicBezTo>
                    <a:pt x="1922" y="683"/>
                    <a:pt x="1934" y="696"/>
                    <a:pt x="1933" y="711"/>
                  </a:cubicBezTo>
                  <a:cubicBezTo>
                    <a:pt x="1932" y="726"/>
                    <a:pt x="1918" y="738"/>
                    <a:pt x="1902" y="737"/>
                  </a:cubicBezTo>
                  <a:cubicBezTo>
                    <a:pt x="1887" y="737"/>
                    <a:pt x="1875" y="724"/>
                    <a:pt x="1876" y="709"/>
                  </a:cubicBezTo>
                  <a:close/>
                  <a:moveTo>
                    <a:pt x="1948" y="762"/>
                  </a:moveTo>
                  <a:cubicBezTo>
                    <a:pt x="1964" y="763"/>
                    <a:pt x="1976" y="775"/>
                    <a:pt x="1975" y="790"/>
                  </a:cubicBezTo>
                  <a:cubicBezTo>
                    <a:pt x="1975" y="805"/>
                    <a:pt x="1961" y="817"/>
                    <a:pt x="1945" y="817"/>
                  </a:cubicBezTo>
                  <a:cubicBezTo>
                    <a:pt x="1929" y="816"/>
                    <a:pt x="1917" y="804"/>
                    <a:pt x="1918" y="789"/>
                  </a:cubicBezTo>
                  <a:cubicBezTo>
                    <a:pt x="1919" y="773"/>
                    <a:pt x="1932" y="762"/>
                    <a:pt x="1948" y="762"/>
                  </a:cubicBezTo>
                  <a:close/>
                  <a:moveTo>
                    <a:pt x="1965" y="712"/>
                  </a:moveTo>
                  <a:cubicBezTo>
                    <a:pt x="1966" y="697"/>
                    <a:pt x="1979" y="685"/>
                    <a:pt x="1995" y="685"/>
                  </a:cubicBezTo>
                  <a:cubicBezTo>
                    <a:pt x="2010" y="686"/>
                    <a:pt x="2023" y="698"/>
                    <a:pt x="2022" y="713"/>
                  </a:cubicBezTo>
                  <a:cubicBezTo>
                    <a:pt x="2021" y="729"/>
                    <a:pt x="2008" y="740"/>
                    <a:pt x="1992" y="740"/>
                  </a:cubicBezTo>
                  <a:cubicBezTo>
                    <a:pt x="1976" y="740"/>
                    <a:pt x="1964" y="727"/>
                    <a:pt x="1965" y="712"/>
                  </a:cubicBezTo>
                  <a:close/>
                  <a:moveTo>
                    <a:pt x="2038" y="765"/>
                  </a:moveTo>
                  <a:cubicBezTo>
                    <a:pt x="2054" y="765"/>
                    <a:pt x="2066" y="777"/>
                    <a:pt x="2066" y="793"/>
                  </a:cubicBezTo>
                  <a:cubicBezTo>
                    <a:pt x="2065" y="808"/>
                    <a:pt x="2052" y="820"/>
                    <a:pt x="2036" y="819"/>
                  </a:cubicBezTo>
                  <a:cubicBezTo>
                    <a:pt x="2020" y="819"/>
                    <a:pt x="2007" y="806"/>
                    <a:pt x="2008" y="791"/>
                  </a:cubicBezTo>
                  <a:cubicBezTo>
                    <a:pt x="2009" y="776"/>
                    <a:pt x="2022" y="764"/>
                    <a:pt x="2038" y="765"/>
                  </a:cubicBezTo>
                  <a:close/>
                  <a:moveTo>
                    <a:pt x="2054" y="714"/>
                  </a:moveTo>
                  <a:cubicBezTo>
                    <a:pt x="2055" y="699"/>
                    <a:pt x="2068" y="687"/>
                    <a:pt x="2084" y="687"/>
                  </a:cubicBezTo>
                  <a:cubicBezTo>
                    <a:pt x="2099" y="688"/>
                    <a:pt x="2111" y="700"/>
                    <a:pt x="2111" y="715"/>
                  </a:cubicBezTo>
                  <a:cubicBezTo>
                    <a:pt x="2110" y="730"/>
                    <a:pt x="2097" y="743"/>
                    <a:pt x="2082" y="742"/>
                  </a:cubicBezTo>
                  <a:cubicBezTo>
                    <a:pt x="2066" y="742"/>
                    <a:pt x="2053" y="729"/>
                    <a:pt x="2054" y="714"/>
                  </a:cubicBezTo>
                  <a:close/>
                  <a:moveTo>
                    <a:pt x="2128" y="766"/>
                  </a:moveTo>
                  <a:cubicBezTo>
                    <a:pt x="2144" y="767"/>
                    <a:pt x="2156" y="779"/>
                    <a:pt x="2156" y="794"/>
                  </a:cubicBezTo>
                  <a:cubicBezTo>
                    <a:pt x="2156" y="809"/>
                    <a:pt x="2142" y="821"/>
                    <a:pt x="2126" y="821"/>
                  </a:cubicBezTo>
                  <a:cubicBezTo>
                    <a:pt x="2110" y="821"/>
                    <a:pt x="2098" y="808"/>
                    <a:pt x="2098" y="793"/>
                  </a:cubicBezTo>
                  <a:cubicBezTo>
                    <a:pt x="2099" y="778"/>
                    <a:pt x="2112" y="766"/>
                    <a:pt x="2128" y="766"/>
                  </a:cubicBezTo>
                  <a:close/>
                  <a:moveTo>
                    <a:pt x="2143" y="716"/>
                  </a:moveTo>
                  <a:cubicBezTo>
                    <a:pt x="2144" y="701"/>
                    <a:pt x="2157" y="689"/>
                    <a:pt x="2172" y="689"/>
                  </a:cubicBezTo>
                  <a:cubicBezTo>
                    <a:pt x="2188" y="689"/>
                    <a:pt x="2200" y="702"/>
                    <a:pt x="2200" y="717"/>
                  </a:cubicBezTo>
                  <a:cubicBezTo>
                    <a:pt x="2200" y="732"/>
                    <a:pt x="2187" y="744"/>
                    <a:pt x="2171" y="744"/>
                  </a:cubicBezTo>
                  <a:cubicBezTo>
                    <a:pt x="2155" y="743"/>
                    <a:pt x="2143" y="731"/>
                    <a:pt x="2143" y="716"/>
                  </a:cubicBezTo>
                  <a:close/>
                  <a:moveTo>
                    <a:pt x="2192" y="641"/>
                  </a:moveTo>
                  <a:cubicBezTo>
                    <a:pt x="2192" y="626"/>
                    <a:pt x="2205" y="614"/>
                    <a:pt x="2220" y="614"/>
                  </a:cubicBezTo>
                  <a:cubicBezTo>
                    <a:pt x="2235" y="614"/>
                    <a:pt x="2248" y="627"/>
                    <a:pt x="2248" y="642"/>
                  </a:cubicBezTo>
                  <a:cubicBezTo>
                    <a:pt x="2248" y="657"/>
                    <a:pt x="2235" y="669"/>
                    <a:pt x="2219" y="669"/>
                  </a:cubicBezTo>
                  <a:cubicBezTo>
                    <a:pt x="2204" y="669"/>
                    <a:pt x="2191" y="656"/>
                    <a:pt x="2192" y="641"/>
                  </a:cubicBezTo>
                  <a:close/>
                  <a:moveTo>
                    <a:pt x="2261" y="690"/>
                  </a:moveTo>
                  <a:cubicBezTo>
                    <a:pt x="2277" y="690"/>
                    <a:pt x="2289" y="702"/>
                    <a:pt x="2289" y="717"/>
                  </a:cubicBezTo>
                  <a:cubicBezTo>
                    <a:pt x="2289" y="732"/>
                    <a:pt x="2277" y="745"/>
                    <a:pt x="2261" y="745"/>
                  </a:cubicBezTo>
                  <a:cubicBezTo>
                    <a:pt x="2245" y="744"/>
                    <a:pt x="2232" y="732"/>
                    <a:pt x="2232" y="717"/>
                  </a:cubicBezTo>
                  <a:cubicBezTo>
                    <a:pt x="2233" y="702"/>
                    <a:pt x="2245" y="690"/>
                    <a:pt x="2261" y="690"/>
                  </a:cubicBezTo>
                  <a:close/>
                  <a:moveTo>
                    <a:pt x="2280" y="642"/>
                  </a:moveTo>
                  <a:cubicBezTo>
                    <a:pt x="2280" y="627"/>
                    <a:pt x="2292" y="615"/>
                    <a:pt x="2308" y="615"/>
                  </a:cubicBezTo>
                  <a:cubicBezTo>
                    <a:pt x="2323" y="615"/>
                    <a:pt x="2336" y="627"/>
                    <a:pt x="2336" y="642"/>
                  </a:cubicBezTo>
                  <a:cubicBezTo>
                    <a:pt x="2336" y="657"/>
                    <a:pt x="2323" y="670"/>
                    <a:pt x="2308" y="670"/>
                  </a:cubicBezTo>
                  <a:cubicBezTo>
                    <a:pt x="2292" y="670"/>
                    <a:pt x="2280" y="657"/>
                    <a:pt x="2280" y="642"/>
                  </a:cubicBezTo>
                  <a:close/>
                  <a:moveTo>
                    <a:pt x="2350" y="690"/>
                  </a:moveTo>
                  <a:cubicBezTo>
                    <a:pt x="2365" y="690"/>
                    <a:pt x="2378" y="702"/>
                    <a:pt x="2379" y="717"/>
                  </a:cubicBezTo>
                  <a:cubicBezTo>
                    <a:pt x="2379" y="733"/>
                    <a:pt x="2366" y="745"/>
                    <a:pt x="2350" y="745"/>
                  </a:cubicBezTo>
                  <a:cubicBezTo>
                    <a:pt x="2335" y="745"/>
                    <a:pt x="2322" y="733"/>
                    <a:pt x="2322" y="718"/>
                  </a:cubicBezTo>
                  <a:cubicBezTo>
                    <a:pt x="2322" y="702"/>
                    <a:pt x="2334" y="690"/>
                    <a:pt x="2350" y="690"/>
                  </a:cubicBezTo>
                  <a:close/>
                  <a:moveTo>
                    <a:pt x="2368" y="642"/>
                  </a:moveTo>
                  <a:cubicBezTo>
                    <a:pt x="2367" y="627"/>
                    <a:pt x="2380" y="615"/>
                    <a:pt x="2395" y="615"/>
                  </a:cubicBezTo>
                  <a:cubicBezTo>
                    <a:pt x="2411" y="615"/>
                    <a:pt x="2423" y="627"/>
                    <a:pt x="2424" y="642"/>
                  </a:cubicBezTo>
                  <a:cubicBezTo>
                    <a:pt x="2424" y="657"/>
                    <a:pt x="2412" y="670"/>
                    <a:pt x="2396" y="670"/>
                  </a:cubicBezTo>
                  <a:cubicBezTo>
                    <a:pt x="2381" y="670"/>
                    <a:pt x="2368" y="657"/>
                    <a:pt x="2368" y="642"/>
                  </a:cubicBezTo>
                  <a:close/>
                  <a:moveTo>
                    <a:pt x="2439" y="690"/>
                  </a:moveTo>
                  <a:cubicBezTo>
                    <a:pt x="2454" y="690"/>
                    <a:pt x="2467" y="702"/>
                    <a:pt x="2468" y="717"/>
                  </a:cubicBezTo>
                  <a:cubicBezTo>
                    <a:pt x="2468" y="732"/>
                    <a:pt x="2456" y="744"/>
                    <a:pt x="2440" y="744"/>
                  </a:cubicBezTo>
                  <a:cubicBezTo>
                    <a:pt x="2424" y="745"/>
                    <a:pt x="2411" y="732"/>
                    <a:pt x="2411" y="717"/>
                  </a:cubicBezTo>
                  <a:cubicBezTo>
                    <a:pt x="2410" y="702"/>
                    <a:pt x="2423" y="690"/>
                    <a:pt x="2439" y="690"/>
                  </a:cubicBezTo>
                  <a:close/>
                  <a:moveTo>
                    <a:pt x="2456" y="642"/>
                  </a:moveTo>
                  <a:cubicBezTo>
                    <a:pt x="2455" y="627"/>
                    <a:pt x="2467" y="615"/>
                    <a:pt x="2483" y="614"/>
                  </a:cubicBezTo>
                  <a:cubicBezTo>
                    <a:pt x="2498" y="614"/>
                    <a:pt x="2511" y="626"/>
                    <a:pt x="2512" y="641"/>
                  </a:cubicBezTo>
                  <a:cubicBezTo>
                    <a:pt x="2512" y="656"/>
                    <a:pt x="2500" y="669"/>
                    <a:pt x="2485" y="669"/>
                  </a:cubicBezTo>
                  <a:cubicBezTo>
                    <a:pt x="2469" y="669"/>
                    <a:pt x="2456" y="657"/>
                    <a:pt x="2456" y="642"/>
                  </a:cubicBezTo>
                  <a:close/>
                  <a:moveTo>
                    <a:pt x="2527" y="689"/>
                  </a:moveTo>
                  <a:cubicBezTo>
                    <a:pt x="2543" y="689"/>
                    <a:pt x="2556" y="701"/>
                    <a:pt x="2557" y="716"/>
                  </a:cubicBezTo>
                  <a:cubicBezTo>
                    <a:pt x="2558" y="731"/>
                    <a:pt x="2545" y="743"/>
                    <a:pt x="2529" y="743"/>
                  </a:cubicBezTo>
                  <a:cubicBezTo>
                    <a:pt x="2514" y="744"/>
                    <a:pt x="2500" y="732"/>
                    <a:pt x="2500" y="717"/>
                  </a:cubicBezTo>
                  <a:cubicBezTo>
                    <a:pt x="2499" y="701"/>
                    <a:pt x="2512" y="689"/>
                    <a:pt x="2527" y="689"/>
                  </a:cubicBezTo>
                  <a:close/>
                  <a:moveTo>
                    <a:pt x="2544" y="641"/>
                  </a:moveTo>
                  <a:cubicBezTo>
                    <a:pt x="2543" y="626"/>
                    <a:pt x="2555" y="614"/>
                    <a:pt x="2570" y="613"/>
                  </a:cubicBezTo>
                  <a:cubicBezTo>
                    <a:pt x="2586" y="613"/>
                    <a:pt x="2599" y="625"/>
                    <a:pt x="2600" y="640"/>
                  </a:cubicBezTo>
                  <a:cubicBezTo>
                    <a:pt x="2601" y="655"/>
                    <a:pt x="2589" y="667"/>
                    <a:pt x="2573" y="668"/>
                  </a:cubicBezTo>
                  <a:cubicBezTo>
                    <a:pt x="2557" y="668"/>
                    <a:pt x="2544" y="656"/>
                    <a:pt x="2544" y="641"/>
                  </a:cubicBezTo>
                  <a:close/>
                  <a:moveTo>
                    <a:pt x="2616" y="687"/>
                  </a:moveTo>
                  <a:cubicBezTo>
                    <a:pt x="2632" y="687"/>
                    <a:pt x="2645" y="699"/>
                    <a:pt x="2646" y="714"/>
                  </a:cubicBezTo>
                  <a:cubicBezTo>
                    <a:pt x="2647" y="729"/>
                    <a:pt x="2635" y="741"/>
                    <a:pt x="2619" y="742"/>
                  </a:cubicBezTo>
                  <a:cubicBezTo>
                    <a:pt x="2603" y="742"/>
                    <a:pt x="2590" y="730"/>
                    <a:pt x="2589" y="715"/>
                  </a:cubicBezTo>
                  <a:cubicBezTo>
                    <a:pt x="2588" y="700"/>
                    <a:pt x="2600" y="688"/>
                    <a:pt x="2616" y="687"/>
                  </a:cubicBezTo>
                  <a:close/>
                  <a:moveTo>
                    <a:pt x="2658" y="611"/>
                  </a:moveTo>
                  <a:cubicBezTo>
                    <a:pt x="2674" y="611"/>
                    <a:pt x="2687" y="623"/>
                    <a:pt x="2688" y="638"/>
                  </a:cubicBezTo>
                  <a:cubicBezTo>
                    <a:pt x="2689" y="653"/>
                    <a:pt x="2677" y="665"/>
                    <a:pt x="2662" y="666"/>
                  </a:cubicBezTo>
                  <a:cubicBezTo>
                    <a:pt x="2646" y="666"/>
                    <a:pt x="2633" y="654"/>
                    <a:pt x="2632" y="639"/>
                  </a:cubicBezTo>
                  <a:cubicBezTo>
                    <a:pt x="2631" y="624"/>
                    <a:pt x="2643" y="612"/>
                    <a:pt x="2658" y="611"/>
                  </a:cubicBezTo>
                  <a:close/>
                  <a:moveTo>
                    <a:pt x="2705" y="685"/>
                  </a:moveTo>
                  <a:cubicBezTo>
                    <a:pt x="2720" y="685"/>
                    <a:pt x="2734" y="696"/>
                    <a:pt x="2735" y="711"/>
                  </a:cubicBezTo>
                  <a:cubicBezTo>
                    <a:pt x="2736" y="726"/>
                    <a:pt x="2724" y="739"/>
                    <a:pt x="2709" y="739"/>
                  </a:cubicBezTo>
                  <a:cubicBezTo>
                    <a:pt x="2693" y="740"/>
                    <a:pt x="2679" y="728"/>
                    <a:pt x="2678" y="713"/>
                  </a:cubicBezTo>
                  <a:cubicBezTo>
                    <a:pt x="2677" y="698"/>
                    <a:pt x="2689" y="686"/>
                    <a:pt x="2705" y="685"/>
                  </a:cubicBezTo>
                  <a:close/>
                  <a:moveTo>
                    <a:pt x="2746" y="609"/>
                  </a:moveTo>
                  <a:cubicBezTo>
                    <a:pt x="2761" y="608"/>
                    <a:pt x="2775" y="620"/>
                    <a:pt x="2776" y="635"/>
                  </a:cubicBezTo>
                  <a:cubicBezTo>
                    <a:pt x="2777" y="650"/>
                    <a:pt x="2766" y="663"/>
                    <a:pt x="2750" y="663"/>
                  </a:cubicBezTo>
                  <a:cubicBezTo>
                    <a:pt x="2734" y="664"/>
                    <a:pt x="2721" y="652"/>
                    <a:pt x="2720" y="637"/>
                  </a:cubicBezTo>
                  <a:cubicBezTo>
                    <a:pt x="2719" y="622"/>
                    <a:pt x="2730" y="609"/>
                    <a:pt x="2746" y="609"/>
                  </a:cubicBezTo>
                  <a:close/>
                  <a:moveTo>
                    <a:pt x="2794" y="682"/>
                  </a:moveTo>
                  <a:cubicBezTo>
                    <a:pt x="2809" y="682"/>
                    <a:pt x="2823" y="693"/>
                    <a:pt x="2824" y="708"/>
                  </a:cubicBezTo>
                  <a:cubicBezTo>
                    <a:pt x="2826" y="723"/>
                    <a:pt x="2814" y="736"/>
                    <a:pt x="2798" y="736"/>
                  </a:cubicBezTo>
                  <a:cubicBezTo>
                    <a:pt x="2782" y="737"/>
                    <a:pt x="2769" y="725"/>
                    <a:pt x="2767" y="710"/>
                  </a:cubicBezTo>
                  <a:cubicBezTo>
                    <a:pt x="2766" y="695"/>
                    <a:pt x="2778" y="683"/>
                    <a:pt x="2794" y="682"/>
                  </a:cubicBezTo>
                  <a:close/>
                  <a:moveTo>
                    <a:pt x="2848" y="758"/>
                  </a:moveTo>
                  <a:cubicBezTo>
                    <a:pt x="2863" y="757"/>
                    <a:pt x="2877" y="769"/>
                    <a:pt x="2879" y="784"/>
                  </a:cubicBezTo>
                  <a:cubicBezTo>
                    <a:pt x="2880" y="799"/>
                    <a:pt x="2869" y="811"/>
                    <a:pt x="2853" y="812"/>
                  </a:cubicBezTo>
                  <a:cubicBezTo>
                    <a:pt x="2837" y="813"/>
                    <a:pt x="2823" y="801"/>
                    <a:pt x="2821" y="786"/>
                  </a:cubicBezTo>
                  <a:cubicBezTo>
                    <a:pt x="2820" y="771"/>
                    <a:pt x="2832" y="758"/>
                    <a:pt x="2848" y="758"/>
                  </a:cubicBezTo>
                  <a:close/>
                  <a:moveTo>
                    <a:pt x="2882" y="679"/>
                  </a:moveTo>
                  <a:cubicBezTo>
                    <a:pt x="2898" y="678"/>
                    <a:pt x="2912" y="690"/>
                    <a:pt x="2913" y="705"/>
                  </a:cubicBezTo>
                  <a:cubicBezTo>
                    <a:pt x="2915" y="719"/>
                    <a:pt x="2904" y="732"/>
                    <a:pt x="2888" y="733"/>
                  </a:cubicBezTo>
                  <a:cubicBezTo>
                    <a:pt x="2872" y="734"/>
                    <a:pt x="2858" y="722"/>
                    <a:pt x="2857" y="707"/>
                  </a:cubicBezTo>
                  <a:cubicBezTo>
                    <a:pt x="2855" y="692"/>
                    <a:pt x="2867" y="679"/>
                    <a:pt x="2882" y="679"/>
                  </a:cubicBezTo>
                  <a:close/>
                  <a:moveTo>
                    <a:pt x="2937" y="754"/>
                  </a:moveTo>
                  <a:cubicBezTo>
                    <a:pt x="2953" y="753"/>
                    <a:pt x="2968" y="764"/>
                    <a:pt x="2969" y="779"/>
                  </a:cubicBezTo>
                  <a:cubicBezTo>
                    <a:pt x="2971" y="794"/>
                    <a:pt x="2959" y="807"/>
                    <a:pt x="2943" y="808"/>
                  </a:cubicBezTo>
                  <a:cubicBezTo>
                    <a:pt x="2927" y="809"/>
                    <a:pt x="2913" y="797"/>
                    <a:pt x="2912" y="782"/>
                  </a:cubicBezTo>
                  <a:cubicBezTo>
                    <a:pt x="2910" y="767"/>
                    <a:pt x="2922" y="755"/>
                    <a:pt x="2937" y="754"/>
                  </a:cubicBezTo>
                  <a:close/>
                  <a:moveTo>
                    <a:pt x="2971" y="675"/>
                  </a:moveTo>
                  <a:cubicBezTo>
                    <a:pt x="2987" y="674"/>
                    <a:pt x="3001" y="685"/>
                    <a:pt x="3003" y="700"/>
                  </a:cubicBezTo>
                  <a:cubicBezTo>
                    <a:pt x="3004" y="715"/>
                    <a:pt x="2993" y="728"/>
                    <a:pt x="2977" y="729"/>
                  </a:cubicBezTo>
                  <a:cubicBezTo>
                    <a:pt x="2962" y="729"/>
                    <a:pt x="2947" y="718"/>
                    <a:pt x="2946" y="703"/>
                  </a:cubicBezTo>
                  <a:cubicBezTo>
                    <a:pt x="2944" y="688"/>
                    <a:pt x="2955" y="675"/>
                    <a:pt x="2971" y="675"/>
                  </a:cubicBezTo>
                  <a:close/>
                  <a:moveTo>
                    <a:pt x="3027" y="749"/>
                  </a:moveTo>
                  <a:cubicBezTo>
                    <a:pt x="3043" y="748"/>
                    <a:pt x="3058" y="760"/>
                    <a:pt x="3060" y="775"/>
                  </a:cubicBezTo>
                  <a:cubicBezTo>
                    <a:pt x="3062" y="789"/>
                    <a:pt x="3050" y="802"/>
                    <a:pt x="3034" y="803"/>
                  </a:cubicBezTo>
                  <a:cubicBezTo>
                    <a:pt x="3018" y="804"/>
                    <a:pt x="3004" y="793"/>
                    <a:pt x="3002" y="778"/>
                  </a:cubicBezTo>
                  <a:cubicBezTo>
                    <a:pt x="3000" y="763"/>
                    <a:pt x="3012" y="750"/>
                    <a:pt x="3027" y="749"/>
                  </a:cubicBezTo>
                  <a:close/>
                  <a:moveTo>
                    <a:pt x="3080" y="821"/>
                  </a:moveTo>
                  <a:cubicBezTo>
                    <a:pt x="3096" y="820"/>
                    <a:pt x="3110" y="831"/>
                    <a:pt x="3113" y="846"/>
                  </a:cubicBezTo>
                  <a:cubicBezTo>
                    <a:pt x="3115" y="861"/>
                    <a:pt x="3103" y="874"/>
                    <a:pt x="3087" y="875"/>
                  </a:cubicBezTo>
                  <a:cubicBezTo>
                    <a:pt x="3071" y="876"/>
                    <a:pt x="3056" y="865"/>
                    <a:pt x="3054" y="850"/>
                  </a:cubicBezTo>
                  <a:cubicBezTo>
                    <a:pt x="3052" y="835"/>
                    <a:pt x="3064" y="822"/>
                    <a:pt x="3080" y="821"/>
                  </a:cubicBezTo>
                  <a:close/>
                  <a:moveTo>
                    <a:pt x="3117" y="744"/>
                  </a:moveTo>
                  <a:cubicBezTo>
                    <a:pt x="3133" y="743"/>
                    <a:pt x="3148" y="754"/>
                    <a:pt x="3150" y="769"/>
                  </a:cubicBezTo>
                  <a:cubicBezTo>
                    <a:pt x="3152" y="784"/>
                    <a:pt x="3141" y="797"/>
                    <a:pt x="3125" y="798"/>
                  </a:cubicBezTo>
                  <a:cubicBezTo>
                    <a:pt x="3109" y="799"/>
                    <a:pt x="3094" y="788"/>
                    <a:pt x="3092" y="773"/>
                  </a:cubicBezTo>
                  <a:cubicBezTo>
                    <a:pt x="3090" y="758"/>
                    <a:pt x="3101" y="745"/>
                    <a:pt x="3117" y="744"/>
                  </a:cubicBezTo>
                  <a:close/>
                  <a:moveTo>
                    <a:pt x="3171" y="815"/>
                  </a:moveTo>
                  <a:cubicBezTo>
                    <a:pt x="3187" y="814"/>
                    <a:pt x="3202" y="825"/>
                    <a:pt x="3204" y="840"/>
                  </a:cubicBezTo>
                  <a:cubicBezTo>
                    <a:pt x="3206" y="855"/>
                    <a:pt x="3195" y="868"/>
                    <a:pt x="3179" y="869"/>
                  </a:cubicBezTo>
                  <a:cubicBezTo>
                    <a:pt x="3163" y="870"/>
                    <a:pt x="3148" y="859"/>
                    <a:pt x="3146" y="844"/>
                  </a:cubicBezTo>
                  <a:cubicBezTo>
                    <a:pt x="3143" y="829"/>
                    <a:pt x="3155" y="816"/>
                    <a:pt x="3171" y="815"/>
                  </a:cubicBezTo>
                  <a:close/>
                  <a:moveTo>
                    <a:pt x="3207" y="738"/>
                  </a:moveTo>
                  <a:cubicBezTo>
                    <a:pt x="3223" y="737"/>
                    <a:pt x="3238" y="748"/>
                    <a:pt x="3240" y="763"/>
                  </a:cubicBezTo>
                  <a:cubicBezTo>
                    <a:pt x="3242" y="778"/>
                    <a:pt x="3231" y="791"/>
                    <a:pt x="3215" y="792"/>
                  </a:cubicBezTo>
                  <a:cubicBezTo>
                    <a:pt x="3199" y="793"/>
                    <a:pt x="3185" y="782"/>
                    <a:pt x="3182" y="767"/>
                  </a:cubicBezTo>
                  <a:cubicBezTo>
                    <a:pt x="3180" y="752"/>
                    <a:pt x="3191" y="739"/>
                    <a:pt x="3207" y="738"/>
                  </a:cubicBezTo>
                  <a:close/>
                  <a:moveTo>
                    <a:pt x="3262" y="809"/>
                  </a:moveTo>
                  <a:cubicBezTo>
                    <a:pt x="3278" y="808"/>
                    <a:pt x="3293" y="819"/>
                    <a:pt x="3295" y="834"/>
                  </a:cubicBezTo>
                  <a:cubicBezTo>
                    <a:pt x="3298" y="848"/>
                    <a:pt x="3287" y="861"/>
                    <a:pt x="3271" y="863"/>
                  </a:cubicBezTo>
                  <a:cubicBezTo>
                    <a:pt x="3254" y="864"/>
                    <a:pt x="3239" y="853"/>
                    <a:pt x="3237" y="838"/>
                  </a:cubicBezTo>
                  <a:cubicBezTo>
                    <a:pt x="3235" y="823"/>
                    <a:pt x="3246" y="810"/>
                    <a:pt x="3262" y="809"/>
                  </a:cubicBezTo>
                  <a:close/>
                  <a:moveTo>
                    <a:pt x="3297" y="731"/>
                  </a:moveTo>
                  <a:cubicBezTo>
                    <a:pt x="3313" y="730"/>
                    <a:pt x="3328" y="741"/>
                    <a:pt x="3330" y="756"/>
                  </a:cubicBezTo>
                  <a:cubicBezTo>
                    <a:pt x="3333" y="771"/>
                    <a:pt x="3322" y="784"/>
                    <a:pt x="3306" y="785"/>
                  </a:cubicBezTo>
                  <a:cubicBezTo>
                    <a:pt x="3290" y="786"/>
                    <a:pt x="3275" y="775"/>
                    <a:pt x="3273" y="760"/>
                  </a:cubicBezTo>
                  <a:cubicBezTo>
                    <a:pt x="3270" y="746"/>
                    <a:pt x="3281" y="733"/>
                    <a:pt x="3297" y="731"/>
                  </a:cubicBezTo>
                  <a:close/>
                  <a:moveTo>
                    <a:pt x="3353" y="802"/>
                  </a:moveTo>
                  <a:cubicBezTo>
                    <a:pt x="3369" y="801"/>
                    <a:pt x="3384" y="812"/>
                    <a:pt x="3387" y="826"/>
                  </a:cubicBezTo>
                  <a:cubicBezTo>
                    <a:pt x="3389" y="841"/>
                    <a:pt x="3378" y="854"/>
                    <a:pt x="3362" y="856"/>
                  </a:cubicBezTo>
                  <a:cubicBezTo>
                    <a:pt x="3346" y="857"/>
                    <a:pt x="3331" y="846"/>
                    <a:pt x="3328" y="831"/>
                  </a:cubicBezTo>
                  <a:cubicBezTo>
                    <a:pt x="3326" y="816"/>
                    <a:pt x="3337" y="803"/>
                    <a:pt x="3353" y="802"/>
                  </a:cubicBezTo>
                  <a:close/>
                  <a:moveTo>
                    <a:pt x="3414" y="976"/>
                  </a:moveTo>
                  <a:cubicBezTo>
                    <a:pt x="3417" y="991"/>
                    <a:pt x="3406" y="1004"/>
                    <a:pt x="3389" y="1006"/>
                  </a:cubicBezTo>
                  <a:cubicBezTo>
                    <a:pt x="3373" y="1007"/>
                    <a:pt x="3357" y="996"/>
                    <a:pt x="3355" y="981"/>
                  </a:cubicBezTo>
                  <a:cubicBezTo>
                    <a:pt x="3352" y="967"/>
                    <a:pt x="3363" y="953"/>
                    <a:pt x="3380" y="952"/>
                  </a:cubicBezTo>
                  <a:cubicBezTo>
                    <a:pt x="3396" y="951"/>
                    <a:pt x="3412" y="962"/>
                    <a:pt x="3414" y="976"/>
                  </a:cubicBezTo>
                  <a:close/>
                  <a:moveTo>
                    <a:pt x="3415" y="874"/>
                  </a:moveTo>
                  <a:cubicBezTo>
                    <a:pt x="3431" y="873"/>
                    <a:pt x="3447" y="884"/>
                    <a:pt x="3449" y="898"/>
                  </a:cubicBezTo>
                  <a:cubicBezTo>
                    <a:pt x="3452" y="913"/>
                    <a:pt x="3441" y="926"/>
                    <a:pt x="3425" y="928"/>
                  </a:cubicBezTo>
                  <a:cubicBezTo>
                    <a:pt x="3409" y="929"/>
                    <a:pt x="3393" y="918"/>
                    <a:pt x="3390" y="904"/>
                  </a:cubicBezTo>
                  <a:cubicBezTo>
                    <a:pt x="3388" y="889"/>
                    <a:pt x="3399" y="876"/>
                    <a:pt x="3415" y="874"/>
                  </a:cubicBezTo>
                  <a:close/>
                  <a:moveTo>
                    <a:pt x="3473" y="944"/>
                  </a:moveTo>
                  <a:cubicBezTo>
                    <a:pt x="3489" y="943"/>
                    <a:pt x="3505" y="953"/>
                    <a:pt x="3508" y="968"/>
                  </a:cubicBezTo>
                  <a:cubicBezTo>
                    <a:pt x="3511" y="983"/>
                    <a:pt x="3500" y="996"/>
                    <a:pt x="3483" y="998"/>
                  </a:cubicBezTo>
                  <a:cubicBezTo>
                    <a:pt x="3467" y="999"/>
                    <a:pt x="3451" y="988"/>
                    <a:pt x="3448" y="973"/>
                  </a:cubicBezTo>
                  <a:cubicBezTo>
                    <a:pt x="3445" y="959"/>
                    <a:pt x="3456" y="946"/>
                    <a:pt x="3473" y="944"/>
                  </a:cubicBezTo>
                  <a:close/>
                  <a:moveTo>
                    <a:pt x="3507" y="866"/>
                  </a:moveTo>
                  <a:cubicBezTo>
                    <a:pt x="3523" y="865"/>
                    <a:pt x="3539" y="875"/>
                    <a:pt x="3542" y="890"/>
                  </a:cubicBezTo>
                  <a:cubicBezTo>
                    <a:pt x="3545" y="905"/>
                    <a:pt x="3534" y="918"/>
                    <a:pt x="3518" y="920"/>
                  </a:cubicBezTo>
                  <a:cubicBezTo>
                    <a:pt x="3501" y="921"/>
                    <a:pt x="3486" y="910"/>
                    <a:pt x="3483" y="896"/>
                  </a:cubicBezTo>
                  <a:cubicBezTo>
                    <a:pt x="3480" y="881"/>
                    <a:pt x="3491" y="868"/>
                    <a:pt x="3507" y="866"/>
                  </a:cubicBezTo>
                  <a:close/>
                  <a:moveTo>
                    <a:pt x="3566" y="935"/>
                  </a:moveTo>
                  <a:cubicBezTo>
                    <a:pt x="3582" y="934"/>
                    <a:pt x="3598" y="944"/>
                    <a:pt x="3602" y="959"/>
                  </a:cubicBezTo>
                  <a:cubicBezTo>
                    <a:pt x="3605" y="974"/>
                    <a:pt x="3594" y="987"/>
                    <a:pt x="3577" y="989"/>
                  </a:cubicBezTo>
                  <a:cubicBezTo>
                    <a:pt x="3561" y="990"/>
                    <a:pt x="3545" y="980"/>
                    <a:pt x="3542" y="965"/>
                  </a:cubicBezTo>
                  <a:cubicBezTo>
                    <a:pt x="3539" y="950"/>
                    <a:pt x="3550" y="937"/>
                    <a:pt x="3566" y="935"/>
                  </a:cubicBezTo>
                  <a:close/>
                  <a:moveTo>
                    <a:pt x="3634" y="1108"/>
                  </a:moveTo>
                  <a:cubicBezTo>
                    <a:pt x="3637" y="1123"/>
                    <a:pt x="3626" y="1137"/>
                    <a:pt x="3609" y="1138"/>
                  </a:cubicBezTo>
                  <a:cubicBezTo>
                    <a:pt x="3592" y="1140"/>
                    <a:pt x="3576" y="1129"/>
                    <a:pt x="3573" y="1115"/>
                  </a:cubicBezTo>
                  <a:cubicBezTo>
                    <a:pt x="3570" y="1100"/>
                    <a:pt x="3581" y="1087"/>
                    <a:pt x="3598" y="1085"/>
                  </a:cubicBezTo>
                  <a:cubicBezTo>
                    <a:pt x="3615" y="1083"/>
                    <a:pt x="3631" y="1094"/>
                    <a:pt x="3634" y="1108"/>
                  </a:cubicBezTo>
                  <a:close/>
                  <a:moveTo>
                    <a:pt x="3632" y="1007"/>
                  </a:moveTo>
                  <a:cubicBezTo>
                    <a:pt x="3648" y="1005"/>
                    <a:pt x="3665" y="1015"/>
                    <a:pt x="3668" y="1030"/>
                  </a:cubicBezTo>
                  <a:cubicBezTo>
                    <a:pt x="3671" y="1045"/>
                    <a:pt x="3660" y="1058"/>
                    <a:pt x="3644" y="1060"/>
                  </a:cubicBezTo>
                  <a:cubicBezTo>
                    <a:pt x="3627" y="1061"/>
                    <a:pt x="3611" y="1051"/>
                    <a:pt x="3607" y="1036"/>
                  </a:cubicBezTo>
                  <a:cubicBezTo>
                    <a:pt x="3604" y="1021"/>
                    <a:pt x="3615" y="1008"/>
                    <a:pt x="3632" y="1007"/>
                  </a:cubicBezTo>
                  <a:close/>
                  <a:moveTo>
                    <a:pt x="3659" y="926"/>
                  </a:moveTo>
                  <a:cubicBezTo>
                    <a:pt x="3676" y="924"/>
                    <a:pt x="3692" y="935"/>
                    <a:pt x="3695" y="950"/>
                  </a:cubicBezTo>
                  <a:cubicBezTo>
                    <a:pt x="3698" y="964"/>
                    <a:pt x="3688" y="978"/>
                    <a:pt x="3671" y="979"/>
                  </a:cubicBezTo>
                  <a:cubicBezTo>
                    <a:pt x="3655" y="981"/>
                    <a:pt x="3639" y="970"/>
                    <a:pt x="3635" y="956"/>
                  </a:cubicBezTo>
                  <a:cubicBezTo>
                    <a:pt x="3632" y="941"/>
                    <a:pt x="3643" y="928"/>
                    <a:pt x="3659" y="926"/>
                  </a:cubicBezTo>
                  <a:close/>
                  <a:moveTo>
                    <a:pt x="3730" y="1098"/>
                  </a:moveTo>
                  <a:cubicBezTo>
                    <a:pt x="3733" y="1113"/>
                    <a:pt x="3722" y="1127"/>
                    <a:pt x="3705" y="1128"/>
                  </a:cubicBezTo>
                  <a:cubicBezTo>
                    <a:pt x="3688" y="1130"/>
                    <a:pt x="3672" y="1120"/>
                    <a:pt x="3669" y="1105"/>
                  </a:cubicBezTo>
                  <a:cubicBezTo>
                    <a:pt x="3665" y="1090"/>
                    <a:pt x="3676" y="1077"/>
                    <a:pt x="3693" y="1075"/>
                  </a:cubicBezTo>
                  <a:cubicBezTo>
                    <a:pt x="3710" y="1073"/>
                    <a:pt x="3726" y="1084"/>
                    <a:pt x="3730" y="1098"/>
                  </a:cubicBezTo>
                  <a:close/>
                  <a:moveTo>
                    <a:pt x="3726" y="997"/>
                  </a:moveTo>
                  <a:cubicBezTo>
                    <a:pt x="3743" y="995"/>
                    <a:pt x="3759" y="1005"/>
                    <a:pt x="3763" y="1020"/>
                  </a:cubicBezTo>
                  <a:cubicBezTo>
                    <a:pt x="3766" y="1034"/>
                    <a:pt x="3755" y="1048"/>
                    <a:pt x="3739" y="1050"/>
                  </a:cubicBezTo>
                  <a:cubicBezTo>
                    <a:pt x="3722" y="1052"/>
                    <a:pt x="3706" y="1041"/>
                    <a:pt x="3702" y="1026"/>
                  </a:cubicBezTo>
                  <a:cubicBezTo>
                    <a:pt x="3699" y="1012"/>
                    <a:pt x="3709" y="998"/>
                    <a:pt x="3726" y="997"/>
                  </a:cubicBezTo>
                  <a:close/>
                  <a:moveTo>
                    <a:pt x="3752" y="916"/>
                  </a:moveTo>
                  <a:cubicBezTo>
                    <a:pt x="3769" y="914"/>
                    <a:pt x="3785" y="925"/>
                    <a:pt x="3789" y="939"/>
                  </a:cubicBezTo>
                  <a:cubicBezTo>
                    <a:pt x="3792" y="954"/>
                    <a:pt x="3782" y="967"/>
                    <a:pt x="3765" y="969"/>
                  </a:cubicBezTo>
                  <a:cubicBezTo>
                    <a:pt x="3749" y="971"/>
                    <a:pt x="3732" y="961"/>
                    <a:pt x="3729" y="946"/>
                  </a:cubicBezTo>
                  <a:cubicBezTo>
                    <a:pt x="3725" y="931"/>
                    <a:pt x="3736" y="918"/>
                    <a:pt x="3752" y="916"/>
                  </a:cubicBezTo>
                  <a:close/>
                  <a:moveTo>
                    <a:pt x="3826" y="1088"/>
                  </a:moveTo>
                  <a:cubicBezTo>
                    <a:pt x="3829" y="1102"/>
                    <a:pt x="3818" y="1116"/>
                    <a:pt x="3801" y="1118"/>
                  </a:cubicBezTo>
                  <a:cubicBezTo>
                    <a:pt x="3785" y="1120"/>
                    <a:pt x="3768" y="1109"/>
                    <a:pt x="3764" y="1095"/>
                  </a:cubicBezTo>
                  <a:cubicBezTo>
                    <a:pt x="3761" y="1080"/>
                    <a:pt x="3772" y="1067"/>
                    <a:pt x="3789" y="1065"/>
                  </a:cubicBezTo>
                  <a:cubicBezTo>
                    <a:pt x="3805" y="1063"/>
                    <a:pt x="3822" y="1073"/>
                    <a:pt x="3826" y="1088"/>
                  </a:cubicBezTo>
                  <a:close/>
                  <a:moveTo>
                    <a:pt x="3820" y="986"/>
                  </a:moveTo>
                  <a:cubicBezTo>
                    <a:pt x="3837" y="984"/>
                    <a:pt x="3853" y="994"/>
                    <a:pt x="3857" y="1009"/>
                  </a:cubicBezTo>
                  <a:cubicBezTo>
                    <a:pt x="3861" y="1024"/>
                    <a:pt x="3850" y="1037"/>
                    <a:pt x="3834" y="1039"/>
                  </a:cubicBezTo>
                  <a:cubicBezTo>
                    <a:pt x="3817" y="1041"/>
                    <a:pt x="3800" y="1031"/>
                    <a:pt x="3797" y="1016"/>
                  </a:cubicBezTo>
                  <a:cubicBezTo>
                    <a:pt x="3793" y="1001"/>
                    <a:pt x="3804" y="988"/>
                    <a:pt x="3820" y="986"/>
                  </a:cubicBezTo>
                  <a:close/>
                  <a:moveTo>
                    <a:pt x="3845" y="905"/>
                  </a:moveTo>
                  <a:cubicBezTo>
                    <a:pt x="3862" y="903"/>
                    <a:pt x="3878" y="914"/>
                    <a:pt x="3882" y="928"/>
                  </a:cubicBezTo>
                  <a:cubicBezTo>
                    <a:pt x="3886" y="943"/>
                    <a:pt x="3876" y="956"/>
                    <a:pt x="3859" y="958"/>
                  </a:cubicBezTo>
                  <a:cubicBezTo>
                    <a:pt x="3842" y="960"/>
                    <a:pt x="3826" y="950"/>
                    <a:pt x="3822" y="935"/>
                  </a:cubicBezTo>
                  <a:cubicBezTo>
                    <a:pt x="3819" y="921"/>
                    <a:pt x="3829" y="907"/>
                    <a:pt x="3845" y="905"/>
                  </a:cubicBezTo>
                  <a:close/>
                  <a:moveTo>
                    <a:pt x="3884" y="1054"/>
                  </a:moveTo>
                  <a:cubicBezTo>
                    <a:pt x="3901" y="1052"/>
                    <a:pt x="3917" y="1062"/>
                    <a:pt x="3921" y="1076"/>
                  </a:cubicBezTo>
                  <a:cubicBezTo>
                    <a:pt x="3925" y="1091"/>
                    <a:pt x="3915" y="1104"/>
                    <a:pt x="3898" y="1106"/>
                  </a:cubicBezTo>
                  <a:cubicBezTo>
                    <a:pt x="3881" y="1109"/>
                    <a:pt x="3864" y="1098"/>
                    <a:pt x="3860" y="1084"/>
                  </a:cubicBezTo>
                  <a:cubicBezTo>
                    <a:pt x="3856" y="1069"/>
                    <a:pt x="3867" y="1056"/>
                    <a:pt x="3884" y="1054"/>
                  </a:cubicBezTo>
                  <a:close/>
                  <a:moveTo>
                    <a:pt x="3914" y="975"/>
                  </a:moveTo>
                  <a:cubicBezTo>
                    <a:pt x="3931" y="973"/>
                    <a:pt x="3948" y="983"/>
                    <a:pt x="3952" y="997"/>
                  </a:cubicBezTo>
                  <a:cubicBezTo>
                    <a:pt x="3956" y="1012"/>
                    <a:pt x="3945" y="1026"/>
                    <a:pt x="3929" y="1028"/>
                  </a:cubicBezTo>
                  <a:cubicBezTo>
                    <a:pt x="3912" y="1030"/>
                    <a:pt x="3895" y="1019"/>
                    <a:pt x="3891" y="1005"/>
                  </a:cubicBezTo>
                  <a:cubicBezTo>
                    <a:pt x="3887" y="990"/>
                    <a:pt x="3898" y="977"/>
                    <a:pt x="3914" y="975"/>
                  </a:cubicBezTo>
                  <a:close/>
                  <a:moveTo>
                    <a:pt x="3938" y="894"/>
                  </a:moveTo>
                  <a:cubicBezTo>
                    <a:pt x="3955" y="892"/>
                    <a:pt x="3971" y="902"/>
                    <a:pt x="3975" y="917"/>
                  </a:cubicBezTo>
                  <a:cubicBezTo>
                    <a:pt x="3979" y="931"/>
                    <a:pt x="3969" y="945"/>
                    <a:pt x="3953" y="947"/>
                  </a:cubicBezTo>
                  <a:cubicBezTo>
                    <a:pt x="3936" y="949"/>
                    <a:pt x="3920" y="939"/>
                    <a:pt x="3916" y="924"/>
                  </a:cubicBezTo>
                  <a:cubicBezTo>
                    <a:pt x="3912" y="910"/>
                    <a:pt x="3922" y="896"/>
                    <a:pt x="3938" y="894"/>
                  </a:cubicBezTo>
                  <a:close/>
                  <a:moveTo>
                    <a:pt x="3979" y="1042"/>
                  </a:moveTo>
                  <a:cubicBezTo>
                    <a:pt x="3996" y="1040"/>
                    <a:pt x="4013" y="1050"/>
                    <a:pt x="4017" y="1064"/>
                  </a:cubicBezTo>
                  <a:cubicBezTo>
                    <a:pt x="4021" y="1079"/>
                    <a:pt x="4011" y="1092"/>
                    <a:pt x="3994" y="1095"/>
                  </a:cubicBezTo>
                  <a:cubicBezTo>
                    <a:pt x="3977" y="1097"/>
                    <a:pt x="3960" y="1087"/>
                    <a:pt x="3956" y="1072"/>
                  </a:cubicBezTo>
                  <a:cubicBezTo>
                    <a:pt x="3952" y="1057"/>
                    <a:pt x="3962" y="1044"/>
                    <a:pt x="3979" y="1042"/>
                  </a:cubicBezTo>
                  <a:close/>
                  <a:moveTo>
                    <a:pt x="4008" y="963"/>
                  </a:moveTo>
                  <a:cubicBezTo>
                    <a:pt x="4025" y="961"/>
                    <a:pt x="4042" y="971"/>
                    <a:pt x="4046" y="985"/>
                  </a:cubicBezTo>
                  <a:cubicBezTo>
                    <a:pt x="4050" y="1000"/>
                    <a:pt x="4040" y="1013"/>
                    <a:pt x="4024" y="1016"/>
                  </a:cubicBezTo>
                  <a:cubicBezTo>
                    <a:pt x="4007" y="1018"/>
                    <a:pt x="3990" y="1008"/>
                    <a:pt x="3986" y="993"/>
                  </a:cubicBezTo>
                  <a:cubicBezTo>
                    <a:pt x="3982" y="979"/>
                    <a:pt x="3992" y="965"/>
                    <a:pt x="4008" y="963"/>
                  </a:cubicBezTo>
                  <a:close/>
                  <a:moveTo>
                    <a:pt x="4031" y="882"/>
                  </a:moveTo>
                  <a:cubicBezTo>
                    <a:pt x="4047" y="880"/>
                    <a:pt x="4064" y="890"/>
                    <a:pt x="4069" y="904"/>
                  </a:cubicBezTo>
                  <a:cubicBezTo>
                    <a:pt x="4073" y="919"/>
                    <a:pt x="4063" y="932"/>
                    <a:pt x="4046" y="935"/>
                  </a:cubicBezTo>
                  <a:cubicBezTo>
                    <a:pt x="4030" y="937"/>
                    <a:pt x="4013" y="927"/>
                    <a:pt x="4009" y="912"/>
                  </a:cubicBezTo>
                  <a:cubicBezTo>
                    <a:pt x="4005" y="898"/>
                    <a:pt x="4015" y="884"/>
                    <a:pt x="4031" y="882"/>
                  </a:cubicBezTo>
                  <a:close/>
                  <a:moveTo>
                    <a:pt x="4074" y="1029"/>
                  </a:moveTo>
                  <a:cubicBezTo>
                    <a:pt x="4091" y="1027"/>
                    <a:pt x="4108" y="1037"/>
                    <a:pt x="4112" y="1051"/>
                  </a:cubicBezTo>
                  <a:cubicBezTo>
                    <a:pt x="4117" y="1066"/>
                    <a:pt x="4107" y="1080"/>
                    <a:pt x="4090" y="1082"/>
                  </a:cubicBezTo>
                  <a:cubicBezTo>
                    <a:pt x="4073" y="1084"/>
                    <a:pt x="4056" y="1074"/>
                    <a:pt x="4051" y="1060"/>
                  </a:cubicBezTo>
                  <a:cubicBezTo>
                    <a:pt x="4047" y="1045"/>
                    <a:pt x="4057" y="1032"/>
                    <a:pt x="4074" y="1029"/>
                  </a:cubicBezTo>
                  <a:close/>
                  <a:moveTo>
                    <a:pt x="4103" y="950"/>
                  </a:moveTo>
                  <a:cubicBezTo>
                    <a:pt x="4119" y="948"/>
                    <a:pt x="4136" y="958"/>
                    <a:pt x="4141" y="972"/>
                  </a:cubicBezTo>
                  <a:cubicBezTo>
                    <a:pt x="4145" y="987"/>
                    <a:pt x="4135" y="1000"/>
                    <a:pt x="4118" y="1003"/>
                  </a:cubicBezTo>
                  <a:cubicBezTo>
                    <a:pt x="4102" y="1005"/>
                    <a:pt x="4085" y="995"/>
                    <a:pt x="4080" y="981"/>
                  </a:cubicBezTo>
                  <a:cubicBezTo>
                    <a:pt x="4076" y="966"/>
                    <a:pt x="4086" y="953"/>
                    <a:pt x="4103" y="950"/>
                  </a:cubicBezTo>
                  <a:close/>
                  <a:moveTo>
                    <a:pt x="4147" y="1097"/>
                  </a:moveTo>
                  <a:cubicBezTo>
                    <a:pt x="4164" y="1095"/>
                    <a:pt x="4181" y="1105"/>
                    <a:pt x="4186" y="1119"/>
                  </a:cubicBezTo>
                  <a:cubicBezTo>
                    <a:pt x="4190" y="1134"/>
                    <a:pt x="4180" y="1147"/>
                    <a:pt x="4163" y="1150"/>
                  </a:cubicBezTo>
                  <a:cubicBezTo>
                    <a:pt x="4146" y="1152"/>
                    <a:pt x="4128" y="1142"/>
                    <a:pt x="4124" y="1128"/>
                  </a:cubicBezTo>
                  <a:cubicBezTo>
                    <a:pt x="4120" y="1113"/>
                    <a:pt x="4130" y="1100"/>
                    <a:pt x="4147" y="1097"/>
                  </a:cubicBezTo>
                  <a:close/>
                  <a:moveTo>
                    <a:pt x="4169" y="1016"/>
                  </a:moveTo>
                  <a:cubicBezTo>
                    <a:pt x="4186" y="1014"/>
                    <a:pt x="4203" y="1024"/>
                    <a:pt x="4208" y="1038"/>
                  </a:cubicBezTo>
                  <a:cubicBezTo>
                    <a:pt x="4213" y="1052"/>
                    <a:pt x="4203" y="1066"/>
                    <a:pt x="4186" y="1069"/>
                  </a:cubicBezTo>
                  <a:cubicBezTo>
                    <a:pt x="4169" y="1071"/>
                    <a:pt x="4151" y="1061"/>
                    <a:pt x="4147" y="1047"/>
                  </a:cubicBezTo>
                  <a:cubicBezTo>
                    <a:pt x="4143" y="1032"/>
                    <a:pt x="4153" y="1019"/>
                    <a:pt x="4169" y="1016"/>
                  </a:cubicBezTo>
                  <a:close/>
                  <a:moveTo>
                    <a:pt x="4196" y="937"/>
                  </a:moveTo>
                  <a:cubicBezTo>
                    <a:pt x="4213" y="935"/>
                    <a:pt x="4230" y="944"/>
                    <a:pt x="4235" y="959"/>
                  </a:cubicBezTo>
                  <a:cubicBezTo>
                    <a:pt x="4240" y="973"/>
                    <a:pt x="4230" y="987"/>
                    <a:pt x="4213" y="989"/>
                  </a:cubicBezTo>
                  <a:cubicBezTo>
                    <a:pt x="4196" y="992"/>
                    <a:pt x="4179" y="982"/>
                    <a:pt x="4175" y="967"/>
                  </a:cubicBezTo>
                  <a:cubicBezTo>
                    <a:pt x="4170" y="953"/>
                    <a:pt x="4180" y="939"/>
                    <a:pt x="4196" y="937"/>
                  </a:cubicBezTo>
                  <a:close/>
                  <a:moveTo>
                    <a:pt x="4243" y="1084"/>
                  </a:moveTo>
                  <a:cubicBezTo>
                    <a:pt x="4260" y="1081"/>
                    <a:pt x="4278" y="1091"/>
                    <a:pt x="4282" y="1105"/>
                  </a:cubicBezTo>
                  <a:cubicBezTo>
                    <a:pt x="4287" y="1120"/>
                    <a:pt x="4277" y="1133"/>
                    <a:pt x="4260" y="1136"/>
                  </a:cubicBezTo>
                  <a:cubicBezTo>
                    <a:pt x="4243" y="1138"/>
                    <a:pt x="4225" y="1129"/>
                    <a:pt x="4221" y="1114"/>
                  </a:cubicBezTo>
                  <a:cubicBezTo>
                    <a:pt x="4216" y="1100"/>
                    <a:pt x="4226" y="1086"/>
                    <a:pt x="4243" y="1084"/>
                  </a:cubicBezTo>
                  <a:close/>
                  <a:moveTo>
                    <a:pt x="4264" y="1002"/>
                  </a:moveTo>
                  <a:cubicBezTo>
                    <a:pt x="4281" y="1000"/>
                    <a:pt x="4299" y="1009"/>
                    <a:pt x="4303" y="1024"/>
                  </a:cubicBezTo>
                  <a:cubicBezTo>
                    <a:pt x="4308" y="1038"/>
                    <a:pt x="4298" y="1052"/>
                    <a:pt x="4281" y="1055"/>
                  </a:cubicBezTo>
                  <a:cubicBezTo>
                    <a:pt x="4265" y="1057"/>
                    <a:pt x="4247" y="1047"/>
                    <a:pt x="4242" y="1033"/>
                  </a:cubicBezTo>
                  <a:cubicBezTo>
                    <a:pt x="4238" y="1019"/>
                    <a:pt x="4248" y="1005"/>
                    <a:pt x="4264" y="1002"/>
                  </a:cubicBezTo>
                  <a:close/>
                  <a:moveTo>
                    <a:pt x="4290" y="923"/>
                  </a:moveTo>
                  <a:cubicBezTo>
                    <a:pt x="4307" y="921"/>
                    <a:pt x="4324" y="930"/>
                    <a:pt x="4329" y="944"/>
                  </a:cubicBezTo>
                  <a:cubicBezTo>
                    <a:pt x="4334" y="959"/>
                    <a:pt x="4325" y="973"/>
                    <a:pt x="4308" y="975"/>
                  </a:cubicBezTo>
                  <a:cubicBezTo>
                    <a:pt x="4291" y="978"/>
                    <a:pt x="4274" y="968"/>
                    <a:pt x="4269" y="954"/>
                  </a:cubicBezTo>
                  <a:cubicBezTo>
                    <a:pt x="4264" y="939"/>
                    <a:pt x="4274" y="926"/>
                    <a:pt x="4290" y="923"/>
                  </a:cubicBezTo>
                  <a:close/>
                  <a:moveTo>
                    <a:pt x="4339" y="1069"/>
                  </a:moveTo>
                  <a:cubicBezTo>
                    <a:pt x="4356" y="1067"/>
                    <a:pt x="4374" y="1076"/>
                    <a:pt x="4379" y="1090"/>
                  </a:cubicBezTo>
                  <a:cubicBezTo>
                    <a:pt x="4384" y="1105"/>
                    <a:pt x="4374" y="1119"/>
                    <a:pt x="4357" y="1121"/>
                  </a:cubicBezTo>
                  <a:cubicBezTo>
                    <a:pt x="4340" y="1124"/>
                    <a:pt x="4322" y="1114"/>
                    <a:pt x="4317" y="1100"/>
                  </a:cubicBezTo>
                  <a:cubicBezTo>
                    <a:pt x="4313" y="1085"/>
                    <a:pt x="4322" y="1072"/>
                    <a:pt x="4339" y="1069"/>
                  </a:cubicBezTo>
                  <a:close/>
                  <a:moveTo>
                    <a:pt x="4359" y="988"/>
                  </a:moveTo>
                  <a:cubicBezTo>
                    <a:pt x="4376" y="985"/>
                    <a:pt x="4394" y="995"/>
                    <a:pt x="4399" y="1009"/>
                  </a:cubicBezTo>
                  <a:cubicBezTo>
                    <a:pt x="4404" y="1023"/>
                    <a:pt x="4394" y="1037"/>
                    <a:pt x="4377" y="1040"/>
                  </a:cubicBezTo>
                  <a:cubicBezTo>
                    <a:pt x="4360" y="1043"/>
                    <a:pt x="4343" y="1033"/>
                    <a:pt x="4338" y="1019"/>
                  </a:cubicBezTo>
                  <a:cubicBezTo>
                    <a:pt x="4333" y="1004"/>
                    <a:pt x="4343" y="990"/>
                    <a:pt x="4359" y="988"/>
                  </a:cubicBezTo>
                  <a:close/>
                  <a:moveTo>
                    <a:pt x="4384" y="908"/>
                  </a:moveTo>
                  <a:cubicBezTo>
                    <a:pt x="4401" y="906"/>
                    <a:pt x="4418" y="915"/>
                    <a:pt x="4423" y="930"/>
                  </a:cubicBezTo>
                  <a:cubicBezTo>
                    <a:pt x="4428" y="944"/>
                    <a:pt x="4419" y="958"/>
                    <a:pt x="4402" y="960"/>
                  </a:cubicBezTo>
                  <a:cubicBezTo>
                    <a:pt x="4386" y="963"/>
                    <a:pt x="4368" y="954"/>
                    <a:pt x="4363" y="939"/>
                  </a:cubicBezTo>
                  <a:cubicBezTo>
                    <a:pt x="4358" y="925"/>
                    <a:pt x="4368" y="911"/>
                    <a:pt x="4384" y="908"/>
                  </a:cubicBezTo>
                  <a:close/>
                  <a:moveTo>
                    <a:pt x="4435" y="1054"/>
                  </a:moveTo>
                  <a:cubicBezTo>
                    <a:pt x="4452" y="1051"/>
                    <a:pt x="4470" y="1061"/>
                    <a:pt x="4475" y="1075"/>
                  </a:cubicBezTo>
                  <a:cubicBezTo>
                    <a:pt x="4481" y="1089"/>
                    <a:pt x="4471" y="1103"/>
                    <a:pt x="4454" y="1106"/>
                  </a:cubicBezTo>
                  <a:cubicBezTo>
                    <a:pt x="4437" y="1109"/>
                    <a:pt x="4419" y="1099"/>
                    <a:pt x="4414" y="1085"/>
                  </a:cubicBezTo>
                  <a:cubicBezTo>
                    <a:pt x="4409" y="1071"/>
                    <a:pt x="4419" y="1057"/>
                    <a:pt x="4435" y="1054"/>
                  </a:cubicBezTo>
                  <a:close/>
                  <a:moveTo>
                    <a:pt x="4454" y="973"/>
                  </a:moveTo>
                  <a:cubicBezTo>
                    <a:pt x="4471" y="970"/>
                    <a:pt x="4489" y="979"/>
                    <a:pt x="4494" y="994"/>
                  </a:cubicBezTo>
                  <a:cubicBezTo>
                    <a:pt x="4499" y="1008"/>
                    <a:pt x="4490" y="1022"/>
                    <a:pt x="4473" y="1024"/>
                  </a:cubicBezTo>
                  <a:cubicBezTo>
                    <a:pt x="4456" y="1027"/>
                    <a:pt x="4438" y="1018"/>
                    <a:pt x="4433" y="1004"/>
                  </a:cubicBezTo>
                  <a:cubicBezTo>
                    <a:pt x="4428" y="989"/>
                    <a:pt x="4438" y="975"/>
                    <a:pt x="4454" y="973"/>
                  </a:cubicBezTo>
                  <a:close/>
                  <a:moveTo>
                    <a:pt x="4507" y="1118"/>
                  </a:moveTo>
                  <a:cubicBezTo>
                    <a:pt x="4524" y="1115"/>
                    <a:pt x="4542" y="1124"/>
                    <a:pt x="4547" y="1139"/>
                  </a:cubicBezTo>
                  <a:cubicBezTo>
                    <a:pt x="4552" y="1153"/>
                    <a:pt x="4543" y="1167"/>
                    <a:pt x="4525" y="1170"/>
                  </a:cubicBezTo>
                  <a:cubicBezTo>
                    <a:pt x="4508" y="1173"/>
                    <a:pt x="4490" y="1163"/>
                    <a:pt x="4485" y="1149"/>
                  </a:cubicBezTo>
                  <a:cubicBezTo>
                    <a:pt x="4480" y="1135"/>
                    <a:pt x="4490" y="1121"/>
                    <a:pt x="4507" y="1118"/>
                  </a:cubicBezTo>
                  <a:close/>
                  <a:moveTo>
                    <a:pt x="4559" y="1263"/>
                  </a:moveTo>
                  <a:cubicBezTo>
                    <a:pt x="4577" y="1260"/>
                    <a:pt x="4595" y="1270"/>
                    <a:pt x="4600" y="1284"/>
                  </a:cubicBezTo>
                  <a:cubicBezTo>
                    <a:pt x="4606" y="1298"/>
                    <a:pt x="4595" y="1312"/>
                    <a:pt x="4578" y="1315"/>
                  </a:cubicBezTo>
                  <a:cubicBezTo>
                    <a:pt x="4560" y="1318"/>
                    <a:pt x="4542" y="1309"/>
                    <a:pt x="4537" y="1294"/>
                  </a:cubicBezTo>
                  <a:cubicBezTo>
                    <a:pt x="4531" y="1280"/>
                    <a:pt x="4542" y="1266"/>
                    <a:pt x="4559" y="1263"/>
                  </a:cubicBezTo>
                  <a:close/>
                  <a:moveTo>
                    <a:pt x="4556" y="1397"/>
                  </a:moveTo>
                  <a:cubicBezTo>
                    <a:pt x="4539" y="1400"/>
                    <a:pt x="4520" y="1391"/>
                    <a:pt x="4515" y="1376"/>
                  </a:cubicBezTo>
                  <a:cubicBezTo>
                    <a:pt x="4510" y="1362"/>
                    <a:pt x="4520" y="1348"/>
                    <a:pt x="4538" y="1345"/>
                  </a:cubicBezTo>
                  <a:cubicBezTo>
                    <a:pt x="4556" y="1342"/>
                    <a:pt x="4574" y="1351"/>
                    <a:pt x="4580" y="1366"/>
                  </a:cubicBezTo>
                  <a:cubicBezTo>
                    <a:pt x="4585" y="1380"/>
                    <a:pt x="4574" y="1394"/>
                    <a:pt x="4556" y="1397"/>
                  </a:cubicBezTo>
                  <a:close/>
                  <a:moveTo>
                    <a:pt x="4560" y="1571"/>
                  </a:moveTo>
                  <a:cubicBezTo>
                    <a:pt x="4578" y="1568"/>
                    <a:pt x="4597" y="1577"/>
                    <a:pt x="4602" y="1592"/>
                  </a:cubicBezTo>
                  <a:cubicBezTo>
                    <a:pt x="4607" y="1606"/>
                    <a:pt x="4596" y="1620"/>
                    <a:pt x="4578" y="1623"/>
                  </a:cubicBezTo>
                  <a:cubicBezTo>
                    <a:pt x="4559" y="1626"/>
                    <a:pt x="4540" y="1617"/>
                    <a:pt x="4535" y="1603"/>
                  </a:cubicBezTo>
                  <a:cubicBezTo>
                    <a:pt x="4531" y="1588"/>
                    <a:pt x="4542" y="1574"/>
                    <a:pt x="4560" y="1571"/>
                  </a:cubicBezTo>
                  <a:close/>
                  <a:moveTo>
                    <a:pt x="4553" y="1706"/>
                  </a:moveTo>
                  <a:cubicBezTo>
                    <a:pt x="4534" y="1709"/>
                    <a:pt x="4515" y="1699"/>
                    <a:pt x="4511" y="1685"/>
                  </a:cubicBezTo>
                  <a:cubicBezTo>
                    <a:pt x="4506" y="1670"/>
                    <a:pt x="4517" y="1656"/>
                    <a:pt x="4536" y="1653"/>
                  </a:cubicBezTo>
                  <a:cubicBezTo>
                    <a:pt x="4554" y="1650"/>
                    <a:pt x="4573" y="1660"/>
                    <a:pt x="4578" y="1674"/>
                  </a:cubicBezTo>
                  <a:cubicBezTo>
                    <a:pt x="4583" y="1688"/>
                    <a:pt x="4572" y="1703"/>
                    <a:pt x="4553" y="1706"/>
                  </a:cubicBezTo>
                  <a:close/>
                  <a:moveTo>
                    <a:pt x="4595" y="1901"/>
                  </a:moveTo>
                  <a:cubicBezTo>
                    <a:pt x="4600" y="1915"/>
                    <a:pt x="4588" y="1930"/>
                    <a:pt x="4568" y="1933"/>
                  </a:cubicBezTo>
                  <a:cubicBezTo>
                    <a:pt x="4549" y="1936"/>
                    <a:pt x="4530" y="1926"/>
                    <a:pt x="4525" y="1912"/>
                  </a:cubicBezTo>
                  <a:cubicBezTo>
                    <a:pt x="4520" y="1898"/>
                    <a:pt x="4532" y="1883"/>
                    <a:pt x="4551" y="1880"/>
                  </a:cubicBezTo>
                  <a:cubicBezTo>
                    <a:pt x="4571" y="1877"/>
                    <a:pt x="4590" y="1887"/>
                    <a:pt x="4595" y="1901"/>
                  </a:cubicBezTo>
                  <a:close/>
                  <a:moveTo>
                    <a:pt x="4570" y="2110"/>
                  </a:moveTo>
                  <a:cubicBezTo>
                    <a:pt x="4590" y="2107"/>
                    <a:pt x="4610" y="2116"/>
                    <a:pt x="4615" y="2130"/>
                  </a:cubicBezTo>
                  <a:cubicBezTo>
                    <a:pt x="4619" y="2145"/>
                    <a:pt x="4607" y="2159"/>
                    <a:pt x="4587" y="2162"/>
                  </a:cubicBezTo>
                  <a:cubicBezTo>
                    <a:pt x="4567" y="2165"/>
                    <a:pt x="4547" y="2156"/>
                    <a:pt x="4543" y="2141"/>
                  </a:cubicBezTo>
                  <a:cubicBezTo>
                    <a:pt x="4538" y="2127"/>
                    <a:pt x="4551" y="2113"/>
                    <a:pt x="4570" y="2110"/>
                  </a:cubicBezTo>
                  <a:close/>
                  <a:moveTo>
                    <a:pt x="4624" y="2358"/>
                  </a:moveTo>
                  <a:cubicBezTo>
                    <a:pt x="4629" y="2373"/>
                    <a:pt x="4616" y="2387"/>
                    <a:pt x="4595" y="2390"/>
                  </a:cubicBezTo>
                  <a:cubicBezTo>
                    <a:pt x="4575" y="2393"/>
                    <a:pt x="4555" y="2384"/>
                    <a:pt x="4550" y="2370"/>
                  </a:cubicBezTo>
                  <a:cubicBezTo>
                    <a:pt x="4546" y="2355"/>
                    <a:pt x="4559" y="2341"/>
                    <a:pt x="4579" y="2338"/>
                  </a:cubicBezTo>
                  <a:cubicBezTo>
                    <a:pt x="4600" y="2335"/>
                    <a:pt x="4620" y="2344"/>
                    <a:pt x="4624" y="2358"/>
                  </a:cubicBezTo>
                  <a:close/>
                  <a:moveTo>
                    <a:pt x="4563" y="2473"/>
                  </a:moveTo>
                  <a:cubicBezTo>
                    <a:pt x="4542" y="2477"/>
                    <a:pt x="4522" y="2467"/>
                    <a:pt x="4517" y="2453"/>
                  </a:cubicBezTo>
                  <a:cubicBezTo>
                    <a:pt x="4513" y="2438"/>
                    <a:pt x="4526" y="2424"/>
                    <a:pt x="4547" y="2421"/>
                  </a:cubicBezTo>
                  <a:cubicBezTo>
                    <a:pt x="4568" y="2418"/>
                    <a:pt x="4588" y="2427"/>
                    <a:pt x="4592" y="2441"/>
                  </a:cubicBezTo>
                  <a:cubicBezTo>
                    <a:pt x="4597" y="2456"/>
                    <a:pt x="4584" y="2470"/>
                    <a:pt x="4563" y="2473"/>
                  </a:cubicBezTo>
                  <a:close/>
                  <a:moveTo>
                    <a:pt x="4596" y="2670"/>
                  </a:moveTo>
                  <a:cubicBezTo>
                    <a:pt x="4601" y="2685"/>
                    <a:pt x="4587" y="2699"/>
                    <a:pt x="4565" y="2702"/>
                  </a:cubicBezTo>
                  <a:cubicBezTo>
                    <a:pt x="4544" y="2706"/>
                    <a:pt x="4523" y="2696"/>
                    <a:pt x="4519" y="2682"/>
                  </a:cubicBezTo>
                  <a:cubicBezTo>
                    <a:pt x="4515" y="2667"/>
                    <a:pt x="4529" y="2653"/>
                    <a:pt x="4550" y="2650"/>
                  </a:cubicBezTo>
                  <a:cubicBezTo>
                    <a:pt x="4571" y="2647"/>
                    <a:pt x="4592" y="2656"/>
                    <a:pt x="4596" y="2670"/>
                  </a:cubicBezTo>
                  <a:close/>
                  <a:moveTo>
                    <a:pt x="4529" y="2786"/>
                  </a:moveTo>
                  <a:cubicBezTo>
                    <a:pt x="4508" y="2789"/>
                    <a:pt x="4487" y="2780"/>
                    <a:pt x="4483" y="2765"/>
                  </a:cubicBezTo>
                  <a:cubicBezTo>
                    <a:pt x="4479" y="2751"/>
                    <a:pt x="4493" y="2736"/>
                    <a:pt x="4514" y="2733"/>
                  </a:cubicBezTo>
                  <a:cubicBezTo>
                    <a:pt x="4536" y="2730"/>
                    <a:pt x="4557" y="2739"/>
                    <a:pt x="4561" y="2754"/>
                  </a:cubicBezTo>
                  <a:cubicBezTo>
                    <a:pt x="4565" y="2768"/>
                    <a:pt x="4551" y="2783"/>
                    <a:pt x="4529" y="2786"/>
                  </a:cubicBezTo>
                  <a:close/>
                  <a:moveTo>
                    <a:pt x="4485" y="2868"/>
                  </a:moveTo>
                  <a:cubicBezTo>
                    <a:pt x="4463" y="2871"/>
                    <a:pt x="4442" y="2862"/>
                    <a:pt x="4438" y="2847"/>
                  </a:cubicBezTo>
                  <a:cubicBezTo>
                    <a:pt x="4434" y="2832"/>
                    <a:pt x="4449" y="2818"/>
                    <a:pt x="4470" y="2815"/>
                  </a:cubicBezTo>
                  <a:cubicBezTo>
                    <a:pt x="4492" y="2812"/>
                    <a:pt x="4513" y="2821"/>
                    <a:pt x="4517" y="2836"/>
                  </a:cubicBezTo>
                  <a:cubicBezTo>
                    <a:pt x="4521" y="2850"/>
                    <a:pt x="4507" y="2865"/>
                    <a:pt x="4485" y="2868"/>
                  </a:cubicBezTo>
                  <a:close/>
                  <a:moveTo>
                    <a:pt x="4407" y="2803"/>
                  </a:moveTo>
                  <a:cubicBezTo>
                    <a:pt x="4385" y="2806"/>
                    <a:pt x="4365" y="2797"/>
                    <a:pt x="4361" y="2782"/>
                  </a:cubicBezTo>
                  <a:cubicBezTo>
                    <a:pt x="4357" y="2768"/>
                    <a:pt x="4371" y="2754"/>
                    <a:pt x="4393" y="2751"/>
                  </a:cubicBezTo>
                  <a:cubicBezTo>
                    <a:pt x="4414" y="2748"/>
                    <a:pt x="4435" y="2757"/>
                    <a:pt x="4439" y="2772"/>
                  </a:cubicBezTo>
                  <a:cubicBezTo>
                    <a:pt x="4443" y="2786"/>
                    <a:pt x="4428" y="2800"/>
                    <a:pt x="4407" y="2803"/>
                  </a:cubicBezTo>
                  <a:close/>
                  <a:moveTo>
                    <a:pt x="4361" y="2885"/>
                  </a:moveTo>
                  <a:cubicBezTo>
                    <a:pt x="4339" y="2888"/>
                    <a:pt x="4319" y="2878"/>
                    <a:pt x="4315" y="2864"/>
                  </a:cubicBezTo>
                  <a:cubicBezTo>
                    <a:pt x="4311" y="2849"/>
                    <a:pt x="4326" y="2835"/>
                    <a:pt x="4347" y="2832"/>
                  </a:cubicBezTo>
                  <a:cubicBezTo>
                    <a:pt x="4369" y="2829"/>
                    <a:pt x="4390" y="2839"/>
                    <a:pt x="4394" y="2853"/>
                  </a:cubicBezTo>
                  <a:cubicBezTo>
                    <a:pt x="4398" y="2868"/>
                    <a:pt x="4383" y="2882"/>
                    <a:pt x="4361" y="2885"/>
                  </a:cubicBezTo>
                  <a:close/>
                  <a:moveTo>
                    <a:pt x="4284" y="2820"/>
                  </a:moveTo>
                  <a:cubicBezTo>
                    <a:pt x="4263" y="2823"/>
                    <a:pt x="4242" y="2813"/>
                    <a:pt x="4238" y="2799"/>
                  </a:cubicBezTo>
                  <a:cubicBezTo>
                    <a:pt x="4235" y="2784"/>
                    <a:pt x="4249" y="2770"/>
                    <a:pt x="4271" y="2767"/>
                  </a:cubicBezTo>
                  <a:cubicBezTo>
                    <a:pt x="4292" y="2764"/>
                    <a:pt x="4313" y="2774"/>
                    <a:pt x="4317" y="2788"/>
                  </a:cubicBezTo>
                  <a:cubicBezTo>
                    <a:pt x="4320" y="2803"/>
                    <a:pt x="4306" y="2817"/>
                    <a:pt x="4284" y="2820"/>
                  </a:cubicBezTo>
                  <a:close/>
                  <a:moveTo>
                    <a:pt x="4237" y="2901"/>
                  </a:moveTo>
                  <a:cubicBezTo>
                    <a:pt x="4216" y="2904"/>
                    <a:pt x="4195" y="2895"/>
                    <a:pt x="4192" y="2880"/>
                  </a:cubicBezTo>
                  <a:cubicBezTo>
                    <a:pt x="4188" y="2865"/>
                    <a:pt x="4203" y="2851"/>
                    <a:pt x="4224" y="2848"/>
                  </a:cubicBezTo>
                  <a:cubicBezTo>
                    <a:pt x="4246" y="2846"/>
                    <a:pt x="4267" y="2855"/>
                    <a:pt x="4270" y="2870"/>
                  </a:cubicBezTo>
                  <a:cubicBezTo>
                    <a:pt x="4274" y="2884"/>
                    <a:pt x="4259" y="2899"/>
                    <a:pt x="4237" y="2901"/>
                  </a:cubicBezTo>
                  <a:close/>
                  <a:moveTo>
                    <a:pt x="4161" y="2836"/>
                  </a:moveTo>
                  <a:cubicBezTo>
                    <a:pt x="4140" y="2838"/>
                    <a:pt x="4120" y="2829"/>
                    <a:pt x="4116" y="2814"/>
                  </a:cubicBezTo>
                  <a:cubicBezTo>
                    <a:pt x="4113" y="2799"/>
                    <a:pt x="4127" y="2785"/>
                    <a:pt x="4149" y="2783"/>
                  </a:cubicBezTo>
                  <a:cubicBezTo>
                    <a:pt x="4170" y="2780"/>
                    <a:pt x="4191" y="2790"/>
                    <a:pt x="4194" y="2804"/>
                  </a:cubicBezTo>
                  <a:cubicBezTo>
                    <a:pt x="4198" y="2819"/>
                    <a:pt x="4183" y="2833"/>
                    <a:pt x="4161" y="2836"/>
                  </a:cubicBezTo>
                  <a:close/>
                  <a:moveTo>
                    <a:pt x="4082" y="2665"/>
                  </a:moveTo>
                  <a:cubicBezTo>
                    <a:pt x="4078" y="2650"/>
                    <a:pt x="4093" y="2636"/>
                    <a:pt x="4114" y="2634"/>
                  </a:cubicBezTo>
                  <a:cubicBezTo>
                    <a:pt x="4135" y="2631"/>
                    <a:pt x="4155" y="2641"/>
                    <a:pt x="4158" y="2656"/>
                  </a:cubicBezTo>
                  <a:cubicBezTo>
                    <a:pt x="4162" y="2670"/>
                    <a:pt x="4147" y="2684"/>
                    <a:pt x="4126" y="2687"/>
                  </a:cubicBezTo>
                  <a:cubicBezTo>
                    <a:pt x="4105" y="2690"/>
                    <a:pt x="4085" y="2680"/>
                    <a:pt x="4082" y="2665"/>
                  </a:cubicBezTo>
                  <a:close/>
                  <a:moveTo>
                    <a:pt x="4079" y="2768"/>
                  </a:moveTo>
                  <a:cubicBezTo>
                    <a:pt x="4058" y="2770"/>
                    <a:pt x="4038" y="2761"/>
                    <a:pt x="4035" y="2746"/>
                  </a:cubicBezTo>
                  <a:cubicBezTo>
                    <a:pt x="4031" y="2731"/>
                    <a:pt x="4046" y="2717"/>
                    <a:pt x="4067" y="2715"/>
                  </a:cubicBezTo>
                  <a:cubicBezTo>
                    <a:pt x="4089" y="2712"/>
                    <a:pt x="4109" y="2722"/>
                    <a:pt x="4112" y="2737"/>
                  </a:cubicBezTo>
                  <a:cubicBezTo>
                    <a:pt x="4116" y="2751"/>
                    <a:pt x="4101" y="2765"/>
                    <a:pt x="4079" y="2768"/>
                  </a:cubicBezTo>
                  <a:close/>
                  <a:moveTo>
                    <a:pt x="4006" y="2701"/>
                  </a:moveTo>
                  <a:cubicBezTo>
                    <a:pt x="3984" y="2704"/>
                    <a:pt x="3965" y="2694"/>
                    <a:pt x="3961" y="2679"/>
                  </a:cubicBezTo>
                  <a:cubicBezTo>
                    <a:pt x="3958" y="2664"/>
                    <a:pt x="3973" y="2651"/>
                    <a:pt x="3994" y="2648"/>
                  </a:cubicBezTo>
                  <a:cubicBezTo>
                    <a:pt x="4015" y="2646"/>
                    <a:pt x="4035" y="2656"/>
                    <a:pt x="4038" y="2670"/>
                  </a:cubicBezTo>
                  <a:cubicBezTo>
                    <a:pt x="4041" y="2685"/>
                    <a:pt x="4027" y="2699"/>
                    <a:pt x="4006" y="2701"/>
                  </a:cubicBezTo>
                  <a:close/>
                  <a:moveTo>
                    <a:pt x="3958" y="2782"/>
                  </a:moveTo>
                  <a:cubicBezTo>
                    <a:pt x="3936" y="2784"/>
                    <a:pt x="3916" y="2774"/>
                    <a:pt x="3913" y="2760"/>
                  </a:cubicBezTo>
                  <a:cubicBezTo>
                    <a:pt x="3910" y="2745"/>
                    <a:pt x="3925" y="2731"/>
                    <a:pt x="3947" y="2729"/>
                  </a:cubicBezTo>
                  <a:cubicBezTo>
                    <a:pt x="3968" y="2726"/>
                    <a:pt x="3988" y="2736"/>
                    <a:pt x="3991" y="2751"/>
                  </a:cubicBezTo>
                  <a:cubicBezTo>
                    <a:pt x="3994" y="2766"/>
                    <a:pt x="3979" y="2780"/>
                    <a:pt x="3958" y="2782"/>
                  </a:cubicBezTo>
                  <a:close/>
                  <a:moveTo>
                    <a:pt x="3885" y="2715"/>
                  </a:moveTo>
                  <a:cubicBezTo>
                    <a:pt x="3864" y="2717"/>
                    <a:pt x="3844" y="2707"/>
                    <a:pt x="3841" y="2692"/>
                  </a:cubicBezTo>
                  <a:cubicBezTo>
                    <a:pt x="3838" y="2678"/>
                    <a:pt x="3853" y="2664"/>
                    <a:pt x="3874" y="2662"/>
                  </a:cubicBezTo>
                  <a:cubicBezTo>
                    <a:pt x="3895" y="2659"/>
                    <a:pt x="3915" y="2669"/>
                    <a:pt x="3918" y="2684"/>
                  </a:cubicBezTo>
                  <a:cubicBezTo>
                    <a:pt x="3921" y="2699"/>
                    <a:pt x="3906" y="2713"/>
                    <a:pt x="3885" y="2715"/>
                  </a:cubicBezTo>
                  <a:close/>
                  <a:moveTo>
                    <a:pt x="3836" y="2795"/>
                  </a:moveTo>
                  <a:cubicBezTo>
                    <a:pt x="3815" y="2798"/>
                    <a:pt x="3795" y="2787"/>
                    <a:pt x="3792" y="2773"/>
                  </a:cubicBezTo>
                  <a:cubicBezTo>
                    <a:pt x="3789" y="2758"/>
                    <a:pt x="3804" y="2744"/>
                    <a:pt x="3826" y="2742"/>
                  </a:cubicBezTo>
                  <a:cubicBezTo>
                    <a:pt x="3847" y="2740"/>
                    <a:pt x="3867" y="2750"/>
                    <a:pt x="3870" y="2764"/>
                  </a:cubicBezTo>
                  <a:cubicBezTo>
                    <a:pt x="3873" y="2779"/>
                    <a:pt x="3858" y="2793"/>
                    <a:pt x="3836" y="2795"/>
                  </a:cubicBezTo>
                  <a:close/>
                  <a:moveTo>
                    <a:pt x="3793" y="2878"/>
                  </a:moveTo>
                  <a:cubicBezTo>
                    <a:pt x="3771" y="2880"/>
                    <a:pt x="3751" y="2870"/>
                    <a:pt x="3749" y="2855"/>
                  </a:cubicBezTo>
                  <a:cubicBezTo>
                    <a:pt x="3746" y="2840"/>
                    <a:pt x="3761" y="2826"/>
                    <a:pt x="3783" y="2824"/>
                  </a:cubicBezTo>
                  <a:cubicBezTo>
                    <a:pt x="3804" y="2822"/>
                    <a:pt x="3824" y="2832"/>
                    <a:pt x="3827" y="2847"/>
                  </a:cubicBezTo>
                  <a:cubicBezTo>
                    <a:pt x="3830" y="2862"/>
                    <a:pt x="3814" y="2875"/>
                    <a:pt x="3793" y="2878"/>
                  </a:cubicBezTo>
                  <a:close/>
                  <a:moveTo>
                    <a:pt x="3714" y="2808"/>
                  </a:moveTo>
                  <a:cubicBezTo>
                    <a:pt x="3693" y="2810"/>
                    <a:pt x="3673" y="2800"/>
                    <a:pt x="3671" y="2785"/>
                  </a:cubicBezTo>
                  <a:cubicBezTo>
                    <a:pt x="3668" y="2770"/>
                    <a:pt x="3683" y="2756"/>
                    <a:pt x="3705" y="2754"/>
                  </a:cubicBezTo>
                  <a:cubicBezTo>
                    <a:pt x="3726" y="2752"/>
                    <a:pt x="3745" y="2762"/>
                    <a:pt x="3748" y="2777"/>
                  </a:cubicBezTo>
                  <a:cubicBezTo>
                    <a:pt x="3751" y="2792"/>
                    <a:pt x="3736" y="2806"/>
                    <a:pt x="3714" y="2808"/>
                  </a:cubicBezTo>
                  <a:close/>
                  <a:moveTo>
                    <a:pt x="3670" y="2890"/>
                  </a:moveTo>
                  <a:cubicBezTo>
                    <a:pt x="3648" y="2892"/>
                    <a:pt x="3628" y="2882"/>
                    <a:pt x="3626" y="2867"/>
                  </a:cubicBezTo>
                  <a:cubicBezTo>
                    <a:pt x="3623" y="2852"/>
                    <a:pt x="3639" y="2838"/>
                    <a:pt x="3660" y="2836"/>
                  </a:cubicBezTo>
                  <a:cubicBezTo>
                    <a:pt x="3682" y="2834"/>
                    <a:pt x="3702" y="2844"/>
                    <a:pt x="3704" y="2859"/>
                  </a:cubicBezTo>
                  <a:cubicBezTo>
                    <a:pt x="3707" y="2874"/>
                    <a:pt x="3691" y="2888"/>
                    <a:pt x="3670" y="2890"/>
                  </a:cubicBezTo>
                  <a:close/>
                  <a:moveTo>
                    <a:pt x="3592" y="2819"/>
                  </a:moveTo>
                  <a:cubicBezTo>
                    <a:pt x="3571" y="2821"/>
                    <a:pt x="3551" y="2811"/>
                    <a:pt x="3549" y="2796"/>
                  </a:cubicBezTo>
                  <a:cubicBezTo>
                    <a:pt x="3547" y="2781"/>
                    <a:pt x="3562" y="2768"/>
                    <a:pt x="3583" y="2766"/>
                  </a:cubicBezTo>
                  <a:cubicBezTo>
                    <a:pt x="3605" y="2764"/>
                    <a:pt x="3624" y="2774"/>
                    <a:pt x="3627" y="2789"/>
                  </a:cubicBezTo>
                  <a:cubicBezTo>
                    <a:pt x="3629" y="2804"/>
                    <a:pt x="3614" y="2817"/>
                    <a:pt x="3592" y="2819"/>
                  </a:cubicBezTo>
                  <a:close/>
                  <a:moveTo>
                    <a:pt x="3547" y="2901"/>
                  </a:moveTo>
                  <a:cubicBezTo>
                    <a:pt x="3525" y="2903"/>
                    <a:pt x="3505" y="2893"/>
                    <a:pt x="3503" y="2878"/>
                  </a:cubicBezTo>
                  <a:cubicBezTo>
                    <a:pt x="3501" y="2863"/>
                    <a:pt x="3517" y="2849"/>
                    <a:pt x="3538" y="2847"/>
                  </a:cubicBezTo>
                  <a:cubicBezTo>
                    <a:pt x="3560" y="2845"/>
                    <a:pt x="3579" y="2856"/>
                    <a:pt x="3582" y="2871"/>
                  </a:cubicBezTo>
                  <a:cubicBezTo>
                    <a:pt x="3584" y="2886"/>
                    <a:pt x="3568" y="2899"/>
                    <a:pt x="3547" y="2901"/>
                  </a:cubicBezTo>
                  <a:close/>
                  <a:moveTo>
                    <a:pt x="3470" y="2830"/>
                  </a:moveTo>
                  <a:cubicBezTo>
                    <a:pt x="3449" y="2832"/>
                    <a:pt x="3430" y="2821"/>
                    <a:pt x="3427" y="2806"/>
                  </a:cubicBezTo>
                  <a:cubicBezTo>
                    <a:pt x="3425" y="2791"/>
                    <a:pt x="3441" y="2778"/>
                    <a:pt x="3462" y="2776"/>
                  </a:cubicBezTo>
                  <a:cubicBezTo>
                    <a:pt x="3484" y="2774"/>
                    <a:pt x="3503" y="2785"/>
                    <a:pt x="3505" y="2800"/>
                  </a:cubicBezTo>
                  <a:cubicBezTo>
                    <a:pt x="3507" y="2815"/>
                    <a:pt x="3492" y="2828"/>
                    <a:pt x="3470" y="2830"/>
                  </a:cubicBezTo>
                  <a:close/>
                  <a:moveTo>
                    <a:pt x="3423" y="2912"/>
                  </a:moveTo>
                  <a:cubicBezTo>
                    <a:pt x="3402" y="2913"/>
                    <a:pt x="3382" y="2903"/>
                    <a:pt x="3380" y="2888"/>
                  </a:cubicBezTo>
                  <a:cubicBezTo>
                    <a:pt x="3378" y="2873"/>
                    <a:pt x="3394" y="2859"/>
                    <a:pt x="3416" y="2858"/>
                  </a:cubicBezTo>
                  <a:cubicBezTo>
                    <a:pt x="3437" y="2856"/>
                    <a:pt x="3457" y="2867"/>
                    <a:pt x="3459" y="2881"/>
                  </a:cubicBezTo>
                  <a:cubicBezTo>
                    <a:pt x="3461" y="2896"/>
                    <a:pt x="3445" y="2910"/>
                    <a:pt x="3423" y="2912"/>
                  </a:cubicBezTo>
                  <a:close/>
                  <a:moveTo>
                    <a:pt x="3348" y="2840"/>
                  </a:moveTo>
                  <a:cubicBezTo>
                    <a:pt x="3327" y="2842"/>
                    <a:pt x="3308" y="2831"/>
                    <a:pt x="3306" y="2816"/>
                  </a:cubicBezTo>
                  <a:cubicBezTo>
                    <a:pt x="3304" y="2801"/>
                    <a:pt x="3320" y="2788"/>
                    <a:pt x="3341" y="2786"/>
                  </a:cubicBezTo>
                  <a:cubicBezTo>
                    <a:pt x="3362" y="2784"/>
                    <a:pt x="3381" y="2795"/>
                    <a:pt x="3383" y="2810"/>
                  </a:cubicBezTo>
                  <a:cubicBezTo>
                    <a:pt x="3386" y="2825"/>
                    <a:pt x="3370" y="2838"/>
                    <a:pt x="3348" y="2840"/>
                  </a:cubicBezTo>
                  <a:close/>
                  <a:moveTo>
                    <a:pt x="3281" y="2770"/>
                  </a:moveTo>
                  <a:cubicBezTo>
                    <a:pt x="3260" y="2771"/>
                    <a:pt x="3241" y="2761"/>
                    <a:pt x="3239" y="2746"/>
                  </a:cubicBezTo>
                  <a:cubicBezTo>
                    <a:pt x="3237" y="2731"/>
                    <a:pt x="3253" y="2717"/>
                    <a:pt x="3274" y="2716"/>
                  </a:cubicBezTo>
                  <a:cubicBezTo>
                    <a:pt x="3296" y="2714"/>
                    <a:pt x="3314" y="2725"/>
                    <a:pt x="3316" y="2740"/>
                  </a:cubicBezTo>
                  <a:cubicBezTo>
                    <a:pt x="3318" y="2755"/>
                    <a:pt x="3302" y="2768"/>
                    <a:pt x="3281" y="2770"/>
                  </a:cubicBezTo>
                  <a:close/>
                  <a:moveTo>
                    <a:pt x="3226" y="2849"/>
                  </a:moveTo>
                  <a:cubicBezTo>
                    <a:pt x="3205" y="2850"/>
                    <a:pt x="3186" y="2839"/>
                    <a:pt x="3184" y="2824"/>
                  </a:cubicBezTo>
                  <a:cubicBezTo>
                    <a:pt x="3182" y="2810"/>
                    <a:pt x="3198" y="2796"/>
                    <a:pt x="3220" y="2795"/>
                  </a:cubicBezTo>
                  <a:cubicBezTo>
                    <a:pt x="3241" y="2793"/>
                    <a:pt x="3260" y="2804"/>
                    <a:pt x="3262" y="2819"/>
                  </a:cubicBezTo>
                  <a:cubicBezTo>
                    <a:pt x="3264" y="2834"/>
                    <a:pt x="3248" y="2847"/>
                    <a:pt x="3226" y="2849"/>
                  </a:cubicBezTo>
                  <a:close/>
                  <a:moveTo>
                    <a:pt x="3160" y="2778"/>
                  </a:moveTo>
                  <a:cubicBezTo>
                    <a:pt x="3139" y="2780"/>
                    <a:pt x="3120" y="2769"/>
                    <a:pt x="3119" y="2754"/>
                  </a:cubicBezTo>
                  <a:cubicBezTo>
                    <a:pt x="3117" y="2739"/>
                    <a:pt x="3133" y="2726"/>
                    <a:pt x="3154" y="2724"/>
                  </a:cubicBezTo>
                  <a:cubicBezTo>
                    <a:pt x="3175" y="2723"/>
                    <a:pt x="3194" y="2734"/>
                    <a:pt x="3196" y="2749"/>
                  </a:cubicBezTo>
                  <a:cubicBezTo>
                    <a:pt x="3197" y="2764"/>
                    <a:pt x="3181" y="2777"/>
                    <a:pt x="3160" y="2778"/>
                  </a:cubicBezTo>
                  <a:close/>
                  <a:moveTo>
                    <a:pt x="3104" y="2857"/>
                  </a:moveTo>
                  <a:cubicBezTo>
                    <a:pt x="3082" y="2858"/>
                    <a:pt x="3064" y="2847"/>
                    <a:pt x="3062" y="2832"/>
                  </a:cubicBezTo>
                  <a:cubicBezTo>
                    <a:pt x="3061" y="2817"/>
                    <a:pt x="3077" y="2804"/>
                    <a:pt x="3098" y="2803"/>
                  </a:cubicBezTo>
                  <a:cubicBezTo>
                    <a:pt x="3120" y="2801"/>
                    <a:pt x="3139" y="2812"/>
                    <a:pt x="3140" y="2827"/>
                  </a:cubicBezTo>
                  <a:cubicBezTo>
                    <a:pt x="3142" y="2842"/>
                    <a:pt x="3126" y="2856"/>
                    <a:pt x="3104" y="2857"/>
                  </a:cubicBezTo>
                  <a:close/>
                  <a:moveTo>
                    <a:pt x="3039" y="2786"/>
                  </a:moveTo>
                  <a:cubicBezTo>
                    <a:pt x="3018" y="2787"/>
                    <a:pt x="2999" y="2776"/>
                    <a:pt x="2998" y="2761"/>
                  </a:cubicBezTo>
                  <a:cubicBezTo>
                    <a:pt x="2997" y="2746"/>
                    <a:pt x="3013" y="2733"/>
                    <a:pt x="3034" y="2732"/>
                  </a:cubicBezTo>
                  <a:cubicBezTo>
                    <a:pt x="3055" y="2730"/>
                    <a:pt x="3074" y="2741"/>
                    <a:pt x="3075" y="2756"/>
                  </a:cubicBezTo>
                  <a:cubicBezTo>
                    <a:pt x="3077" y="2771"/>
                    <a:pt x="3060" y="2785"/>
                    <a:pt x="3039" y="2786"/>
                  </a:cubicBezTo>
                  <a:close/>
                  <a:moveTo>
                    <a:pt x="2982" y="2864"/>
                  </a:moveTo>
                  <a:cubicBezTo>
                    <a:pt x="2960" y="2865"/>
                    <a:pt x="2942" y="2854"/>
                    <a:pt x="2941" y="2839"/>
                  </a:cubicBezTo>
                  <a:cubicBezTo>
                    <a:pt x="2939" y="2824"/>
                    <a:pt x="2956" y="2811"/>
                    <a:pt x="2977" y="2810"/>
                  </a:cubicBezTo>
                  <a:cubicBezTo>
                    <a:pt x="2999" y="2809"/>
                    <a:pt x="3017" y="2820"/>
                    <a:pt x="3018" y="2835"/>
                  </a:cubicBezTo>
                  <a:cubicBezTo>
                    <a:pt x="3020" y="2850"/>
                    <a:pt x="3003" y="2863"/>
                    <a:pt x="2982" y="2864"/>
                  </a:cubicBezTo>
                  <a:close/>
                  <a:moveTo>
                    <a:pt x="2918" y="2793"/>
                  </a:moveTo>
                  <a:cubicBezTo>
                    <a:pt x="2897" y="2794"/>
                    <a:pt x="2878" y="2782"/>
                    <a:pt x="2877" y="2767"/>
                  </a:cubicBezTo>
                  <a:cubicBezTo>
                    <a:pt x="2876" y="2752"/>
                    <a:pt x="2893" y="2739"/>
                    <a:pt x="2914" y="2738"/>
                  </a:cubicBezTo>
                  <a:cubicBezTo>
                    <a:pt x="2935" y="2737"/>
                    <a:pt x="2953" y="2748"/>
                    <a:pt x="2954" y="2763"/>
                  </a:cubicBezTo>
                  <a:cubicBezTo>
                    <a:pt x="2956" y="2778"/>
                    <a:pt x="2939" y="2791"/>
                    <a:pt x="2918" y="2793"/>
                  </a:cubicBezTo>
                  <a:close/>
                  <a:moveTo>
                    <a:pt x="2860" y="2870"/>
                  </a:moveTo>
                  <a:cubicBezTo>
                    <a:pt x="2838" y="2871"/>
                    <a:pt x="2820" y="2860"/>
                    <a:pt x="2819" y="2845"/>
                  </a:cubicBezTo>
                  <a:cubicBezTo>
                    <a:pt x="2818" y="2830"/>
                    <a:pt x="2834" y="2817"/>
                    <a:pt x="2856" y="2816"/>
                  </a:cubicBezTo>
                  <a:cubicBezTo>
                    <a:pt x="2877" y="2815"/>
                    <a:pt x="2895" y="2826"/>
                    <a:pt x="2897" y="2841"/>
                  </a:cubicBezTo>
                  <a:cubicBezTo>
                    <a:pt x="2898" y="2856"/>
                    <a:pt x="2881" y="2869"/>
                    <a:pt x="2860" y="2870"/>
                  </a:cubicBezTo>
                  <a:close/>
                  <a:moveTo>
                    <a:pt x="2797" y="2798"/>
                  </a:moveTo>
                  <a:cubicBezTo>
                    <a:pt x="2776" y="2799"/>
                    <a:pt x="2758" y="2788"/>
                    <a:pt x="2757" y="2773"/>
                  </a:cubicBezTo>
                  <a:cubicBezTo>
                    <a:pt x="2756" y="2758"/>
                    <a:pt x="2772" y="2745"/>
                    <a:pt x="2793" y="2744"/>
                  </a:cubicBezTo>
                  <a:cubicBezTo>
                    <a:pt x="2815" y="2743"/>
                    <a:pt x="2833" y="2754"/>
                    <a:pt x="2834" y="2769"/>
                  </a:cubicBezTo>
                  <a:cubicBezTo>
                    <a:pt x="2835" y="2784"/>
                    <a:pt x="2818" y="2797"/>
                    <a:pt x="2797" y="2798"/>
                  </a:cubicBezTo>
                  <a:close/>
                  <a:moveTo>
                    <a:pt x="2775" y="2847"/>
                  </a:moveTo>
                  <a:cubicBezTo>
                    <a:pt x="2776" y="2862"/>
                    <a:pt x="2759" y="2875"/>
                    <a:pt x="2737" y="2876"/>
                  </a:cubicBezTo>
                  <a:cubicBezTo>
                    <a:pt x="2716" y="2877"/>
                    <a:pt x="2698" y="2865"/>
                    <a:pt x="2697" y="2850"/>
                  </a:cubicBezTo>
                  <a:cubicBezTo>
                    <a:pt x="2696" y="2835"/>
                    <a:pt x="2713" y="2822"/>
                    <a:pt x="2734" y="2822"/>
                  </a:cubicBezTo>
                  <a:cubicBezTo>
                    <a:pt x="2756" y="2821"/>
                    <a:pt x="2774" y="2832"/>
                    <a:pt x="2775" y="2847"/>
                  </a:cubicBezTo>
                  <a:close/>
                  <a:moveTo>
                    <a:pt x="2676" y="2803"/>
                  </a:moveTo>
                  <a:cubicBezTo>
                    <a:pt x="2654" y="2804"/>
                    <a:pt x="2637" y="2792"/>
                    <a:pt x="2636" y="2777"/>
                  </a:cubicBezTo>
                  <a:cubicBezTo>
                    <a:pt x="2635" y="2762"/>
                    <a:pt x="2652" y="2750"/>
                    <a:pt x="2673" y="2749"/>
                  </a:cubicBezTo>
                  <a:cubicBezTo>
                    <a:pt x="2694" y="2748"/>
                    <a:pt x="2712" y="2760"/>
                    <a:pt x="2713" y="2775"/>
                  </a:cubicBezTo>
                  <a:cubicBezTo>
                    <a:pt x="2714" y="2790"/>
                    <a:pt x="2697" y="2802"/>
                    <a:pt x="2676" y="2803"/>
                  </a:cubicBezTo>
                  <a:close/>
                  <a:moveTo>
                    <a:pt x="2653" y="2852"/>
                  </a:moveTo>
                  <a:cubicBezTo>
                    <a:pt x="2653" y="2867"/>
                    <a:pt x="2636" y="2880"/>
                    <a:pt x="2615" y="2881"/>
                  </a:cubicBezTo>
                  <a:cubicBezTo>
                    <a:pt x="2593" y="2881"/>
                    <a:pt x="2575" y="2870"/>
                    <a:pt x="2575" y="2855"/>
                  </a:cubicBezTo>
                  <a:cubicBezTo>
                    <a:pt x="2574" y="2839"/>
                    <a:pt x="2591" y="2827"/>
                    <a:pt x="2613" y="2826"/>
                  </a:cubicBezTo>
                  <a:cubicBezTo>
                    <a:pt x="2634" y="2825"/>
                    <a:pt x="2652" y="2837"/>
                    <a:pt x="2653" y="2852"/>
                  </a:cubicBezTo>
                  <a:close/>
                  <a:moveTo>
                    <a:pt x="2555" y="2807"/>
                  </a:moveTo>
                  <a:cubicBezTo>
                    <a:pt x="2533" y="2808"/>
                    <a:pt x="2516" y="2796"/>
                    <a:pt x="2515" y="2781"/>
                  </a:cubicBezTo>
                  <a:cubicBezTo>
                    <a:pt x="2515" y="2766"/>
                    <a:pt x="2532" y="2753"/>
                    <a:pt x="2553" y="2753"/>
                  </a:cubicBezTo>
                  <a:cubicBezTo>
                    <a:pt x="2574" y="2752"/>
                    <a:pt x="2592" y="2764"/>
                    <a:pt x="2592" y="2779"/>
                  </a:cubicBezTo>
                  <a:cubicBezTo>
                    <a:pt x="2593" y="2794"/>
                    <a:pt x="2576" y="2807"/>
                    <a:pt x="2555" y="2807"/>
                  </a:cubicBezTo>
                  <a:close/>
                  <a:moveTo>
                    <a:pt x="2531" y="2856"/>
                  </a:moveTo>
                  <a:cubicBezTo>
                    <a:pt x="2531" y="2871"/>
                    <a:pt x="2514" y="2884"/>
                    <a:pt x="2493" y="2884"/>
                  </a:cubicBezTo>
                  <a:cubicBezTo>
                    <a:pt x="2471" y="2885"/>
                    <a:pt x="2453" y="2873"/>
                    <a:pt x="2453" y="2858"/>
                  </a:cubicBezTo>
                  <a:cubicBezTo>
                    <a:pt x="2453" y="2843"/>
                    <a:pt x="2470" y="2830"/>
                    <a:pt x="2491" y="2830"/>
                  </a:cubicBezTo>
                  <a:cubicBezTo>
                    <a:pt x="2513" y="2829"/>
                    <a:pt x="2530" y="2841"/>
                    <a:pt x="2531" y="2856"/>
                  </a:cubicBezTo>
                  <a:close/>
                  <a:moveTo>
                    <a:pt x="2433" y="2811"/>
                  </a:moveTo>
                  <a:cubicBezTo>
                    <a:pt x="2412" y="2811"/>
                    <a:pt x="2394" y="2799"/>
                    <a:pt x="2394" y="2784"/>
                  </a:cubicBezTo>
                  <a:cubicBezTo>
                    <a:pt x="2394" y="2769"/>
                    <a:pt x="2411" y="2756"/>
                    <a:pt x="2432" y="2756"/>
                  </a:cubicBezTo>
                  <a:cubicBezTo>
                    <a:pt x="2454" y="2755"/>
                    <a:pt x="2471" y="2767"/>
                    <a:pt x="2471" y="2782"/>
                  </a:cubicBezTo>
                  <a:cubicBezTo>
                    <a:pt x="2472" y="2797"/>
                    <a:pt x="2455" y="2810"/>
                    <a:pt x="2433" y="2811"/>
                  </a:cubicBezTo>
                  <a:close/>
                  <a:moveTo>
                    <a:pt x="2409" y="2859"/>
                  </a:moveTo>
                  <a:cubicBezTo>
                    <a:pt x="2409" y="2874"/>
                    <a:pt x="2392" y="2887"/>
                    <a:pt x="2370" y="2887"/>
                  </a:cubicBezTo>
                  <a:cubicBezTo>
                    <a:pt x="2349" y="2887"/>
                    <a:pt x="2331" y="2876"/>
                    <a:pt x="2331" y="2860"/>
                  </a:cubicBezTo>
                  <a:cubicBezTo>
                    <a:pt x="2331" y="2845"/>
                    <a:pt x="2348" y="2833"/>
                    <a:pt x="2370" y="2832"/>
                  </a:cubicBezTo>
                  <a:cubicBezTo>
                    <a:pt x="2391" y="2832"/>
                    <a:pt x="2409" y="2844"/>
                    <a:pt x="2409" y="2859"/>
                  </a:cubicBezTo>
                  <a:close/>
                  <a:moveTo>
                    <a:pt x="2312" y="2813"/>
                  </a:moveTo>
                  <a:cubicBezTo>
                    <a:pt x="2291" y="2813"/>
                    <a:pt x="2273" y="2801"/>
                    <a:pt x="2273" y="2786"/>
                  </a:cubicBezTo>
                  <a:cubicBezTo>
                    <a:pt x="2274" y="2771"/>
                    <a:pt x="2291" y="2759"/>
                    <a:pt x="2312" y="2758"/>
                  </a:cubicBezTo>
                  <a:cubicBezTo>
                    <a:pt x="2333" y="2758"/>
                    <a:pt x="2350" y="2770"/>
                    <a:pt x="2351" y="2785"/>
                  </a:cubicBezTo>
                  <a:cubicBezTo>
                    <a:pt x="2351" y="2800"/>
                    <a:pt x="2333" y="2813"/>
                    <a:pt x="2312" y="2813"/>
                  </a:cubicBezTo>
                  <a:close/>
                  <a:moveTo>
                    <a:pt x="2287" y="2861"/>
                  </a:moveTo>
                  <a:cubicBezTo>
                    <a:pt x="2287" y="2876"/>
                    <a:pt x="2269" y="2889"/>
                    <a:pt x="2248" y="2889"/>
                  </a:cubicBezTo>
                  <a:cubicBezTo>
                    <a:pt x="2226" y="2889"/>
                    <a:pt x="2209" y="2877"/>
                    <a:pt x="2209" y="2862"/>
                  </a:cubicBezTo>
                  <a:cubicBezTo>
                    <a:pt x="2209" y="2847"/>
                    <a:pt x="2227" y="2835"/>
                    <a:pt x="2248" y="2834"/>
                  </a:cubicBezTo>
                  <a:cubicBezTo>
                    <a:pt x="2270" y="2834"/>
                    <a:pt x="2287" y="2846"/>
                    <a:pt x="2287" y="2861"/>
                  </a:cubicBezTo>
                  <a:close/>
                  <a:moveTo>
                    <a:pt x="2191" y="2814"/>
                  </a:moveTo>
                  <a:cubicBezTo>
                    <a:pt x="2169" y="2815"/>
                    <a:pt x="2152" y="2802"/>
                    <a:pt x="2153" y="2787"/>
                  </a:cubicBezTo>
                  <a:cubicBezTo>
                    <a:pt x="2153" y="2772"/>
                    <a:pt x="2170" y="2760"/>
                    <a:pt x="2192" y="2760"/>
                  </a:cubicBezTo>
                  <a:cubicBezTo>
                    <a:pt x="2213" y="2760"/>
                    <a:pt x="2230" y="2772"/>
                    <a:pt x="2230" y="2787"/>
                  </a:cubicBezTo>
                  <a:cubicBezTo>
                    <a:pt x="2230" y="2802"/>
                    <a:pt x="2212" y="2814"/>
                    <a:pt x="2191" y="2814"/>
                  </a:cubicBezTo>
                  <a:close/>
                  <a:moveTo>
                    <a:pt x="2165" y="2863"/>
                  </a:moveTo>
                  <a:cubicBezTo>
                    <a:pt x="2165" y="2878"/>
                    <a:pt x="2147" y="2890"/>
                    <a:pt x="2125" y="2890"/>
                  </a:cubicBezTo>
                  <a:cubicBezTo>
                    <a:pt x="2104" y="2890"/>
                    <a:pt x="2087" y="2878"/>
                    <a:pt x="2087" y="2863"/>
                  </a:cubicBezTo>
                  <a:cubicBezTo>
                    <a:pt x="2087" y="2848"/>
                    <a:pt x="2105" y="2836"/>
                    <a:pt x="2127" y="2835"/>
                  </a:cubicBezTo>
                  <a:cubicBezTo>
                    <a:pt x="2148" y="2835"/>
                    <a:pt x="2165" y="2847"/>
                    <a:pt x="2165" y="2863"/>
                  </a:cubicBezTo>
                  <a:close/>
                  <a:moveTo>
                    <a:pt x="2070" y="2815"/>
                  </a:moveTo>
                  <a:cubicBezTo>
                    <a:pt x="2048" y="2815"/>
                    <a:pt x="2031" y="2803"/>
                    <a:pt x="2032" y="2788"/>
                  </a:cubicBezTo>
                  <a:cubicBezTo>
                    <a:pt x="2032" y="2773"/>
                    <a:pt x="2050" y="2760"/>
                    <a:pt x="2071" y="2760"/>
                  </a:cubicBezTo>
                  <a:cubicBezTo>
                    <a:pt x="2092" y="2760"/>
                    <a:pt x="2109" y="2772"/>
                    <a:pt x="2109" y="2788"/>
                  </a:cubicBezTo>
                  <a:cubicBezTo>
                    <a:pt x="2109" y="2803"/>
                    <a:pt x="2091" y="2815"/>
                    <a:pt x="2070" y="2815"/>
                  </a:cubicBezTo>
                  <a:close/>
                  <a:moveTo>
                    <a:pt x="2043" y="2863"/>
                  </a:moveTo>
                  <a:cubicBezTo>
                    <a:pt x="2042" y="2878"/>
                    <a:pt x="2025" y="2890"/>
                    <a:pt x="2003" y="2890"/>
                  </a:cubicBezTo>
                  <a:cubicBezTo>
                    <a:pt x="1981" y="2890"/>
                    <a:pt x="1964" y="2878"/>
                    <a:pt x="1965" y="2863"/>
                  </a:cubicBezTo>
                  <a:cubicBezTo>
                    <a:pt x="1966" y="2848"/>
                    <a:pt x="1984" y="2836"/>
                    <a:pt x="2005" y="2836"/>
                  </a:cubicBezTo>
                  <a:cubicBezTo>
                    <a:pt x="2026" y="2836"/>
                    <a:pt x="2043" y="2848"/>
                    <a:pt x="2043" y="2863"/>
                  </a:cubicBezTo>
                  <a:close/>
                  <a:moveTo>
                    <a:pt x="1948" y="2815"/>
                  </a:moveTo>
                  <a:cubicBezTo>
                    <a:pt x="1927" y="2815"/>
                    <a:pt x="1910" y="2802"/>
                    <a:pt x="1911" y="2787"/>
                  </a:cubicBezTo>
                  <a:cubicBezTo>
                    <a:pt x="1912" y="2772"/>
                    <a:pt x="1929" y="2760"/>
                    <a:pt x="1951" y="2760"/>
                  </a:cubicBezTo>
                  <a:cubicBezTo>
                    <a:pt x="1972" y="2760"/>
                    <a:pt x="1989" y="2772"/>
                    <a:pt x="1988" y="2788"/>
                  </a:cubicBezTo>
                  <a:cubicBezTo>
                    <a:pt x="1987" y="2803"/>
                    <a:pt x="1970" y="2815"/>
                    <a:pt x="1948" y="2815"/>
                  </a:cubicBezTo>
                  <a:close/>
                  <a:moveTo>
                    <a:pt x="1921" y="2863"/>
                  </a:moveTo>
                  <a:cubicBezTo>
                    <a:pt x="1920" y="2878"/>
                    <a:pt x="1902" y="2890"/>
                    <a:pt x="1881" y="2890"/>
                  </a:cubicBezTo>
                  <a:cubicBezTo>
                    <a:pt x="1859" y="2890"/>
                    <a:pt x="1842" y="2877"/>
                    <a:pt x="1843" y="2862"/>
                  </a:cubicBezTo>
                  <a:cubicBezTo>
                    <a:pt x="1844" y="2847"/>
                    <a:pt x="1862" y="2835"/>
                    <a:pt x="1883" y="2835"/>
                  </a:cubicBezTo>
                  <a:cubicBezTo>
                    <a:pt x="1905" y="2835"/>
                    <a:pt x="1922" y="2847"/>
                    <a:pt x="1921" y="2863"/>
                  </a:cubicBezTo>
                  <a:close/>
                  <a:moveTo>
                    <a:pt x="1827" y="2814"/>
                  </a:moveTo>
                  <a:cubicBezTo>
                    <a:pt x="1806" y="2813"/>
                    <a:pt x="1789" y="2801"/>
                    <a:pt x="1790" y="2786"/>
                  </a:cubicBezTo>
                  <a:cubicBezTo>
                    <a:pt x="1791" y="2771"/>
                    <a:pt x="1809" y="2759"/>
                    <a:pt x="1830" y="2759"/>
                  </a:cubicBezTo>
                  <a:cubicBezTo>
                    <a:pt x="1851" y="2759"/>
                    <a:pt x="1868" y="2772"/>
                    <a:pt x="1867" y="2787"/>
                  </a:cubicBezTo>
                  <a:cubicBezTo>
                    <a:pt x="1866" y="2802"/>
                    <a:pt x="1848" y="2814"/>
                    <a:pt x="1827" y="2814"/>
                  </a:cubicBezTo>
                  <a:close/>
                  <a:moveTo>
                    <a:pt x="1799" y="2861"/>
                  </a:moveTo>
                  <a:cubicBezTo>
                    <a:pt x="1798" y="2877"/>
                    <a:pt x="1780" y="2889"/>
                    <a:pt x="1758" y="2888"/>
                  </a:cubicBezTo>
                  <a:cubicBezTo>
                    <a:pt x="1737" y="2888"/>
                    <a:pt x="1720" y="2875"/>
                    <a:pt x="1721" y="2860"/>
                  </a:cubicBezTo>
                  <a:cubicBezTo>
                    <a:pt x="1722" y="2845"/>
                    <a:pt x="1740" y="2833"/>
                    <a:pt x="1762" y="2833"/>
                  </a:cubicBezTo>
                  <a:cubicBezTo>
                    <a:pt x="1783" y="2834"/>
                    <a:pt x="1800" y="2846"/>
                    <a:pt x="1799" y="2861"/>
                  </a:cubicBezTo>
                  <a:close/>
                  <a:moveTo>
                    <a:pt x="1706" y="2812"/>
                  </a:moveTo>
                  <a:cubicBezTo>
                    <a:pt x="1684" y="2811"/>
                    <a:pt x="1668" y="2799"/>
                    <a:pt x="1669" y="2783"/>
                  </a:cubicBezTo>
                  <a:cubicBezTo>
                    <a:pt x="1670" y="2768"/>
                    <a:pt x="1689" y="2756"/>
                    <a:pt x="1710" y="2757"/>
                  </a:cubicBezTo>
                  <a:cubicBezTo>
                    <a:pt x="1731" y="2757"/>
                    <a:pt x="1747" y="2770"/>
                    <a:pt x="1746" y="2785"/>
                  </a:cubicBezTo>
                  <a:cubicBezTo>
                    <a:pt x="1745" y="2800"/>
                    <a:pt x="1727" y="2812"/>
                    <a:pt x="1706" y="2812"/>
                  </a:cubicBezTo>
                  <a:close/>
                  <a:moveTo>
                    <a:pt x="1677" y="2859"/>
                  </a:moveTo>
                  <a:cubicBezTo>
                    <a:pt x="1676" y="2874"/>
                    <a:pt x="1657" y="2886"/>
                    <a:pt x="1636" y="2886"/>
                  </a:cubicBezTo>
                  <a:cubicBezTo>
                    <a:pt x="1614" y="2885"/>
                    <a:pt x="1598" y="2873"/>
                    <a:pt x="1599" y="2857"/>
                  </a:cubicBezTo>
                  <a:cubicBezTo>
                    <a:pt x="1600" y="2842"/>
                    <a:pt x="1619" y="2830"/>
                    <a:pt x="1640" y="2831"/>
                  </a:cubicBezTo>
                  <a:cubicBezTo>
                    <a:pt x="1662" y="2831"/>
                    <a:pt x="1678" y="2844"/>
                    <a:pt x="1677" y="2859"/>
                  </a:cubicBezTo>
                  <a:close/>
                  <a:moveTo>
                    <a:pt x="1584" y="2809"/>
                  </a:moveTo>
                  <a:cubicBezTo>
                    <a:pt x="1563" y="2808"/>
                    <a:pt x="1547" y="2795"/>
                    <a:pt x="1548" y="2780"/>
                  </a:cubicBezTo>
                  <a:cubicBezTo>
                    <a:pt x="1550" y="2765"/>
                    <a:pt x="1568" y="2753"/>
                    <a:pt x="1589" y="2754"/>
                  </a:cubicBezTo>
                  <a:cubicBezTo>
                    <a:pt x="1611" y="2755"/>
                    <a:pt x="1627" y="2767"/>
                    <a:pt x="1626" y="2782"/>
                  </a:cubicBezTo>
                  <a:cubicBezTo>
                    <a:pt x="1624" y="2798"/>
                    <a:pt x="1606" y="2809"/>
                    <a:pt x="1584" y="2809"/>
                  </a:cubicBezTo>
                  <a:close/>
                  <a:moveTo>
                    <a:pt x="1555" y="2856"/>
                  </a:moveTo>
                  <a:cubicBezTo>
                    <a:pt x="1553" y="2871"/>
                    <a:pt x="1535" y="2883"/>
                    <a:pt x="1513" y="2883"/>
                  </a:cubicBezTo>
                  <a:cubicBezTo>
                    <a:pt x="1492" y="2882"/>
                    <a:pt x="1475" y="2869"/>
                    <a:pt x="1477" y="2854"/>
                  </a:cubicBezTo>
                  <a:cubicBezTo>
                    <a:pt x="1479" y="2839"/>
                    <a:pt x="1497" y="2827"/>
                    <a:pt x="1519" y="2828"/>
                  </a:cubicBezTo>
                  <a:cubicBezTo>
                    <a:pt x="1540" y="2828"/>
                    <a:pt x="1556" y="2841"/>
                    <a:pt x="1555" y="2856"/>
                  </a:cubicBezTo>
                  <a:close/>
                  <a:moveTo>
                    <a:pt x="1463" y="2805"/>
                  </a:moveTo>
                  <a:cubicBezTo>
                    <a:pt x="1442" y="2804"/>
                    <a:pt x="1426" y="2792"/>
                    <a:pt x="1428" y="2776"/>
                  </a:cubicBezTo>
                  <a:cubicBezTo>
                    <a:pt x="1429" y="2761"/>
                    <a:pt x="1448" y="2750"/>
                    <a:pt x="1469" y="2750"/>
                  </a:cubicBezTo>
                  <a:cubicBezTo>
                    <a:pt x="1490" y="2751"/>
                    <a:pt x="1506" y="2764"/>
                    <a:pt x="1505" y="2779"/>
                  </a:cubicBezTo>
                  <a:cubicBezTo>
                    <a:pt x="1503" y="2794"/>
                    <a:pt x="1485" y="2806"/>
                    <a:pt x="1463" y="2805"/>
                  </a:cubicBezTo>
                  <a:close/>
                  <a:moveTo>
                    <a:pt x="1433" y="2852"/>
                  </a:moveTo>
                  <a:cubicBezTo>
                    <a:pt x="1431" y="2868"/>
                    <a:pt x="1412" y="2879"/>
                    <a:pt x="1391" y="2878"/>
                  </a:cubicBezTo>
                  <a:cubicBezTo>
                    <a:pt x="1369" y="2878"/>
                    <a:pt x="1353" y="2865"/>
                    <a:pt x="1355" y="2849"/>
                  </a:cubicBezTo>
                  <a:cubicBezTo>
                    <a:pt x="1357" y="2834"/>
                    <a:pt x="1376" y="2823"/>
                    <a:pt x="1397" y="2824"/>
                  </a:cubicBezTo>
                  <a:cubicBezTo>
                    <a:pt x="1418" y="2824"/>
                    <a:pt x="1435" y="2837"/>
                    <a:pt x="1433" y="2852"/>
                  </a:cubicBezTo>
                  <a:close/>
                  <a:moveTo>
                    <a:pt x="1342" y="2801"/>
                  </a:moveTo>
                  <a:cubicBezTo>
                    <a:pt x="1321" y="2800"/>
                    <a:pt x="1305" y="2787"/>
                    <a:pt x="1307" y="2772"/>
                  </a:cubicBezTo>
                  <a:cubicBezTo>
                    <a:pt x="1309" y="2756"/>
                    <a:pt x="1327" y="2745"/>
                    <a:pt x="1349" y="2746"/>
                  </a:cubicBezTo>
                  <a:cubicBezTo>
                    <a:pt x="1370" y="2747"/>
                    <a:pt x="1386" y="2760"/>
                    <a:pt x="1384" y="2775"/>
                  </a:cubicBezTo>
                  <a:cubicBezTo>
                    <a:pt x="1382" y="2790"/>
                    <a:pt x="1363" y="2801"/>
                    <a:pt x="1342" y="2801"/>
                  </a:cubicBezTo>
                  <a:close/>
                  <a:moveTo>
                    <a:pt x="1311" y="2848"/>
                  </a:moveTo>
                  <a:cubicBezTo>
                    <a:pt x="1309" y="2863"/>
                    <a:pt x="1290" y="2874"/>
                    <a:pt x="1268" y="2873"/>
                  </a:cubicBezTo>
                  <a:cubicBezTo>
                    <a:pt x="1247" y="2872"/>
                    <a:pt x="1231" y="2859"/>
                    <a:pt x="1233" y="2844"/>
                  </a:cubicBezTo>
                  <a:cubicBezTo>
                    <a:pt x="1235" y="2829"/>
                    <a:pt x="1254" y="2818"/>
                    <a:pt x="1275" y="2819"/>
                  </a:cubicBezTo>
                  <a:cubicBezTo>
                    <a:pt x="1297" y="2819"/>
                    <a:pt x="1313" y="2832"/>
                    <a:pt x="1311" y="2848"/>
                  </a:cubicBezTo>
                  <a:close/>
                  <a:moveTo>
                    <a:pt x="1221" y="2795"/>
                  </a:moveTo>
                  <a:cubicBezTo>
                    <a:pt x="1199" y="2794"/>
                    <a:pt x="1184" y="2781"/>
                    <a:pt x="1186" y="2766"/>
                  </a:cubicBezTo>
                  <a:cubicBezTo>
                    <a:pt x="1188" y="2751"/>
                    <a:pt x="1207" y="2739"/>
                    <a:pt x="1228" y="2740"/>
                  </a:cubicBezTo>
                  <a:cubicBezTo>
                    <a:pt x="1249" y="2741"/>
                    <a:pt x="1265" y="2754"/>
                    <a:pt x="1263" y="2770"/>
                  </a:cubicBezTo>
                  <a:cubicBezTo>
                    <a:pt x="1261" y="2785"/>
                    <a:pt x="1242" y="2796"/>
                    <a:pt x="1221" y="2795"/>
                  </a:cubicBezTo>
                  <a:close/>
                  <a:moveTo>
                    <a:pt x="1189" y="2842"/>
                  </a:moveTo>
                  <a:cubicBezTo>
                    <a:pt x="1187" y="2857"/>
                    <a:pt x="1168" y="2869"/>
                    <a:pt x="1146" y="2868"/>
                  </a:cubicBezTo>
                  <a:cubicBezTo>
                    <a:pt x="1125" y="2866"/>
                    <a:pt x="1109" y="2853"/>
                    <a:pt x="1111" y="2838"/>
                  </a:cubicBezTo>
                  <a:cubicBezTo>
                    <a:pt x="1113" y="2823"/>
                    <a:pt x="1133" y="2811"/>
                    <a:pt x="1154" y="2813"/>
                  </a:cubicBezTo>
                  <a:cubicBezTo>
                    <a:pt x="1175" y="2814"/>
                    <a:pt x="1191" y="2827"/>
                    <a:pt x="1189" y="2842"/>
                  </a:cubicBezTo>
                  <a:close/>
                  <a:moveTo>
                    <a:pt x="1100" y="2789"/>
                  </a:moveTo>
                  <a:cubicBezTo>
                    <a:pt x="1078" y="2788"/>
                    <a:pt x="1063" y="2774"/>
                    <a:pt x="1065" y="2759"/>
                  </a:cubicBezTo>
                  <a:cubicBezTo>
                    <a:pt x="1067" y="2744"/>
                    <a:pt x="1087" y="2733"/>
                    <a:pt x="1108" y="2734"/>
                  </a:cubicBezTo>
                  <a:cubicBezTo>
                    <a:pt x="1129" y="2735"/>
                    <a:pt x="1144" y="2748"/>
                    <a:pt x="1142" y="2764"/>
                  </a:cubicBezTo>
                  <a:cubicBezTo>
                    <a:pt x="1140" y="2779"/>
                    <a:pt x="1121" y="2790"/>
                    <a:pt x="1100" y="2789"/>
                  </a:cubicBezTo>
                  <a:close/>
                  <a:moveTo>
                    <a:pt x="1067" y="2836"/>
                  </a:moveTo>
                  <a:cubicBezTo>
                    <a:pt x="1065" y="2851"/>
                    <a:pt x="1045" y="2862"/>
                    <a:pt x="1024" y="2861"/>
                  </a:cubicBezTo>
                  <a:cubicBezTo>
                    <a:pt x="1002" y="2859"/>
                    <a:pt x="987" y="2846"/>
                    <a:pt x="989" y="2831"/>
                  </a:cubicBezTo>
                  <a:cubicBezTo>
                    <a:pt x="992" y="2816"/>
                    <a:pt x="1011" y="2805"/>
                    <a:pt x="1032" y="2806"/>
                  </a:cubicBezTo>
                  <a:cubicBezTo>
                    <a:pt x="1054" y="2807"/>
                    <a:pt x="1069" y="2820"/>
                    <a:pt x="1067" y="2836"/>
                  </a:cubicBezTo>
                  <a:close/>
                  <a:moveTo>
                    <a:pt x="978" y="2782"/>
                  </a:moveTo>
                  <a:cubicBezTo>
                    <a:pt x="957" y="2780"/>
                    <a:pt x="942" y="2767"/>
                    <a:pt x="944" y="2752"/>
                  </a:cubicBezTo>
                  <a:cubicBezTo>
                    <a:pt x="947" y="2737"/>
                    <a:pt x="966" y="2725"/>
                    <a:pt x="987" y="2727"/>
                  </a:cubicBezTo>
                  <a:cubicBezTo>
                    <a:pt x="1009" y="2728"/>
                    <a:pt x="1024" y="2741"/>
                    <a:pt x="1021" y="2757"/>
                  </a:cubicBezTo>
                  <a:cubicBezTo>
                    <a:pt x="1019" y="2772"/>
                    <a:pt x="1000" y="2783"/>
                    <a:pt x="978" y="2782"/>
                  </a:cubicBezTo>
                  <a:close/>
                  <a:moveTo>
                    <a:pt x="945" y="2828"/>
                  </a:moveTo>
                  <a:cubicBezTo>
                    <a:pt x="943" y="2843"/>
                    <a:pt x="923" y="2855"/>
                    <a:pt x="901" y="2853"/>
                  </a:cubicBezTo>
                  <a:cubicBezTo>
                    <a:pt x="880" y="2852"/>
                    <a:pt x="865" y="2838"/>
                    <a:pt x="867" y="2823"/>
                  </a:cubicBezTo>
                  <a:cubicBezTo>
                    <a:pt x="870" y="2808"/>
                    <a:pt x="890" y="2797"/>
                    <a:pt x="911" y="2798"/>
                  </a:cubicBezTo>
                  <a:cubicBezTo>
                    <a:pt x="932" y="2800"/>
                    <a:pt x="948" y="2813"/>
                    <a:pt x="945" y="2828"/>
                  </a:cubicBezTo>
                  <a:close/>
                  <a:moveTo>
                    <a:pt x="857" y="2774"/>
                  </a:moveTo>
                  <a:cubicBezTo>
                    <a:pt x="836" y="2772"/>
                    <a:pt x="821" y="2759"/>
                    <a:pt x="824" y="2743"/>
                  </a:cubicBezTo>
                  <a:cubicBezTo>
                    <a:pt x="827" y="2728"/>
                    <a:pt x="846" y="2717"/>
                    <a:pt x="867" y="2719"/>
                  </a:cubicBezTo>
                  <a:cubicBezTo>
                    <a:pt x="888" y="2720"/>
                    <a:pt x="903" y="2734"/>
                    <a:pt x="901" y="2749"/>
                  </a:cubicBezTo>
                  <a:cubicBezTo>
                    <a:pt x="898" y="2764"/>
                    <a:pt x="879" y="2775"/>
                    <a:pt x="857" y="2774"/>
                  </a:cubicBezTo>
                  <a:close/>
                  <a:moveTo>
                    <a:pt x="823" y="2820"/>
                  </a:moveTo>
                  <a:cubicBezTo>
                    <a:pt x="820" y="2835"/>
                    <a:pt x="801" y="2846"/>
                    <a:pt x="779" y="2845"/>
                  </a:cubicBezTo>
                  <a:cubicBezTo>
                    <a:pt x="758" y="2843"/>
                    <a:pt x="743" y="2829"/>
                    <a:pt x="745" y="2814"/>
                  </a:cubicBezTo>
                  <a:cubicBezTo>
                    <a:pt x="748" y="2799"/>
                    <a:pt x="768" y="2788"/>
                    <a:pt x="790" y="2790"/>
                  </a:cubicBezTo>
                  <a:cubicBezTo>
                    <a:pt x="811" y="2791"/>
                    <a:pt x="826" y="2805"/>
                    <a:pt x="823" y="2820"/>
                  </a:cubicBezTo>
                  <a:close/>
                  <a:moveTo>
                    <a:pt x="736" y="2765"/>
                  </a:moveTo>
                  <a:cubicBezTo>
                    <a:pt x="715" y="2763"/>
                    <a:pt x="700" y="2749"/>
                    <a:pt x="703" y="2734"/>
                  </a:cubicBezTo>
                  <a:cubicBezTo>
                    <a:pt x="706" y="2719"/>
                    <a:pt x="726" y="2708"/>
                    <a:pt x="747" y="2710"/>
                  </a:cubicBezTo>
                  <a:cubicBezTo>
                    <a:pt x="768" y="2712"/>
                    <a:pt x="783" y="2725"/>
                    <a:pt x="780" y="2740"/>
                  </a:cubicBezTo>
                  <a:cubicBezTo>
                    <a:pt x="777" y="2755"/>
                    <a:pt x="757" y="2766"/>
                    <a:pt x="736" y="2765"/>
                  </a:cubicBezTo>
                  <a:close/>
                  <a:moveTo>
                    <a:pt x="688" y="2682"/>
                  </a:moveTo>
                  <a:cubicBezTo>
                    <a:pt x="667" y="2680"/>
                    <a:pt x="653" y="2666"/>
                    <a:pt x="656" y="2651"/>
                  </a:cubicBezTo>
                  <a:cubicBezTo>
                    <a:pt x="659" y="2636"/>
                    <a:pt x="679" y="2625"/>
                    <a:pt x="700" y="2627"/>
                  </a:cubicBezTo>
                  <a:cubicBezTo>
                    <a:pt x="721" y="2628"/>
                    <a:pt x="735" y="2642"/>
                    <a:pt x="732" y="2657"/>
                  </a:cubicBezTo>
                  <a:cubicBezTo>
                    <a:pt x="729" y="2672"/>
                    <a:pt x="710" y="2683"/>
                    <a:pt x="688" y="2682"/>
                  </a:cubicBezTo>
                  <a:close/>
                  <a:moveTo>
                    <a:pt x="659" y="2731"/>
                  </a:moveTo>
                  <a:cubicBezTo>
                    <a:pt x="656" y="2746"/>
                    <a:pt x="636" y="2757"/>
                    <a:pt x="615" y="2755"/>
                  </a:cubicBezTo>
                  <a:cubicBezTo>
                    <a:pt x="594" y="2753"/>
                    <a:pt x="579" y="2739"/>
                    <a:pt x="582" y="2724"/>
                  </a:cubicBezTo>
                  <a:cubicBezTo>
                    <a:pt x="586" y="2709"/>
                    <a:pt x="605" y="2698"/>
                    <a:pt x="627" y="2700"/>
                  </a:cubicBezTo>
                  <a:cubicBezTo>
                    <a:pt x="648" y="2702"/>
                    <a:pt x="663" y="2716"/>
                    <a:pt x="659" y="2731"/>
                  </a:cubicBezTo>
                  <a:close/>
                  <a:moveTo>
                    <a:pt x="569" y="2671"/>
                  </a:moveTo>
                  <a:cubicBezTo>
                    <a:pt x="547" y="2669"/>
                    <a:pt x="533" y="2656"/>
                    <a:pt x="536" y="2641"/>
                  </a:cubicBezTo>
                  <a:cubicBezTo>
                    <a:pt x="540" y="2625"/>
                    <a:pt x="560" y="2615"/>
                    <a:pt x="581" y="2617"/>
                  </a:cubicBezTo>
                  <a:cubicBezTo>
                    <a:pt x="602" y="2618"/>
                    <a:pt x="616" y="2632"/>
                    <a:pt x="613" y="2647"/>
                  </a:cubicBezTo>
                  <a:cubicBezTo>
                    <a:pt x="609" y="2662"/>
                    <a:pt x="590" y="2673"/>
                    <a:pt x="569" y="2671"/>
                  </a:cubicBezTo>
                  <a:close/>
                  <a:moveTo>
                    <a:pt x="539" y="2720"/>
                  </a:moveTo>
                  <a:cubicBezTo>
                    <a:pt x="535" y="2736"/>
                    <a:pt x="515" y="2746"/>
                    <a:pt x="494" y="2744"/>
                  </a:cubicBezTo>
                  <a:cubicBezTo>
                    <a:pt x="473" y="2742"/>
                    <a:pt x="458" y="2729"/>
                    <a:pt x="462" y="2713"/>
                  </a:cubicBezTo>
                  <a:cubicBezTo>
                    <a:pt x="465" y="2698"/>
                    <a:pt x="485" y="2688"/>
                    <a:pt x="507" y="2690"/>
                  </a:cubicBezTo>
                  <a:cubicBezTo>
                    <a:pt x="528" y="2692"/>
                    <a:pt x="542" y="2705"/>
                    <a:pt x="539" y="2720"/>
                  </a:cubicBezTo>
                  <a:close/>
                  <a:moveTo>
                    <a:pt x="449" y="2660"/>
                  </a:moveTo>
                  <a:cubicBezTo>
                    <a:pt x="428" y="2658"/>
                    <a:pt x="414" y="2644"/>
                    <a:pt x="417" y="2629"/>
                  </a:cubicBezTo>
                  <a:cubicBezTo>
                    <a:pt x="421" y="2614"/>
                    <a:pt x="441" y="2603"/>
                    <a:pt x="462" y="2606"/>
                  </a:cubicBezTo>
                  <a:cubicBezTo>
                    <a:pt x="483" y="2608"/>
                    <a:pt x="497" y="2621"/>
                    <a:pt x="493" y="2637"/>
                  </a:cubicBezTo>
                  <a:cubicBezTo>
                    <a:pt x="490" y="2652"/>
                    <a:pt x="470" y="2662"/>
                    <a:pt x="449" y="2660"/>
                  </a:cubicBezTo>
                  <a:close/>
                  <a:moveTo>
                    <a:pt x="458" y="2790"/>
                  </a:moveTo>
                  <a:cubicBezTo>
                    <a:pt x="454" y="2805"/>
                    <a:pt x="434" y="2816"/>
                    <a:pt x="413" y="2814"/>
                  </a:cubicBezTo>
                  <a:cubicBezTo>
                    <a:pt x="391" y="2812"/>
                    <a:pt x="377" y="2798"/>
                    <a:pt x="380" y="2783"/>
                  </a:cubicBezTo>
                  <a:cubicBezTo>
                    <a:pt x="384" y="2768"/>
                    <a:pt x="404" y="2757"/>
                    <a:pt x="426" y="2759"/>
                  </a:cubicBezTo>
                  <a:cubicBezTo>
                    <a:pt x="447" y="2761"/>
                    <a:pt x="461" y="2775"/>
                    <a:pt x="458" y="2790"/>
                  </a:cubicBezTo>
                  <a:close/>
                  <a:moveTo>
                    <a:pt x="382" y="2863"/>
                  </a:moveTo>
                  <a:cubicBezTo>
                    <a:pt x="378" y="2878"/>
                    <a:pt x="358" y="2888"/>
                    <a:pt x="336" y="2886"/>
                  </a:cubicBezTo>
                  <a:cubicBezTo>
                    <a:pt x="314" y="2884"/>
                    <a:pt x="299" y="2870"/>
                    <a:pt x="303" y="2855"/>
                  </a:cubicBezTo>
                  <a:cubicBezTo>
                    <a:pt x="307" y="2840"/>
                    <a:pt x="328" y="2829"/>
                    <a:pt x="349" y="2832"/>
                  </a:cubicBezTo>
                  <a:cubicBezTo>
                    <a:pt x="371" y="2834"/>
                    <a:pt x="385" y="2848"/>
                    <a:pt x="382" y="2863"/>
                  </a:cubicBezTo>
                  <a:close/>
                  <a:moveTo>
                    <a:pt x="290" y="2802"/>
                  </a:moveTo>
                  <a:cubicBezTo>
                    <a:pt x="269" y="2800"/>
                    <a:pt x="255" y="2786"/>
                    <a:pt x="259" y="2770"/>
                  </a:cubicBezTo>
                  <a:cubicBezTo>
                    <a:pt x="262" y="2755"/>
                    <a:pt x="283" y="2745"/>
                    <a:pt x="304" y="2747"/>
                  </a:cubicBezTo>
                  <a:cubicBezTo>
                    <a:pt x="326" y="2749"/>
                    <a:pt x="340" y="2763"/>
                    <a:pt x="336" y="2778"/>
                  </a:cubicBezTo>
                  <a:cubicBezTo>
                    <a:pt x="332" y="2794"/>
                    <a:pt x="312" y="2804"/>
                    <a:pt x="290" y="2802"/>
                  </a:cubicBezTo>
                  <a:close/>
                  <a:moveTo>
                    <a:pt x="259" y="2851"/>
                  </a:moveTo>
                  <a:cubicBezTo>
                    <a:pt x="255" y="2866"/>
                    <a:pt x="234" y="2876"/>
                    <a:pt x="213" y="2874"/>
                  </a:cubicBezTo>
                  <a:cubicBezTo>
                    <a:pt x="191" y="2872"/>
                    <a:pt x="176" y="2857"/>
                    <a:pt x="180" y="2842"/>
                  </a:cubicBezTo>
                  <a:cubicBezTo>
                    <a:pt x="184" y="2827"/>
                    <a:pt x="205" y="2817"/>
                    <a:pt x="227" y="2819"/>
                  </a:cubicBezTo>
                  <a:cubicBezTo>
                    <a:pt x="248" y="2821"/>
                    <a:pt x="263" y="2835"/>
                    <a:pt x="259" y="2851"/>
                  </a:cubicBezTo>
                  <a:close/>
                  <a:moveTo>
                    <a:pt x="209" y="2636"/>
                  </a:moveTo>
                  <a:cubicBezTo>
                    <a:pt x="188" y="2633"/>
                    <a:pt x="175" y="2619"/>
                    <a:pt x="179" y="2604"/>
                  </a:cubicBezTo>
                  <a:cubicBezTo>
                    <a:pt x="183" y="2589"/>
                    <a:pt x="203" y="2579"/>
                    <a:pt x="224" y="2581"/>
                  </a:cubicBezTo>
                  <a:cubicBezTo>
                    <a:pt x="245" y="2583"/>
                    <a:pt x="259" y="2597"/>
                    <a:pt x="255" y="2612"/>
                  </a:cubicBezTo>
                  <a:cubicBezTo>
                    <a:pt x="251" y="2628"/>
                    <a:pt x="230" y="2638"/>
                    <a:pt x="209" y="2636"/>
                  </a:cubicBezTo>
                  <a:close/>
                  <a:moveTo>
                    <a:pt x="220" y="2451"/>
                  </a:moveTo>
                  <a:cubicBezTo>
                    <a:pt x="224" y="2436"/>
                    <a:pt x="244" y="2425"/>
                    <a:pt x="265" y="2428"/>
                  </a:cubicBezTo>
                  <a:cubicBezTo>
                    <a:pt x="285" y="2430"/>
                    <a:pt x="299" y="2444"/>
                    <a:pt x="295" y="2459"/>
                  </a:cubicBezTo>
                  <a:cubicBezTo>
                    <a:pt x="291" y="2474"/>
                    <a:pt x="271" y="2485"/>
                    <a:pt x="250" y="2482"/>
                  </a:cubicBezTo>
                  <a:cubicBezTo>
                    <a:pt x="230" y="2480"/>
                    <a:pt x="216" y="2466"/>
                    <a:pt x="220" y="2451"/>
                  </a:cubicBezTo>
                  <a:close/>
                  <a:moveTo>
                    <a:pt x="215" y="2401"/>
                  </a:moveTo>
                  <a:cubicBezTo>
                    <a:pt x="195" y="2398"/>
                    <a:pt x="182" y="2384"/>
                    <a:pt x="186" y="2369"/>
                  </a:cubicBezTo>
                  <a:cubicBezTo>
                    <a:pt x="190" y="2354"/>
                    <a:pt x="210" y="2344"/>
                    <a:pt x="230" y="2346"/>
                  </a:cubicBezTo>
                  <a:cubicBezTo>
                    <a:pt x="251" y="2348"/>
                    <a:pt x="264" y="2363"/>
                    <a:pt x="260" y="2378"/>
                  </a:cubicBezTo>
                  <a:cubicBezTo>
                    <a:pt x="256" y="2393"/>
                    <a:pt x="236" y="2403"/>
                    <a:pt x="215" y="2401"/>
                  </a:cubicBezTo>
                  <a:close/>
                  <a:moveTo>
                    <a:pt x="220" y="2163"/>
                  </a:moveTo>
                  <a:cubicBezTo>
                    <a:pt x="200" y="2160"/>
                    <a:pt x="187" y="2146"/>
                    <a:pt x="191" y="2131"/>
                  </a:cubicBezTo>
                  <a:cubicBezTo>
                    <a:pt x="196" y="2116"/>
                    <a:pt x="215" y="2106"/>
                    <a:pt x="235" y="2108"/>
                  </a:cubicBezTo>
                  <a:cubicBezTo>
                    <a:pt x="255" y="2110"/>
                    <a:pt x="267" y="2124"/>
                    <a:pt x="263" y="2140"/>
                  </a:cubicBezTo>
                  <a:cubicBezTo>
                    <a:pt x="259" y="2155"/>
                    <a:pt x="239" y="2165"/>
                    <a:pt x="220" y="2163"/>
                  </a:cubicBezTo>
                  <a:close/>
                  <a:moveTo>
                    <a:pt x="188" y="2081"/>
                  </a:moveTo>
                  <a:cubicBezTo>
                    <a:pt x="168" y="2078"/>
                    <a:pt x="156" y="2064"/>
                    <a:pt x="161" y="2049"/>
                  </a:cubicBezTo>
                  <a:cubicBezTo>
                    <a:pt x="165" y="2034"/>
                    <a:pt x="184" y="2024"/>
                    <a:pt x="204" y="2026"/>
                  </a:cubicBezTo>
                  <a:cubicBezTo>
                    <a:pt x="223" y="2029"/>
                    <a:pt x="236" y="2043"/>
                    <a:pt x="231" y="2058"/>
                  </a:cubicBezTo>
                  <a:cubicBezTo>
                    <a:pt x="227" y="2073"/>
                    <a:pt x="208" y="2083"/>
                    <a:pt x="188" y="2081"/>
                  </a:cubicBezTo>
                  <a:close/>
                  <a:moveTo>
                    <a:pt x="198" y="1843"/>
                  </a:moveTo>
                  <a:cubicBezTo>
                    <a:pt x="179" y="1840"/>
                    <a:pt x="168" y="1826"/>
                    <a:pt x="172" y="1811"/>
                  </a:cubicBezTo>
                  <a:cubicBezTo>
                    <a:pt x="177" y="1796"/>
                    <a:pt x="196" y="1785"/>
                    <a:pt x="215" y="1788"/>
                  </a:cubicBezTo>
                  <a:cubicBezTo>
                    <a:pt x="233" y="1790"/>
                    <a:pt x="245" y="1805"/>
                    <a:pt x="241" y="1820"/>
                  </a:cubicBezTo>
                  <a:cubicBezTo>
                    <a:pt x="236" y="1835"/>
                    <a:pt x="217" y="1845"/>
                    <a:pt x="198" y="1843"/>
                  </a:cubicBezTo>
                  <a:close/>
                  <a:moveTo>
                    <a:pt x="192" y="1576"/>
                  </a:moveTo>
                  <a:cubicBezTo>
                    <a:pt x="197" y="1561"/>
                    <a:pt x="215" y="1551"/>
                    <a:pt x="234" y="1553"/>
                  </a:cubicBezTo>
                  <a:cubicBezTo>
                    <a:pt x="252" y="1556"/>
                    <a:pt x="263" y="1570"/>
                    <a:pt x="258" y="1585"/>
                  </a:cubicBezTo>
                  <a:cubicBezTo>
                    <a:pt x="254" y="1600"/>
                    <a:pt x="235" y="1610"/>
                    <a:pt x="217" y="1608"/>
                  </a:cubicBezTo>
                  <a:cubicBezTo>
                    <a:pt x="199" y="1605"/>
                    <a:pt x="187" y="1591"/>
                    <a:pt x="192" y="1576"/>
                  </a:cubicBezTo>
                  <a:close/>
                  <a:moveTo>
                    <a:pt x="211" y="1338"/>
                  </a:moveTo>
                  <a:cubicBezTo>
                    <a:pt x="216" y="1323"/>
                    <a:pt x="234" y="1313"/>
                    <a:pt x="252" y="1315"/>
                  </a:cubicBezTo>
                  <a:cubicBezTo>
                    <a:pt x="269" y="1318"/>
                    <a:pt x="280" y="1332"/>
                    <a:pt x="275" y="1347"/>
                  </a:cubicBezTo>
                  <a:cubicBezTo>
                    <a:pt x="270" y="1362"/>
                    <a:pt x="252" y="1372"/>
                    <a:pt x="234" y="1370"/>
                  </a:cubicBezTo>
                  <a:cubicBezTo>
                    <a:pt x="217" y="1367"/>
                    <a:pt x="206" y="1353"/>
                    <a:pt x="211" y="1338"/>
                  </a:cubicBezTo>
                  <a:close/>
                  <a:moveTo>
                    <a:pt x="188" y="1256"/>
                  </a:moveTo>
                  <a:cubicBezTo>
                    <a:pt x="193" y="1241"/>
                    <a:pt x="211" y="1231"/>
                    <a:pt x="228" y="1233"/>
                  </a:cubicBezTo>
                  <a:cubicBezTo>
                    <a:pt x="246" y="1236"/>
                    <a:pt x="256" y="1250"/>
                    <a:pt x="251" y="1265"/>
                  </a:cubicBezTo>
                  <a:cubicBezTo>
                    <a:pt x="247" y="1280"/>
                    <a:pt x="228" y="1290"/>
                    <a:pt x="211" y="1288"/>
                  </a:cubicBezTo>
                  <a:cubicBezTo>
                    <a:pt x="193" y="1285"/>
                    <a:pt x="183" y="1271"/>
                    <a:pt x="188" y="1256"/>
                  </a:cubicBezTo>
                  <a:close/>
                  <a:moveTo>
                    <a:pt x="213" y="1018"/>
                  </a:moveTo>
                  <a:cubicBezTo>
                    <a:pt x="218" y="1003"/>
                    <a:pt x="236" y="993"/>
                    <a:pt x="252" y="995"/>
                  </a:cubicBezTo>
                  <a:cubicBezTo>
                    <a:pt x="269" y="998"/>
                    <a:pt x="279" y="1012"/>
                    <a:pt x="274" y="1027"/>
                  </a:cubicBezTo>
                  <a:cubicBezTo>
                    <a:pt x="269" y="1042"/>
                    <a:pt x="251" y="1052"/>
                    <a:pt x="235" y="1050"/>
                  </a:cubicBezTo>
                  <a:cubicBezTo>
                    <a:pt x="218" y="1047"/>
                    <a:pt x="208" y="1033"/>
                    <a:pt x="213" y="1018"/>
                  </a:cubicBezTo>
                  <a:close/>
                  <a:moveTo>
                    <a:pt x="194" y="936"/>
                  </a:moveTo>
                  <a:cubicBezTo>
                    <a:pt x="199" y="921"/>
                    <a:pt x="216" y="911"/>
                    <a:pt x="233" y="913"/>
                  </a:cubicBezTo>
                  <a:cubicBezTo>
                    <a:pt x="249" y="916"/>
                    <a:pt x="259" y="930"/>
                    <a:pt x="254" y="945"/>
                  </a:cubicBezTo>
                  <a:cubicBezTo>
                    <a:pt x="249" y="960"/>
                    <a:pt x="231" y="970"/>
                    <a:pt x="214" y="968"/>
                  </a:cubicBezTo>
                  <a:cubicBezTo>
                    <a:pt x="198" y="965"/>
                    <a:pt x="188" y="951"/>
                    <a:pt x="194" y="936"/>
                  </a:cubicBezTo>
                  <a:close/>
                  <a:moveTo>
                    <a:pt x="246" y="783"/>
                  </a:moveTo>
                  <a:cubicBezTo>
                    <a:pt x="251" y="768"/>
                    <a:pt x="268" y="758"/>
                    <a:pt x="284" y="761"/>
                  </a:cubicBezTo>
                  <a:cubicBezTo>
                    <a:pt x="300" y="763"/>
                    <a:pt x="309" y="778"/>
                    <a:pt x="304" y="793"/>
                  </a:cubicBezTo>
                  <a:cubicBezTo>
                    <a:pt x="299" y="808"/>
                    <a:pt x="282" y="818"/>
                    <a:pt x="266" y="815"/>
                  </a:cubicBezTo>
                  <a:cubicBezTo>
                    <a:pt x="250" y="813"/>
                    <a:pt x="241" y="798"/>
                    <a:pt x="246" y="783"/>
                  </a:cubicBezTo>
                  <a:close/>
                  <a:moveTo>
                    <a:pt x="324" y="874"/>
                  </a:moveTo>
                  <a:cubicBezTo>
                    <a:pt x="319" y="889"/>
                    <a:pt x="301" y="900"/>
                    <a:pt x="285" y="897"/>
                  </a:cubicBezTo>
                  <a:cubicBezTo>
                    <a:pt x="268" y="895"/>
                    <a:pt x="259" y="880"/>
                    <a:pt x="264" y="865"/>
                  </a:cubicBezTo>
                  <a:cubicBezTo>
                    <a:pt x="269" y="850"/>
                    <a:pt x="286" y="840"/>
                    <a:pt x="303" y="843"/>
                  </a:cubicBezTo>
                  <a:cubicBezTo>
                    <a:pt x="319" y="845"/>
                    <a:pt x="328" y="859"/>
                    <a:pt x="324" y="874"/>
                  </a:cubicBezTo>
                  <a:close/>
                  <a:moveTo>
                    <a:pt x="327" y="928"/>
                  </a:moveTo>
                  <a:cubicBezTo>
                    <a:pt x="343" y="930"/>
                    <a:pt x="353" y="944"/>
                    <a:pt x="348" y="960"/>
                  </a:cubicBezTo>
                  <a:cubicBezTo>
                    <a:pt x="343" y="975"/>
                    <a:pt x="326" y="985"/>
                    <a:pt x="309" y="982"/>
                  </a:cubicBezTo>
                  <a:cubicBezTo>
                    <a:pt x="292" y="980"/>
                    <a:pt x="283" y="966"/>
                    <a:pt x="288" y="951"/>
                  </a:cubicBezTo>
                  <a:cubicBezTo>
                    <a:pt x="293" y="935"/>
                    <a:pt x="310" y="925"/>
                    <a:pt x="327" y="928"/>
                  </a:cubicBezTo>
                  <a:close/>
                  <a:moveTo>
                    <a:pt x="338" y="798"/>
                  </a:moveTo>
                  <a:cubicBezTo>
                    <a:pt x="343" y="783"/>
                    <a:pt x="360" y="773"/>
                    <a:pt x="376" y="775"/>
                  </a:cubicBezTo>
                  <a:cubicBezTo>
                    <a:pt x="392" y="777"/>
                    <a:pt x="401" y="792"/>
                    <a:pt x="396" y="807"/>
                  </a:cubicBezTo>
                  <a:cubicBezTo>
                    <a:pt x="392" y="822"/>
                    <a:pt x="374" y="832"/>
                    <a:pt x="358" y="830"/>
                  </a:cubicBezTo>
                  <a:cubicBezTo>
                    <a:pt x="342" y="827"/>
                    <a:pt x="333" y="813"/>
                    <a:pt x="338" y="798"/>
                  </a:cubicBezTo>
                  <a:close/>
                  <a:moveTo>
                    <a:pt x="417" y="888"/>
                  </a:moveTo>
                  <a:cubicBezTo>
                    <a:pt x="412" y="903"/>
                    <a:pt x="395" y="914"/>
                    <a:pt x="378" y="911"/>
                  </a:cubicBezTo>
                  <a:cubicBezTo>
                    <a:pt x="362" y="909"/>
                    <a:pt x="352" y="895"/>
                    <a:pt x="357" y="879"/>
                  </a:cubicBezTo>
                  <a:cubicBezTo>
                    <a:pt x="362" y="864"/>
                    <a:pt x="379" y="854"/>
                    <a:pt x="395" y="857"/>
                  </a:cubicBezTo>
                  <a:cubicBezTo>
                    <a:pt x="412" y="859"/>
                    <a:pt x="421" y="873"/>
                    <a:pt x="417" y="888"/>
                  </a:cubicBezTo>
                  <a:close/>
                  <a:moveTo>
                    <a:pt x="421" y="942"/>
                  </a:moveTo>
                  <a:cubicBezTo>
                    <a:pt x="437" y="944"/>
                    <a:pt x="447" y="958"/>
                    <a:pt x="442" y="973"/>
                  </a:cubicBezTo>
                  <a:cubicBezTo>
                    <a:pt x="438" y="988"/>
                    <a:pt x="421" y="998"/>
                    <a:pt x="404" y="996"/>
                  </a:cubicBezTo>
                  <a:cubicBezTo>
                    <a:pt x="387" y="994"/>
                    <a:pt x="377" y="980"/>
                    <a:pt x="382" y="964"/>
                  </a:cubicBezTo>
                  <a:cubicBezTo>
                    <a:pt x="387" y="949"/>
                    <a:pt x="404" y="939"/>
                    <a:pt x="421" y="942"/>
                  </a:cubicBezTo>
                  <a:close/>
                  <a:moveTo>
                    <a:pt x="430" y="812"/>
                  </a:moveTo>
                  <a:cubicBezTo>
                    <a:pt x="434" y="797"/>
                    <a:pt x="451" y="786"/>
                    <a:pt x="467" y="789"/>
                  </a:cubicBezTo>
                  <a:cubicBezTo>
                    <a:pt x="483" y="791"/>
                    <a:pt x="493" y="805"/>
                    <a:pt x="488" y="820"/>
                  </a:cubicBezTo>
                  <a:cubicBezTo>
                    <a:pt x="484" y="835"/>
                    <a:pt x="467" y="846"/>
                    <a:pt x="451" y="843"/>
                  </a:cubicBezTo>
                  <a:cubicBezTo>
                    <a:pt x="434" y="841"/>
                    <a:pt x="425" y="827"/>
                    <a:pt x="430" y="812"/>
                  </a:cubicBezTo>
                  <a:close/>
                  <a:moveTo>
                    <a:pt x="510" y="901"/>
                  </a:moveTo>
                  <a:cubicBezTo>
                    <a:pt x="505" y="916"/>
                    <a:pt x="488" y="927"/>
                    <a:pt x="472" y="925"/>
                  </a:cubicBezTo>
                  <a:cubicBezTo>
                    <a:pt x="455" y="922"/>
                    <a:pt x="446" y="908"/>
                    <a:pt x="450" y="893"/>
                  </a:cubicBezTo>
                  <a:cubicBezTo>
                    <a:pt x="455" y="878"/>
                    <a:pt x="472" y="868"/>
                    <a:pt x="488" y="870"/>
                  </a:cubicBezTo>
                  <a:cubicBezTo>
                    <a:pt x="505" y="872"/>
                    <a:pt x="514" y="886"/>
                    <a:pt x="510" y="901"/>
                  </a:cubicBezTo>
                  <a:close/>
                  <a:moveTo>
                    <a:pt x="497" y="740"/>
                  </a:moveTo>
                  <a:cubicBezTo>
                    <a:pt x="501" y="725"/>
                    <a:pt x="518" y="715"/>
                    <a:pt x="534" y="717"/>
                  </a:cubicBezTo>
                  <a:cubicBezTo>
                    <a:pt x="550" y="719"/>
                    <a:pt x="559" y="733"/>
                    <a:pt x="555" y="748"/>
                  </a:cubicBezTo>
                  <a:cubicBezTo>
                    <a:pt x="550" y="763"/>
                    <a:pt x="534" y="774"/>
                    <a:pt x="518" y="772"/>
                  </a:cubicBezTo>
                  <a:cubicBezTo>
                    <a:pt x="501" y="769"/>
                    <a:pt x="492" y="755"/>
                    <a:pt x="497" y="740"/>
                  </a:cubicBezTo>
                  <a:close/>
                  <a:moveTo>
                    <a:pt x="559" y="801"/>
                  </a:moveTo>
                  <a:cubicBezTo>
                    <a:pt x="575" y="804"/>
                    <a:pt x="585" y="818"/>
                    <a:pt x="580" y="833"/>
                  </a:cubicBezTo>
                  <a:cubicBezTo>
                    <a:pt x="576" y="848"/>
                    <a:pt x="559" y="858"/>
                    <a:pt x="543" y="856"/>
                  </a:cubicBezTo>
                  <a:cubicBezTo>
                    <a:pt x="527" y="854"/>
                    <a:pt x="517" y="840"/>
                    <a:pt x="522" y="825"/>
                  </a:cubicBezTo>
                  <a:cubicBezTo>
                    <a:pt x="526" y="810"/>
                    <a:pt x="543" y="799"/>
                    <a:pt x="559" y="801"/>
                  </a:cubicBezTo>
                  <a:close/>
                  <a:moveTo>
                    <a:pt x="603" y="914"/>
                  </a:moveTo>
                  <a:cubicBezTo>
                    <a:pt x="599" y="929"/>
                    <a:pt x="582" y="939"/>
                    <a:pt x="566" y="937"/>
                  </a:cubicBezTo>
                  <a:cubicBezTo>
                    <a:pt x="549" y="935"/>
                    <a:pt x="539" y="921"/>
                    <a:pt x="544" y="906"/>
                  </a:cubicBezTo>
                  <a:cubicBezTo>
                    <a:pt x="548" y="891"/>
                    <a:pt x="565" y="880"/>
                    <a:pt x="581" y="883"/>
                  </a:cubicBezTo>
                  <a:cubicBezTo>
                    <a:pt x="597" y="885"/>
                    <a:pt x="607" y="899"/>
                    <a:pt x="603" y="914"/>
                  </a:cubicBezTo>
                  <a:close/>
                  <a:moveTo>
                    <a:pt x="588" y="753"/>
                  </a:moveTo>
                  <a:cubicBezTo>
                    <a:pt x="592" y="738"/>
                    <a:pt x="608" y="727"/>
                    <a:pt x="624" y="729"/>
                  </a:cubicBezTo>
                  <a:cubicBezTo>
                    <a:pt x="640" y="732"/>
                    <a:pt x="650" y="745"/>
                    <a:pt x="646" y="761"/>
                  </a:cubicBezTo>
                  <a:cubicBezTo>
                    <a:pt x="641" y="776"/>
                    <a:pt x="625" y="786"/>
                    <a:pt x="609" y="784"/>
                  </a:cubicBezTo>
                  <a:cubicBezTo>
                    <a:pt x="593" y="782"/>
                    <a:pt x="583" y="768"/>
                    <a:pt x="588" y="753"/>
                  </a:cubicBezTo>
                  <a:close/>
                  <a:moveTo>
                    <a:pt x="650" y="814"/>
                  </a:moveTo>
                  <a:cubicBezTo>
                    <a:pt x="667" y="816"/>
                    <a:pt x="676" y="830"/>
                    <a:pt x="672" y="845"/>
                  </a:cubicBezTo>
                  <a:cubicBezTo>
                    <a:pt x="668" y="860"/>
                    <a:pt x="652" y="870"/>
                    <a:pt x="636" y="868"/>
                  </a:cubicBezTo>
                  <a:cubicBezTo>
                    <a:pt x="619" y="866"/>
                    <a:pt x="609" y="852"/>
                    <a:pt x="614" y="837"/>
                  </a:cubicBezTo>
                  <a:cubicBezTo>
                    <a:pt x="618" y="822"/>
                    <a:pt x="634" y="812"/>
                    <a:pt x="650" y="814"/>
                  </a:cubicBezTo>
                  <a:close/>
                  <a:moveTo>
                    <a:pt x="674" y="895"/>
                  </a:moveTo>
                  <a:cubicBezTo>
                    <a:pt x="690" y="897"/>
                    <a:pt x="700" y="910"/>
                    <a:pt x="696" y="926"/>
                  </a:cubicBezTo>
                  <a:cubicBezTo>
                    <a:pt x="692" y="941"/>
                    <a:pt x="676" y="951"/>
                    <a:pt x="659" y="949"/>
                  </a:cubicBezTo>
                  <a:cubicBezTo>
                    <a:pt x="643" y="947"/>
                    <a:pt x="633" y="933"/>
                    <a:pt x="637" y="918"/>
                  </a:cubicBezTo>
                  <a:cubicBezTo>
                    <a:pt x="641" y="903"/>
                    <a:pt x="657" y="892"/>
                    <a:pt x="674" y="895"/>
                  </a:cubicBezTo>
                  <a:close/>
                  <a:moveTo>
                    <a:pt x="678" y="765"/>
                  </a:moveTo>
                  <a:cubicBezTo>
                    <a:pt x="683" y="750"/>
                    <a:pt x="699" y="739"/>
                    <a:pt x="715" y="741"/>
                  </a:cubicBezTo>
                  <a:cubicBezTo>
                    <a:pt x="731" y="743"/>
                    <a:pt x="740" y="757"/>
                    <a:pt x="736" y="772"/>
                  </a:cubicBezTo>
                  <a:cubicBezTo>
                    <a:pt x="733" y="787"/>
                    <a:pt x="716" y="798"/>
                    <a:pt x="700" y="796"/>
                  </a:cubicBezTo>
                  <a:cubicBezTo>
                    <a:pt x="684" y="794"/>
                    <a:pt x="674" y="780"/>
                    <a:pt x="678" y="765"/>
                  </a:cubicBezTo>
                  <a:close/>
                  <a:moveTo>
                    <a:pt x="742" y="825"/>
                  </a:moveTo>
                  <a:cubicBezTo>
                    <a:pt x="758" y="827"/>
                    <a:pt x="768" y="841"/>
                    <a:pt x="765" y="856"/>
                  </a:cubicBezTo>
                  <a:cubicBezTo>
                    <a:pt x="761" y="871"/>
                    <a:pt x="744" y="882"/>
                    <a:pt x="728" y="880"/>
                  </a:cubicBezTo>
                  <a:cubicBezTo>
                    <a:pt x="712" y="878"/>
                    <a:pt x="702" y="864"/>
                    <a:pt x="706" y="849"/>
                  </a:cubicBezTo>
                  <a:cubicBezTo>
                    <a:pt x="710" y="834"/>
                    <a:pt x="726" y="823"/>
                    <a:pt x="742" y="825"/>
                  </a:cubicBezTo>
                  <a:close/>
                  <a:moveTo>
                    <a:pt x="767" y="906"/>
                  </a:moveTo>
                  <a:cubicBezTo>
                    <a:pt x="783" y="908"/>
                    <a:pt x="793" y="922"/>
                    <a:pt x="790" y="937"/>
                  </a:cubicBezTo>
                  <a:cubicBezTo>
                    <a:pt x="786" y="952"/>
                    <a:pt x="770" y="963"/>
                    <a:pt x="753" y="961"/>
                  </a:cubicBezTo>
                  <a:cubicBezTo>
                    <a:pt x="736" y="959"/>
                    <a:pt x="726" y="945"/>
                    <a:pt x="730" y="930"/>
                  </a:cubicBezTo>
                  <a:cubicBezTo>
                    <a:pt x="734" y="915"/>
                    <a:pt x="750" y="904"/>
                    <a:pt x="767" y="906"/>
                  </a:cubicBezTo>
                  <a:close/>
                  <a:moveTo>
                    <a:pt x="769" y="776"/>
                  </a:moveTo>
                  <a:cubicBezTo>
                    <a:pt x="773" y="761"/>
                    <a:pt x="789" y="751"/>
                    <a:pt x="805" y="752"/>
                  </a:cubicBezTo>
                  <a:cubicBezTo>
                    <a:pt x="821" y="754"/>
                    <a:pt x="831" y="768"/>
                    <a:pt x="827" y="783"/>
                  </a:cubicBezTo>
                  <a:cubicBezTo>
                    <a:pt x="824" y="798"/>
                    <a:pt x="808" y="809"/>
                    <a:pt x="792" y="807"/>
                  </a:cubicBezTo>
                  <a:cubicBezTo>
                    <a:pt x="775" y="805"/>
                    <a:pt x="766" y="791"/>
                    <a:pt x="769" y="776"/>
                  </a:cubicBezTo>
                  <a:close/>
                  <a:moveTo>
                    <a:pt x="834" y="836"/>
                  </a:moveTo>
                  <a:cubicBezTo>
                    <a:pt x="850" y="838"/>
                    <a:pt x="860" y="852"/>
                    <a:pt x="857" y="867"/>
                  </a:cubicBezTo>
                  <a:cubicBezTo>
                    <a:pt x="853" y="882"/>
                    <a:pt x="837" y="893"/>
                    <a:pt x="821" y="891"/>
                  </a:cubicBezTo>
                  <a:cubicBezTo>
                    <a:pt x="804" y="889"/>
                    <a:pt x="794" y="875"/>
                    <a:pt x="798" y="860"/>
                  </a:cubicBezTo>
                  <a:cubicBezTo>
                    <a:pt x="802" y="845"/>
                    <a:pt x="818" y="834"/>
                    <a:pt x="834" y="836"/>
                  </a:cubicBezTo>
                  <a:close/>
                  <a:moveTo>
                    <a:pt x="860" y="917"/>
                  </a:moveTo>
                  <a:cubicBezTo>
                    <a:pt x="876" y="918"/>
                    <a:pt x="887" y="932"/>
                    <a:pt x="883" y="947"/>
                  </a:cubicBezTo>
                  <a:cubicBezTo>
                    <a:pt x="880" y="962"/>
                    <a:pt x="863" y="973"/>
                    <a:pt x="847" y="971"/>
                  </a:cubicBezTo>
                  <a:cubicBezTo>
                    <a:pt x="830" y="969"/>
                    <a:pt x="820" y="956"/>
                    <a:pt x="823" y="941"/>
                  </a:cubicBezTo>
                  <a:cubicBezTo>
                    <a:pt x="827" y="925"/>
                    <a:pt x="843" y="915"/>
                    <a:pt x="860" y="917"/>
                  </a:cubicBezTo>
                  <a:close/>
                  <a:moveTo>
                    <a:pt x="860" y="787"/>
                  </a:moveTo>
                  <a:cubicBezTo>
                    <a:pt x="864" y="772"/>
                    <a:pt x="880" y="761"/>
                    <a:pt x="896" y="763"/>
                  </a:cubicBezTo>
                  <a:cubicBezTo>
                    <a:pt x="912" y="765"/>
                    <a:pt x="922" y="778"/>
                    <a:pt x="919" y="794"/>
                  </a:cubicBezTo>
                  <a:cubicBezTo>
                    <a:pt x="915" y="809"/>
                    <a:pt x="899" y="820"/>
                    <a:pt x="883" y="818"/>
                  </a:cubicBezTo>
                  <a:cubicBezTo>
                    <a:pt x="867" y="816"/>
                    <a:pt x="857" y="802"/>
                    <a:pt x="860" y="787"/>
                  </a:cubicBezTo>
                  <a:close/>
                  <a:moveTo>
                    <a:pt x="926" y="846"/>
                  </a:moveTo>
                  <a:cubicBezTo>
                    <a:pt x="942" y="848"/>
                    <a:pt x="952" y="862"/>
                    <a:pt x="949" y="877"/>
                  </a:cubicBezTo>
                  <a:cubicBezTo>
                    <a:pt x="946" y="892"/>
                    <a:pt x="930" y="903"/>
                    <a:pt x="913" y="901"/>
                  </a:cubicBezTo>
                  <a:cubicBezTo>
                    <a:pt x="897" y="899"/>
                    <a:pt x="887" y="886"/>
                    <a:pt x="890" y="871"/>
                  </a:cubicBezTo>
                  <a:cubicBezTo>
                    <a:pt x="894" y="855"/>
                    <a:pt x="910" y="845"/>
                    <a:pt x="926" y="846"/>
                  </a:cubicBezTo>
                  <a:close/>
                  <a:moveTo>
                    <a:pt x="953" y="926"/>
                  </a:moveTo>
                  <a:cubicBezTo>
                    <a:pt x="969" y="928"/>
                    <a:pt x="980" y="942"/>
                    <a:pt x="977" y="957"/>
                  </a:cubicBezTo>
                  <a:cubicBezTo>
                    <a:pt x="973" y="972"/>
                    <a:pt x="957" y="983"/>
                    <a:pt x="941" y="981"/>
                  </a:cubicBezTo>
                  <a:cubicBezTo>
                    <a:pt x="924" y="980"/>
                    <a:pt x="914" y="966"/>
                    <a:pt x="917" y="951"/>
                  </a:cubicBezTo>
                  <a:cubicBezTo>
                    <a:pt x="920" y="936"/>
                    <a:pt x="936" y="925"/>
                    <a:pt x="953" y="926"/>
                  </a:cubicBezTo>
                  <a:close/>
                  <a:moveTo>
                    <a:pt x="951" y="797"/>
                  </a:moveTo>
                  <a:cubicBezTo>
                    <a:pt x="955" y="782"/>
                    <a:pt x="971" y="771"/>
                    <a:pt x="987" y="773"/>
                  </a:cubicBezTo>
                  <a:cubicBezTo>
                    <a:pt x="1003" y="775"/>
                    <a:pt x="1013" y="788"/>
                    <a:pt x="1010" y="803"/>
                  </a:cubicBezTo>
                  <a:cubicBezTo>
                    <a:pt x="1006" y="818"/>
                    <a:pt x="991" y="829"/>
                    <a:pt x="975" y="828"/>
                  </a:cubicBezTo>
                  <a:cubicBezTo>
                    <a:pt x="958" y="826"/>
                    <a:pt x="948" y="812"/>
                    <a:pt x="951" y="797"/>
                  </a:cubicBezTo>
                  <a:close/>
                  <a:moveTo>
                    <a:pt x="1018" y="856"/>
                  </a:moveTo>
                  <a:cubicBezTo>
                    <a:pt x="1034" y="858"/>
                    <a:pt x="1045" y="871"/>
                    <a:pt x="1041" y="886"/>
                  </a:cubicBezTo>
                  <a:cubicBezTo>
                    <a:pt x="1038" y="901"/>
                    <a:pt x="1023" y="912"/>
                    <a:pt x="1006" y="911"/>
                  </a:cubicBezTo>
                  <a:cubicBezTo>
                    <a:pt x="990" y="909"/>
                    <a:pt x="979" y="896"/>
                    <a:pt x="983" y="880"/>
                  </a:cubicBezTo>
                  <a:cubicBezTo>
                    <a:pt x="986" y="865"/>
                    <a:pt x="1002" y="854"/>
                    <a:pt x="1018" y="856"/>
                  </a:cubicBezTo>
                  <a:close/>
                  <a:moveTo>
                    <a:pt x="1046" y="936"/>
                  </a:moveTo>
                  <a:cubicBezTo>
                    <a:pt x="1062" y="937"/>
                    <a:pt x="1073" y="951"/>
                    <a:pt x="1070" y="966"/>
                  </a:cubicBezTo>
                  <a:cubicBezTo>
                    <a:pt x="1067" y="981"/>
                    <a:pt x="1051" y="992"/>
                    <a:pt x="1035" y="991"/>
                  </a:cubicBezTo>
                  <a:cubicBezTo>
                    <a:pt x="1018" y="989"/>
                    <a:pt x="1007" y="975"/>
                    <a:pt x="1010" y="960"/>
                  </a:cubicBezTo>
                  <a:cubicBezTo>
                    <a:pt x="1014" y="945"/>
                    <a:pt x="1029" y="934"/>
                    <a:pt x="1046" y="936"/>
                  </a:cubicBezTo>
                  <a:close/>
                  <a:moveTo>
                    <a:pt x="1043" y="807"/>
                  </a:moveTo>
                  <a:cubicBezTo>
                    <a:pt x="1046" y="791"/>
                    <a:pt x="1061" y="781"/>
                    <a:pt x="1077" y="782"/>
                  </a:cubicBezTo>
                  <a:cubicBezTo>
                    <a:pt x="1093" y="784"/>
                    <a:pt x="1104" y="797"/>
                    <a:pt x="1101" y="812"/>
                  </a:cubicBezTo>
                  <a:cubicBezTo>
                    <a:pt x="1098" y="827"/>
                    <a:pt x="1082" y="839"/>
                    <a:pt x="1066" y="837"/>
                  </a:cubicBezTo>
                  <a:cubicBezTo>
                    <a:pt x="1050" y="835"/>
                    <a:pt x="1039" y="822"/>
                    <a:pt x="1043" y="807"/>
                  </a:cubicBezTo>
                  <a:close/>
                  <a:moveTo>
                    <a:pt x="1110" y="865"/>
                  </a:moveTo>
                  <a:cubicBezTo>
                    <a:pt x="1126" y="866"/>
                    <a:pt x="1137" y="880"/>
                    <a:pt x="1134" y="895"/>
                  </a:cubicBezTo>
                  <a:cubicBezTo>
                    <a:pt x="1131" y="910"/>
                    <a:pt x="1115" y="921"/>
                    <a:pt x="1099" y="920"/>
                  </a:cubicBezTo>
                  <a:cubicBezTo>
                    <a:pt x="1083" y="918"/>
                    <a:pt x="1072" y="905"/>
                    <a:pt x="1075" y="890"/>
                  </a:cubicBezTo>
                  <a:cubicBezTo>
                    <a:pt x="1078" y="874"/>
                    <a:pt x="1094" y="863"/>
                    <a:pt x="1110" y="865"/>
                  </a:cubicBezTo>
                  <a:close/>
                  <a:moveTo>
                    <a:pt x="1106" y="736"/>
                  </a:moveTo>
                  <a:cubicBezTo>
                    <a:pt x="1109" y="721"/>
                    <a:pt x="1124" y="710"/>
                    <a:pt x="1140" y="711"/>
                  </a:cubicBezTo>
                  <a:cubicBezTo>
                    <a:pt x="1156" y="713"/>
                    <a:pt x="1166" y="726"/>
                    <a:pt x="1163" y="741"/>
                  </a:cubicBezTo>
                  <a:cubicBezTo>
                    <a:pt x="1160" y="756"/>
                    <a:pt x="1145" y="768"/>
                    <a:pt x="1129" y="766"/>
                  </a:cubicBezTo>
                  <a:cubicBezTo>
                    <a:pt x="1113" y="765"/>
                    <a:pt x="1103" y="751"/>
                    <a:pt x="1106" y="736"/>
                  </a:cubicBezTo>
                  <a:close/>
                  <a:moveTo>
                    <a:pt x="1164" y="662"/>
                  </a:moveTo>
                  <a:cubicBezTo>
                    <a:pt x="1167" y="647"/>
                    <a:pt x="1182" y="635"/>
                    <a:pt x="1197" y="637"/>
                  </a:cubicBezTo>
                  <a:cubicBezTo>
                    <a:pt x="1213" y="638"/>
                    <a:pt x="1223" y="652"/>
                    <a:pt x="1220" y="667"/>
                  </a:cubicBezTo>
                  <a:cubicBezTo>
                    <a:pt x="1218" y="682"/>
                    <a:pt x="1203" y="693"/>
                    <a:pt x="1187" y="692"/>
                  </a:cubicBezTo>
                  <a:cubicBezTo>
                    <a:pt x="1171" y="690"/>
                    <a:pt x="1161" y="677"/>
                    <a:pt x="1164" y="662"/>
                  </a:cubicBezTo>
                  <a:close/>
                  <a:moveTo>
                    <a:pt x="1230" y="719"/>
                  </a:moveTo>
                  <a:cubicBezTo>
                    <a:pt x="1245" y="721"/>
                    <a:pt x="1256" y="734"/>
                    <a:pt x="1253" y="749"/>
                  </a:cubicBezTo>
                  <a:cubicBezTo>
                    <a:pt x="1251" y="764"/>
                    <a:pt x="1236" y="776"/>
                    <a:pt x="1220" y="774"/>
                  </a:cubicBezTo>
                  <a:cubicBezTo>
                    <a:pt x="1204" y="773"/>
                    <a:pt x="1193" y="759"/>
                    <a:pt x="1196" y="744"/>
                  </a:cubicBezTo>
                  <a:cubicBezTo>
                    <a:pt x="1199" y="729"/>
                    <a:pt x="1214" y="718"/>
                    <a:pt x="1230" y="719"/>
                  </a:cubicBezTo>
                  <a:close/>
                  <a:moveTo>
                    <a:pt x="1253" y="670"/>
                  </a:moveTo>
                  <a:cubicBezTo>
                    <a:pt x="1255" y="655"/>
                    <a:pt x="1270" y="643"/>
                    <a:pt x="1286" y="645"/>
                  </a:cubicBezTo>
                  <a:cubicBezTo>
                    <a:pt x="1301" y="646"/>
                    <a:pt x="1312" y="659"/>
                    <a:pt x="1309" y="675"/>
                  </a:cubicBezTo>
                  <a:cubicBezTo>
                    <a:pt x="1307" y="690"/>
                    <a:pt x="1292" y="701"/>
                    <a:pt x="1276" y="700"/>
                  </a:cubicBezTo>
                  <a:cubicBezTo>
                    <a:pt x="1260" y="698"/>
                    <a:pt x="1250" y="685"/>
                    <a:pt x="1253" y="670"/>
                  </a:cubicBezTo>
                  <a:close/>
                  <a:moveTo>
                    <a:pt x="1319" y="727"/>
                  </a:moveTo>
                  <a:cubicBezTo>
                    <a:pt x="1335" y="728"/>
                    <a:pt x="1346" y="742"/>
                    <a:pt x="1344" y="757"/>
                  </a:cubicBezTo>
                  <a:cubicBezTo>
                    <a:pt x="1341" y="772"/>
                    <a:pt x="1326" y="783"/>
                    <a:pt x="1310" y="782"/>
                  </a:cubicBezTo>
                  <a:cubicBezTo>
                    <a:pt x="1294" y="781"/>
                    <a:pt x="1283" y="767"/>
                    <a:pt x="1286" y="752"/>
                  </a:cubicBezTo>
                  <a:cubicBezTo>
                    <a:pt x="1289" y="737"/>
                    <a:pt x="1304" y="726"/>
                    <a:pt x="1319" y="727"/>
                  </a:cubicBezTo>
                  <a:close/>
                  <a:moveTo>
                    <a:pt x="1312" y="598"/>
                  </a:moveTo>
                  <a:cubicBezTo>
                    <a:pt x="1315" y="583"/>
                    <a:pt x="1329" y="572"/>
                    <a:pt x="1345" y="573"/>
                  </a:cubicBezTo>
                  <a:cubicBezTo>
                    <a:pt x="1360" y="574"/>
                    <a:pt x="1371" y="588"/>
                    <a:pt x="1368" y="603"/>
                  </a:cubicBezTo>
                  <a:cubicBezTo>
                    <a:pt x="1366" y="618"/>
                    <a:pt x="1351" y="629"/>
                    <a:pt x="1336" y="628"/>
                  </a:cubicBezTo>
                  <a:cubicBezTo>
                    <a:pt x="1320" y="627"/>
                    <a:pt x="1310" y="613"/>
                    <a:pt x="1312" y="598"/>
                  </a:cubicBezTo>
                  <a:close/>
                  <a:moveTo>
                    <a:pt x="1367" y="523"/>
                  </a:moveTo>
                  <a:cubicBezTo>
                    <a:pt x="1369" y="508"/>
                    <a:pt x="1383" y="497"/>
                    <a:pt x="1399" y="498"/>
                  </a:cubicBezTo>
                  <a:cubicBezTo>
                    <a:pt x="1414" y="499"/>
                    <a:pt x="1424" y="513"/>
                    <a:pt x="1422" y="528"/>
                  </a:cubicBezTo>
                  <a:cubicBezTo>
                    <a:pt x="1420" y="543"/>
                    <a:pt x="1405" y="554"/>
                    <a:pt x="1390" y="553"/>
                  </a:cubicBezTo>
                  <a:cubicBezTo>
                    <a:pt x="1375" y="552"/>
                    <a:pt x="1364" y="539"/>
                    <a:pt x="1367" y="523"/>
                  </a:cubicBezTo>
                  <a:close/>
                  <a:moveTo>
                    <a:pt x="1432" y="580"/>
                  </a:moveTo>
                  <a:cubicBezTo>
                    <a:pt x="1448" y="581"/>
                    <a:pt x="1458" y="594"/>
                    <a:pt x="1456" y="610"/>
                  </a:cubicBezTo>
                  <a:cubicBezTo>
                    <a:pt x="1454" y="625"/>
                    <a:pt x="1440" y="636"/>
                    <a:pt x="1424" y="635"/>
                  </a:cubicBezTo>
                  <a:cubicBezTo>
                    <a:pt x="1408" y="634"/>
                    <a:pt x="1398" y="621"/>
                    <a:pt x="1400" y="605"/>
                  </a:cubicBezTo>
                  <a:cubicBezTo>
                    <a:pt x="1402" y="590"/>
                    <a:pt x="1417" y="579"/>
                    <a:pt x="1432" y="580"/>
                  </a:cubicBezTo>
                  <a:close/>
                  <a:moveTo>
                    <a:pt x="1453" y="530"/>
                  </a:moveTo>
                  <a:cubicBezTo>
                    <a:pt x="1456" y="515"/>
                    <a:pt x="1470" y="504"/>
                    <a:pt x="1485" y="505"/>
                  </a:cubicBezTo>
                  <a:cubicBezTo>
                    <a:pt x="1500" y="506"/>
                    <a:pt x="1511" y="519"/>
                    <a:pt x="1509" y="534"/>
                  </a:cubicBezTo>
                  <a:cubicBezTo>
                    <a:pt x="1506" y="549"/>
                    <a:pt x="1492" y="561"/>
                    <a:pt x="1477" y="560"/>
                  </a:cubicBezTo>
                  <a:cubicBezTo>
                    <a:pt x="1462" y="559"/>
                    <a:pt x="1451" y="545"/>
                    <a:pt x="1453" y="530"/>
                  </a:cubicBezTo>
                  <a:close/>
                  <a:moveTo>
                    <a:pt x="1520" y="586"/>
                  </a:moveTo>
                  <a:cubicBezTo>
                    <a:pt x="1535" y="587"/>
                    <a:pt x="1546" y="601"/>
                    <a:pt x="1544" y="616"/>
                  </a:cubicBezTo>
                  <a:cubicBezTo>
                    <a:pt x="1542" y="631"/>
                    <a:pt x="1528" y="642"/>
                    <a:pt x="1512" y="641"/>
                  </a:cubicBezTo>
                  <a:cubicBezTo>
                    <a:pt x="1497" y="640"/>
                    <a:pt x="1486" y="627"/>
                    <a:pt x="1488" y="612"/>
                  </a:cubicBezTo>
                  <a:cubicBezTo>
                    <a:pt x="1490" y="597"/>
                    <a:pt x="1504" y="585"/>
                    <a:pt x="1520" y="586"/>
                  </a:cubicBezTo>
                  <a:close/>
                  <a:moveTo>
                    <a:pt x="1540" y="536"/>
                  </a:moveTo>
                  <a:cubicBezTo>
                    <a:pt x="1542" y="521"/>
                    <a:pt x="1556" y="510"/>
                    <a:pt x="1571" y="511"/>
                  </a:cubicBezTo>
                  <a:cubicBezTo>
                    <a:pt x="1586" y="512"/>
                    <a:pt x="1597" y="525"/>
                    <a:pt x="1595" y="540"/>
                  </a:cubicBezTo>
                  <a:cubicBezTo>
                    <a:pt x="1593" y="555"/>
                    <a:pt x="1579" y="567"/>
                    <a:pt x="1564" y="566"/>
                  </a:cubicBezTo>
                  <a:cubicBezTo>
                    <a:pt x="1549" y="565"/>
                    <a:pt x="1538" y="552"/>
                    <a:pt x="1540" y="536"/>
                  </a:cubicBezTo>
                  <a:close/>
                  <a:moveTo>
                    <a:pt x="1607" y="592"/>
                  </a:moveTo>
                  <a:cubicBezTo>
                    <a:pt x="1623" y="593"/>
                    <a:pt x="1634" y="606"/>
                    <a:pt x="1632" y="621"/>
                  </a:cubicBezTo>
                  <a:cubicBezTo>
                    <a:pt x="1630" y="636"/>
                    <a:pt x="1616" y="648"/>
                    <a:pt x="1601" y="647"/>
                  </a:cubicBezTo>
                  <a:cubicBezTo>
                    <a:pt x="1585" y="646"/>
                    <a:pt x="1574" y="633"/>
                    <a:pt x="1576" y="618"/>
                  </a:cubicBezTo>
                  <a:cubicBezTo>
                    <a:pt x="1578" y="603"/>
                    <a:pt x="1592" y="591"/>
                    <a:pt x="1607" y="592"/>
                  </a:cubicBezTo>
                  <a:close/>
                  <a:moveTo>
                    <a:pt x="1627" y="542"/>
                  </a:moveTo>
                  <a:cubicBezTo>
                    <a:pt x="1628" y="527"/>
                    <a:pt x="1642" y="515"/>
                    <a:pt x="1657" y="516"/>
                  </a:cubicBezTo>
                  <a:cubicBezTo>
                    <a:pt x="1673" y="517"/>
                    <a:pt x="1684" y="530"/>
                    <a:pt x="1682" y="545"/>
                  </a:cubicBezTo>
                  <a:cubicBezTo>
                    <a:pt x="1680" y="560"/>
                    <a:pt x="1667" y="572"/>
                    <a:pt x="1651" y="571"/>
                  </a:cubicBezTo>
                  <a:cubicBezTo>
                    <a:pt x="1636" y="570"/>
                    <a:pt x="1625" y="557"/>
                    <a:pt x="1627" y="542"/>
                  </a:cubicBezTo>
                  <a:close/>
                  <a:moveTo>
                    <a:pt x="1695" y="597"/>
                  </a:moveTo>
                  <a:cubicBezTo>
                    <a:pt x="1710" y="598"/>
                    <a:pt x="1721" y="611"/>
                    <a:pt x="1720" y="626"/>
                  </a:cubicBezTo>
                  <a:cubicBezTo>
                    <a:pt x="1718" y="641"/>
                    <a:pt x="1704" y="653"/>
                    <a:pt x="1689" y="652"/>
                  </a:cubicBezTo>
                  <a:cubicBezTo>
                    <a:pt x="1673" y="651"/>
                    <a:pt x="1662" y="638"/>
                    <a:pt x="1664" y="623"/>
                  </a:cubicBezTo>
                  <a:cubicBezTo>
                    <a:pt x="1665" y="608"/>
                    <a:pt x="1679" y="596"/>
                    <a:pt x="1695" y="597"/>
                  </a:cubicBezTo>
                  <a:close/>
                  <a:moveTo>
                    <a:pt x="1713" y="547"/>
                  </a:moveTo>
                  <a:cubicBezTo>
                    <a:pt x="1715" y="532"/>
                    <a:pt x="1728" y="520"/>
                    <a:pt x="1744" y="521"/>
                  </a:cubicBezTo>
                  <a:cubicBezTo>
                    <a:pt x="1759" y="522"/>
                    <a:pt x="1770" y="535"/>
                    <a:pt x="1769" y="550"/>
                  </a:cubicBezTo>
                  <a:cubicBezTo>
                    <a:pt x="1767" y="565"/>
                    <a:pt x="1754" y="577"/>
                    <a:pt x="1738" y="576"/>
                  </a:cubicBezTo>
                  <a:cubicBezTo>
                    <a:pt x="1723" y="575"/>
                    <a:pt x="1712" y="562"/>
                    <a:pt x="1713" y="547"/>
                  </a:cubicBezTo>
                  <a:close/>
                  <a:moveTo>
                    <a:pt x="1782" y="602"/>
                  </a:moveTo>
                  <a:cubicBezTo>
                    <a:pt x="1798" y="602"/>
                    <a:pt x="1809" y="615"/>
                    <a:pt x="1808" y="630"/>
                  </a:cubicBezTo>
                  <a:cubicBezTo>
                    <a:pt x="1806" y="645"/>
                    <a:pt x="1793" y="657"/>
                    <a:pt x="1777" y="656"/>
                  </a:cubicBezTo>
                  <a:cubicBezTo>
                    <a:pt x="1762" y="656"/>
                    <a:pt x="1750" y="643"/>
                    <a:pt x="1752" y="628"/>
                  </a:cubicBezTo>
                  <a:cubicBezTo>
                    <a:pt x="1753" y="612"/>
                    <a:pt x="1767" y="601"/>
                    <a:pt x="1782" y="602"/>
                  </a:cubicBezTo>
                  <a:close/>
                  <a:moveTo>
                    <a:pt x="1800" y="551"/>
                  </a:moveTo>
                  <a:cubicBezTo>
                    <a:pt x="1801" y="536"/>
                    <a:pt x="1815" y="525"/>
                    <a:pt x="1830" y="525"/>
                  </a:cubicBezTo>
                  <a:cubicBezTo>
                    <a:pt x="1845" y="526"/>
                    <a:pt x="1857" y="539"/>
                    <a:pt x="1855" y="554"/>
                  </a:cubicBezTo>
                  <a:cubicBezTo>
                    <a:pt x="1854" y="569"/>
                    <a:pt x="1841" y="581"/>
                    <a:pt x="1826" y="580"/>
                  </a:cubicBezTo>
                  <a:cubicBezTo>
                    <a:pt x="1810" y="579"/>
                    <a:pt x="1799" y="567"/>
                    <a:pt x="1800" y="551"/>
                  </a:cubicBezTo>
                  <a:close/>
                  <a:moveTo>
                    <a:pt x="1870" y="605"/>
                  </a:moveTo>
                  <a:cubicBezTo>
                    <a:pt x="1885" y="606"/>
                    <a:pt x="1897" y="619"/>
                    <a:pt x="1896" y="634"/>
                  </a:cubicBezTo>
                  <a:cubicBezTo>
                    <a:pt x="1895" y="649"/>
                    <a:pt x="1881" y="661"/>
                    <a:pt x="1866" y="660"/>
                  </a:cubicBezTo>
                  <a:cubicBezTo>
                    <a:pt x="1850" y="660"/>
                    <a:pt x="1838" y="647"/>
                    <a:pt x="1840" y="632"/>
                  </a:cubicBezTo>
                  <a:cubicBezTo>
                    <a:pt x="1841" y="616"/>
                    <a:pt x="1854" y="605"/>
                    <a:pt x="1870" y="605"/>
                  </a:cubicBezTo>
                  <a:close/>
                  <a:moveTo>
                    <a:pt x="1887" y="555"/>
                  </a:moveTo>
                  <a:cubicBezTo>
                    <a:pt x="1888" y="540"/>
                    <a:pt x="1901" y="528"/>
                    <a:pt x="1916" y="529"/>
                  </a:cubicBezTo>
                  <a:cubicBezTo>
                    <a:pt x="1932" y="529"/>
                    <a:pt x="1943" y="542"/>
                    <a:pt x="1942" y="557"/>
                  </a:cubicBezTo>
                  <a:cubicBezTo>
                    <a:pt x="1941" y="572"/>
                    <a:pt x="1928" y="584"/>
                    <a:pt x="1913" y="584"/>
                  </a:cubicBezTo>
                  <a:cubicBezTo>
                    <a:pt x="1897" y="583"/>
                    <a:pt x="1886" y="570"/>
                    <a:pt x="1887" y="555"/>
                  </a:cubicBezTo>
                  <a:close/>
                  <a:moveTo>
                    <a:pt x="1957" y="608"/>
                  </a:moveTo>
                  <a:cubicBezTo>
                    <a:pt x="1973" y="609"/>
                    <a:pt x="1985" y="622"/>
                    <a:pt x="1984" y="637"/>
                  </a:cubicBezTo>
                  <a:cubicBezTo>
                    <a:pt x="1983" y="652"/>
                    <a:pt x="1970" y="664"/>
                    <a:pt x="1954" y="663"/>
                  </a:cubicBezTo>
                  <a:cubicBezTo>
                    <a:pt x="1938" y="663"/>
                    <a:pt x="1927" y="650"/>
                    <a:pt x="1928" y="635"/>
                  </a:cubicBezTo>
                  <a:cubicBezTo>
                    <a:pt x="1929" y="620"/>
                    <a:pt x="1942" y="608"/>
                    <a:pt x="1957" y="608"/>
                  </a:cubicBezTo>
                  <a:close/>
                  <a:moveTo>
                    <a:pt x="1974" y="558"/>
                  </a:moveTo>
                  <a:cubicBezTo>
                    <a:pt x="1974" y="543"/>
                    <a:pt x="1988" y="531"/>
                    <a:pt x="2003" y="532"/>
                  </a:cubicBezTo>
                  <a:cubicBezTo>
                    <a:pt x="2018" y="532"/>
                    <a:pt x="2030" y="545"/>
                    <a:pt x="2029" y="560"/>
                  </a:cubicBezTo>
                  <a:cubicBezTo>
                    <a:pt x="2028" y="575"/>
                    <a:pt x="2015" y="587"/>
                    <a:pt x="2000" y="586"/>
                  </a:cubicBezTo>
                  <a:cubicBezTo>
                    <a:pt x="1985" y="586"/>
                    <a:pt x="1973" y="573"/>
                    <a:pt x="1974" y="558"/>
                  </a:cubicBezTo>
                  <a:close/>
                  <a:moveTo>
                    <a:pt x="2045" y="611"/>
                  </a:moveTo>
                  <a:cubicBezTo>
                    <a:pt x="2060" y="611"/>
                    <a:pt x="2072" y="624"/>
                    <a:pt x="2072" y="639"/>
                  </a:cubicBezTo>
                  <a:cubicBezTo>
                    <a:pt x="2071" y="654"/>
                    <a:pt x="2058" y="666"/>
                    <a:pt x="2042" y="666"/>
                  </a:cubicBezTo>
                  <a:cubicBezTo>
                    <a:pt x="2027" y="665"/>
                    <a:pt x="2015" y="653"/>
                    <a:pt x="2016" y="638"/>
                  </a:cubicBezTo>
                  <a:cubicBezTo>
                    <a:pt x="2016" y="623"/>
                    <a:pt x="2029" y="611"/>
                    <a:pt x="2045" y="611"/>
                  </a:cubicBezTo>
                  <a:close/>
                  <a:moveTo>
                    <a:pt x="2060" y="561"/>
                  </a:moveTo>
                  <a:cubicBezTo>
                    <a:pt x="2061" y="546"/>
                    <a:pt x="2074" y="534"/>
                    <a:pt x="2089" y="534"/>
                  </a:cubicBezTo>
                  <a:cubicBezTo>
                    <a:pt x="2104" y="534"/>
                    <a:pt x="2116" y="547"/>
                    <a:pt x="2116" y="562"/>
                  </a:cubicBezTo>
                  <a:cubicBezTo>
                    <a:pt x="2115" y="577"/>
                    <a:pt x="2103" y="589"/>
                    <a:pt x="2087" y="589"/>
                  </a:cubicBezTo>
                  <a:cubicBezTo>
                    <a:pt x="2072" y="588"/>
                    <a:pt x="2060" y="576"/>
                    <a:pt x="2060" y="561"/>
                  </a:cubicBezTo>
                  <a:close/>
                  <a:moveTo>
                    <a:pt x="2132" y="613"/>
                  </a:moveTo>
                  <a:cubicBezTo>
                    <a:pt x="2148" y="613"/>
                    <a:pt x="2160" y="626"/>
                    <a:pt x="2160" y="641"/>
                  </a:cubicBezTo>
                  <a:cubicBezTo>
                    <a:pt x="2159" y="656"/>
                    <a:pt x="2146" y="668"/>
                    <a:pt x="2131" y="668"/>
                  </a:cubicBezTo>
                  <a:cubicBezTo>
                    <a:pt x="2115" y="667"/>
                    <a:pt x="2103" y="655"/>
                    <a:pt x="2104" y="640"/>
                  </a:cubicBezTo>
                  <a:cubicBezTo>
                    <a:pt x="2104" y="625"/>
                    <a:pt x="2117" y="613"/>
                    <a:pt x="2132" y="613"/>
                  </a:cubicBezTo>
                  <a:close/>
                  <a:moveTo>
                    <a:pt x="2147" y="563"/>
                  </a:moveTo>
                  <a:cubicBezTo>
                    <a:pt x="2148" y="547"/>
                    <a:pt x="2160" y="535"/>
                    <a:pt x="2176" y="536"/>
                  </a:cubicBezTo>
                  <a:cubicBezTo>
                    <a:pt x="2191" y="536"/>
                    <a:pt x="2203" y="548"/>
                    <a:pt x="2203" y="563"/>
                  </a:cubicBezTo>
                  <a:cubicBezTo>
                    <a:pt x="2202" y="579"/>
                    <a:pt x="2190" y="591"/>
                    <a:pt x="2174" y="590"/>
                  </a:cubicBezTo>
                  <a:cubicBezTo>
                    <a:pt x="2159" y="590"/>
                    <a:pt x="2147" y="578"/>
                    <a:pt x="2147" y="563"/>
                  </a:cubicBezTo>
                  <a:close/>
                  <a:moveTo>
                    <a:pt x="2194" y="488"/>
                  </a:moveTo>
                  <a:cubicBezTo>
                    <a:pt x="2195" y="473"/>
                    <a:pt x="2207" y="461"/>
                    <a:pt x="2222" y="461"/>
                  </a:cubicBezTo>
                  <a:cubicBezTo>
                    <a:pt x="2237" y="461"/>
                    <a:pt x="2249" y="474"/>
                    <a:pt x="2249" y="489"/>
                  </a:cubicBezTo>
                  <a:cubicBezTo>
                    <a:pt x="2249" y="504"/>
                    <a:pt x="2236" y="516"/>
                    <a:pt x="2221" y="516"/>
                  </a:cubicBezTo>
                  <a:cubicBezTo>
                    <a:pt x="2206" y="516"/>
                    <a:pt x="2194" y="503"/>
                    <a:pt x="2194" y="488"/>
                  </a:cubicBezTo>
                  <a:close/>
                  <a:moveTo>
                    <a:pt x="2262" y="537"/>
                  </a:moveTo>
                  <a:cubicBezTo>
                    <a:pt x="2277" y="537"/>
                    <a:pt x="2290" y="549"/>
                    <a:pt x="2290" y="564"/>
                  </a:cubicBezTo>
                  <a:cubicBezTo>
                    <a:pt x="2289" y="579"/>
                    <a:pt x="2277" y="592"/>
                    <a:pt x="2262" y="591"/>
                  </a:cubicBezTo>
                  <a:cubicBezTo>
                    <a:pt x="2246" y="591"/>
                    <a:pt x="2234" y="579"/>
                    <a:pt x="2234" y="564"/>
                  </a:cubicBezTo>
                  <a:cubicBezTo>
                    <a:pt x="2234" y="549"/>
                    <a:pt x="2247" y="537"/>
                    <a:pt x="2262" y="537"/>
                  </a:cubicBezTo>
                  <a:close/>
                  <a:moveTo>
                    <a:pt x="2280" y="489"/>
                  </a:moveTo>
                  <a:cubicBezTo>
                    <a:pt x="2280" y="474"/>
                    <a:pt x="2292" y="462"/>
                    <a:pt x="2307" y="462"/>
                  </a:cubicBezTo>
                  <a:cubicBezTo>
                    <a:pt x="2322" y="462"/>
                    <a:pt x="2335" y="474"/>
                    <a:pt x="2335" y="489"/>
                  </a:cubicBezTo>
                  <a:cubicBezTo>
                    <a:pt x="2335" y="504"/>
                    <a:pt x="2323" y="517"/>
                    <a:pt x="2307" y="516"/>
                  </a:cubicBezTo>
                  <a:cubicBezTo>
                    <a:pt x="2292" y="516"/>
                    <a:pt x="2280" y="504"/>
                    <a:pt x="2280" y="489"/>
                  </a:cubicBezTo>
                  <a:close/>
                  <a:moveTo>
                    <a:pt x="2348" y="537"/>
                  </a:moveTo>
                  <a:cubicBezTo>
                    <a:pt x="2364" y="537"/>
                    <a:pt x="2376" y="549"/>
                    <a:pt x="2376" y="565"/>
                  </a:cubicBezTo>
                  <a:cubicBezTo>
                    <a:pt x="2377" y="580"/>
                    <a:pt x="2364" y="592"/>
                    <a:pt x="2349" y="592"/>
                  </a:cubicBezTo>
                  <a:cubicBezTo>
                    <a:pt x="2334" y="592"/>
                    <a:pt x="2321" y="580"/>
                    <a:pt x="2321" y="564"/>
                  </a:cubicBezTo>
                  <a:cubicBezTo>
                    <a:pt x="2321" y="549"/>
                    <a:pt x="2333" y="537"/>
                    <a:pt x="2348" y="537"/>
                  </a:cubicBezTo>
                  <a:close/>
                  <a:moveTo>
                    <a:pt x="2366" y="489"/>
                  </a:moveTo>
                  <a:cubicBezTo>
                    <a:pt x="2366" y="474"/>
                    <a:pt x="2378" y="462"/>
                    <a:pt x="2393" y="462"/>
                  </a:cubicBezTo>
                  <a:cubicBezTo>
                    <a:pt x="2408" y="462"/>
                    <a:pt x="2420" y="474"/>
                    <a:pt x="2420" y="489"/>
                  </a:cubicBezTo>
                  <a:cubicBezTo>
                    <a:pt x="2421" y="504"/>
                    <a:pt x="2409" y="517"/>
                    <a:pt x="2394" y="517"/>
                  </a:cubicBezTo>
                  <a:cubicBezTo>
                    <a:pt x="2378" y="517"/>
                    <a:pt x="2366" y="504"/>
                    <a:pt x="2366" y="489"/>
                  </a:cubicBezTo>
                  <a:close/>
                  <a:moveTo>
                    <a:pt x="2435" y="537"/>
                  </a:moveTo>
                  <a:cubicBezTo>
                    <a:pt x="2450" y="537"/>
                    <a:pt x="2463" y="549"/>
                    <a:pt x="2463" y="564"/>
                  </a:cubicBezTo>
                  <a:cubicBezTo>
                    <a:pt x="2464" y="579"/>
                    <a:pt x="2452" y="592"/>
                    <a:pt x="2436" y="592"/>
                  </a:cubicBezTo>
                  <a:cubicBezTo>
                    <a:pt x="2421" y="592"/>
                    <a:pt x="2408" y="580"/>
                    <a:pt x="2408" y="564"/>
                  </a:cubicBezTo>
                  <a:cubicBezTo>
                    <a:pt x="2407" y="549"/>
                    <a:pt x="2420" y="537"/>
                    <a:pt x="2435" y="537"/>
                  </a:cubicBezTo>
                  <a:close/>
                  <a:moveTo>
                    <a:pt x="2451" y="489"/>
                  </a:moveTo>
                  <a:cubicBezTo>
                    <a:pt x="2451" y="474"/>
                    <a:pt x="2463" y="462"/>
                    <a:pt x="2478" y="462"/>
                  </a:cubicBezTo>
                  <a:cubicBezTo>
                    <a:pt x="2493" y="462"/>
                    <a:pt x="2506" y="474"/>
                    <a:pt x="2506" y="489"/>
                  </a:cubicBezTo>
                  <a:cubicBezTo>
                    <a:pt x="2507" y="504"/>
                    <a:pt x="2495" y="516"/>
                    <a:pt x="2480" y="516"/>
                  </a:cubicBezTo>
                  <a:cubicBezTo>
                    <a:pt x="2464" y="516"/>
                    <a:pt x="2452" y="504"/>
                    <a:pt x="2451" y="489"/>
                  </a:cubicBezTo>
                  <a:close/>
                  <a:moveTo>
                    <a:pt x="2521" y="536"/>
                  </a:moveTo>
                  <a:cubicBezTo>
                    <a:pt x="2536" y="536"/>
                    <a:pt x="2549" y="548"/>
                    <a:pt x="2550" y="563"/>
                  </a:cubicBezTo>
                  <a:cubicBezTo>
                    <a:pt x="2551" y="578"/>
                    <a:pt x="2539" y="591"/>
                    <a:pt x="2523" y="591"/>
                  </a:cubicBezTo>
                  <a:cubicBezTo>
                    <a:pt x="2508" y="591"/>
                    <a:pt x="2495" y="579"/>
                    <a:pt x="2495" y="564"/>
                  </a:cubicBezTo>
                  <a:cubicBezTo>
                    <a:pt x="2494" y="549"/>
                    <a:pt x="2506" y="536"/>
                    <a:pt x="2521" y="536"/>
                  </a:cubicBezTo>
                  <a:close/>
                  <a:moveTo>
                    <a:pt x="2537" y="488"/>
                  </a:moveTo>
                  <a:cubicBezTo>
                    <a:pt x="2536" y="473"/>
                    <a:pt x="2548" y="461"/>
                    <a:pt x="2563" y="461"/>
                  </a:cubicBezTo>
                  <a:cubicBezTo>
                    <a:pt x="2578" y="460"/>
                    <a:pt x="2591" y="472"/>
                    <a:pt x="2592" y="487"/>
                  </a:cubicBezTo>
                  <a:cubicBezTo>
                    <a:pt x="2593" y="502"/>
                    <a:pt x="2581" y="515"/>
                    <a:pt x="2566" y="515"/>
                  </a:cubicBezTo>
                  <a:cubicBezTo>
                    <a:pt x="2551" y="515"/>
                    <a:pt x="2538" y="503"/>
                    <a:pt x="2537" y="488"/>
                  </a:cubicBezTo>
                  <a:close/>
                  <a:moveTo>
                    <a:pt x="2608" y="535"/>
                  </a:moveTo>
                  <a:cubicBezTo>
                    <a:pt x="2623" y="535"/>
                    <a:pt x="2636" y="546"/>
                    <a:pt x="2637" y="562"/>
                  </a:cubicBezTo>
                  <a:cubicBezTo>
                    <a:pt x="2638" y="577"/>
                    <a:pt x="2626" y="589"/>
                    <a:pt x="2611" y="589"/>
                  </a:cubicBezTo>
                  <a:cubicBezTo>
                    <a:pt x="2595" y="590"/>
                    <a:pt x="2582" y="578"/>
                    <a:pt x="2581" y="563"/>
                  </a:cubicBezTo>
                  <a:cubicBezTo>
                    <a:pt x="2581" y="548"/>
                    <a:pt x="2592" y="535"/>
                    <a:pt x="2608" y="535"/>
                  </a:cubicBezTo>
                  <a:close/>
                  <a:moveTo>
                    <a:pt x="2648" y="459"/>
                  </a:moveTo>
                  <a:cubicBezTo>
                    <a:pt x="2663" y="459"/>
                    <a:pt x="2676" y="471"/>
                    <a:pt x="2677" y="486"/>
                  </a:cubicBezTo>
                  <a:cubicBezTo>
                    <a:pt x="2678" y="501"/>
                    <a:pt x="2667" y="513"/>
                    <a:pt x="2652" y="513"/>
                  </a:cubicBezTo>
                  <a:cubicBezTo>
                    <a:pt x="2637" y="514"/>
                    <a:pt x="2624" y="502"/>
                    <a:pt x="2623" y="487"/>
                  </a:cubicBezTo>
                  <a:cubicBezTo>
                    <a:pt x="2622" y="472"/>
                    <a:pt x="2633" y="459"/>
                    <a:pt x="2648" y="459"/>
                  </a:cubicBezTo>
                  <a:close/>
                  <a:moveTo>
                    <a:pt x="2694" y="533"/>
                  </a:moveTo>
                  <a:cubicBezTo>
                    <a:pt x="2709" y="532"/>
                    <a:pt x="2723" y="544"/>
                    <a:pt x="2724" y="559"/>
                  </a:cubicBezTo>
                  <a:cubicBezTo>
                    <a:pt x="2725" y="574"/>
                    <a:pt x="2713" y="587"/>
                    <a:pt x="2698" y="587"/>
                  </a:cubicBezTo>
                  <a:cubicBezTo>
                    <a:pt x="2683" y="588"/>
                    <a:pt x="2669" y="576"/>
                    <a:pt x="2668" y="561"/>
                  </a:cubicBezTo>
                  <a:cubicBezTo>
                    <a:pt x="2667" y="546"/>
                    <a:pt x="2679" y="533"/>
                    <a:pt x="2694" y="533"/>
                  </a:cubicBezTo>
                  <a:close/>
                  <a:moveTo>
                    <a:pt x="2734" y="457"/>
                  </a:moveTo>
                  <a:cubicBezTo>
                    <a:pt x="2749" y="456"/>
                    <a:pt x="2762" y="468"/>
                    <a:pt x="2763" y="483"/>
                  </a:cubicBezTo>
                  <a:cubicBezTo>
                    <a:pt x="2764" y="498"/>
                    <a:pt x="2753" y="511"/>
                    <a:pt x="2738" y="511"/>
                  </a:cubicBezTo>
                  <a:cubicBezTo>
                    <a:pt x="2723" y="512"/>
                    <a:pt x="2710" y="500"/>
                    <a:pt x="2708" y="485"/>
                  </a:cubicBezTo>
                  <a:cubicBezTo>
                    <a:pt x="2707" y="470"/>
                    <a:pt x="2719" y="457"/>
                    <a:pt x="2734" y="457"/>
                  </a:cubicBezTo>
                  <a:close/>
                  <a:moveTo>
                    <a:pt x="2780" y="530"/>
                  </a:moveTo>
                  <a:cubicBezTo>
                    <a:pt x="2796" y="530"/>
                    <a:pt x="2809" y="541"/>
                    <a:pt x="2811" y="556"/>
                  </a:cubicBezTo>
                  <a:cubicBezTo>
                    <a:pt x="2812" y="571"/>
                    <a:pt x="2801" y="584"/>
                    <a:pt x="2785" y="584"/>
                  </a:cubicBezTo>
                  <a:cubicBezTo>
                    <a:pt x="2770" y="585"/>
                    <a:pt x="2756" y="573"/>
                    <a:pt x="2755" y="558"/>
                  </a:cubicBezTo>
                  <a:cubicBezTo>
                    <a:pt x="2754" y="543"/>
                    <a:pt x="2765" y="531"/>
                    <a:pt x="2780" y="530"/>
                  </a:cubicBezTo>
                  <a:close/>
                  <a:moveTo>
                    <a:pt x="2833" y="606"/>
                  </a:moveTo>
                  <a:cubicBezTo>
                    <a:pt x="2849" y="605"/>
                    <a:pt x="2862" y="617"/>
                    <a:pt x="2864" y="632"/>
                  </a:cubicBezTo>
                  <a:cubicBezTo>
                    <a:pt x="2865" y="647"/>
                    <a:pt x="2854" y="659"/>
                    <a:pt x="2838" y="660"/>
                  </a:cubicBezTo>
                  <a:cubicBezTo>
                    <a:pt x="2823" y="661"/>
                    <a:pt x="2809" y="649"/>
                    <a:pt x="2808" y="634"/>
                  </a:cubicBezTo>
                  <a:cubicBezTo>
                    <a:pt x="2806" y="619"/>
                    <a:pt x="2818" y="606"/>
                    <a:pt x="2833" y="606"/>
                  </a:cubicBezTo>
                  <a:close/>
                  <a:moveTo>
                    <a:pt x="2867" y="527"/>
                  </a:moveTo>
                  <a:cubicBezTo>
                    <a:pt x="2882" y="526"/>
                    <a:pt x="2896" y="538"/>
                    <a:pt x="2897" y="553"/>
                  </a:cubicBezTo>
                  <a:cubicBezTo>
                    <a:pt x="2899" y="568"/>
                    <a:pt x="2888" y="581"/>
                    <a:pt x="2872" y="581"/>
                  </a:cubicBezTo>
                  <a:cubicBezTo>
                    <a:pt x="2857" y="582"/>
                    <a:pt x="2843" y="570"/>
                    <a:pt x="2842" y="555"/>
                  </a:cubicBezTo>
                  <a:cubicBezTo>
                    <a:pt x="2840" y="540"/>
                    <a:pt x="2852" y="528"/>
                    <a:pt x="2867" y="527"/>
                  </a:cubicBezTo>
                  <a:close/>
                  <a:moveTo>
                    <a:pt x="2921" y="602"/>
                  </a:moveTo>
                  <a:cubicBezTo>
                    <a:pt x="2936" y="601"/>
                    <a:pt x="2950" y="613"/>
                    <a:pt x="2952" y="628"/>
                  </a:cubicBezTo>
                  <a:cubicBezTo>
                    <a:pt x="2954" y="643"/>
                    <a:pt x="2942" y="656"/>
                    <a:pt x="2927" y="656"/>
                  </a:cubicBezTo>
                  <a:cubicBezTo>
                    <a:pt x="2911" y="657"/>
                    <a:pt x="2897" y="645"/>
                    <a:pt x="2896" y="631"/>
                  </a:cubicBezTo>
                  <a:cubicBezTo>
                    <a:pt x="2894" y="616"/>
                    <a:pt x="2905" y="603"/>
                    <a:pt x="2921" y="602"/>
                  </a:cubicBezTo>
                  <a:close/>
                  <a:moveTo>
                    <a:pt x="2953" y="523"/>
                  </a:moveTo>
                  <a:cubicBezTo>
                    <a:pt x="2968" y="522"/>
                    <a:pt x="2982" y="534"/>
                    <a:pt x="2984" y="549"/>
                  </a:cubicBezTo>
                  <a:cubicBezTo>
                    <a:pt x="2986" y="564"/>
                    <a:pt x="2975" y="576"/>
                    <a:pt x="2960" y="577"/>
                  </a:cubicBezTo>
                  <a:cubicBezTo>
                    <a:pt x="2944" y="578"/>
                    <a:pt x="2930" y="566"/>
                    <a:pt x="2929" y="552"/>
                  </a:cubicBezTo>
                  <a:cubicBezTo>
                    <a:pt x="2927" y="537"/>
                    <a:pt x="2938" y="524"/>
                    <a:pt x="2953" y="523"/>
                  </a:cubicBezTo>
                  <a:close/>
                  <a:moveTo>
                    <a:pt x="3008" y="598"/>
                  </a:moveTo>
                  <a:cubicBezTo>
                    <a:pt x="3024" y="597"/>
                    <a:pt x="3038" y="608"/>
                    <a:pt x="3040" y="623"/>
                  </a:cubicBezTo>
                  <a:cubicBezTo>
                    <a:pt x="3042" y="638"/>
                    <a:pt x="3031" y="651"/>
                    <a:pt x="3015" y="652"/>
                  </a:cubicBezTo>
                  <a:cubicBezTo>
                    <a:pt x="3000" y="653"/>
                    <a:pt x="2985" y="641"/>
                    <a:pt x="2984" y="626"/>
                  </a:cubicBezTo>
                  <a:cubicBezTo>
                    <a:pt x="2982" y="611"/>
                    <a:pt x="2993" y="599"/>
                    <a:pt x="3008" y="598"/>
                  </a:cubicBezTo>
                  <a:close/>
                  <a:moveTo>
                    <a:pt x="3060" y="670"/>
                  </a:moveTo>
                  <a:cubicBezTo>
                    <a:pt x="3075" y="669"/>
                    <a:pt x="3090" y="680"/>
                    <a:pt x="3092" y="695"/>
                  </a:cubicBezTo>
                  <a:cubicBezTo>
                    <a:pt x="3094" y="710"/>
                    <a:pt x="3083" y="723"/>
                    <a:pt x="3067" y="724"/>
                  </a:cubicBezTo>
                  <a:cubicBezTo>
                    <a:pt x="3051" y="725"/>
                    <a:pt x="3037" y="713"/>
                    <a:pt x="3035" y="698"/>
                  </a:cubicBezTo>
                  <a:cubicBezTo>
                    <a:pt x="3033" y="684"/>
                    <a:pt x="3044" y="671"/>
                    <a:pt x="3060" y="670"/>
                  </a:cubicBezTo>
                  <a:close/>
                  <a:moveTo>
                    <a:pt x="3096" y="593"/>
                  </a:moveTo>
                  <a:cubicBezTo>
                    <a:pt x="3111" y="592"/>
                    <a:pt x="3126" y="603"/>
                    <a:pt x="3128" y="618"/>
                  </a:cubicBezTo>
                  <a:cubicBezTo>
                    <a:pt x="3130" y="633"/>
                    <a:pt x="3119" y="646"/>
                    <a:pt x="3103" y="647"/>
                  </a:cubicBezTo>
                  <a:cubicBezTo>
                    <a:pt x="3088" y="648"/>
                    <a:pt x="3074" y="636"/>
                    <a:pt x="3072" y="622"/>
                  </a:cubicBezTo>
                  <a:cubicBezTo>
                    <a:pt x="3070" y="607"/>
                    <a:pt x="3080" y="594"/>
                    <a:pt x="3096" y="593"/>
                  </a:cubicBezTo>
                  <a:close/>
                  <a:moveTo>
                    <a:pt x="3148" y="664"/>
                  </a:moveTo>
                  <a:cubicBezTo>
                    <a:pt x="3164" y="663"/>
                    <a:pt x="3178" y="675"/>
                    <a:pt x="3181" y="689"/>
                  </a:cubicBezTo>
                  <a:cubicBezTo>
                    <a:pt x="3183" y="704"/>
                    <a:pt x="3172" y="717"/>
                    <a:pt x="3156" y="718"/>
                  </a:cubicBezTo>
                  <a:cubicBezTo>
                    <a:pt x="3141" y="719"/>
                    <a:pt x="3126" y="708"/>
                    <a:pt x="3124" y="693"/>
                  </a:cubicBezTo>
                  <a:cubicBezTo>
                    <a:pt x="3122" y="678"/>
                    <a:pt x="3133" y="665"/>
                    <a:pt x="3148" y="664"/>
                  </a:cubicBezTo>
                  <a:close/>
                  <a:moveTo>
                    <a:pt x="3183" y="587"/>
                  </a:moveTo>
                  <a:cubicBezTo>
                    <a:pt x="3199" y="586"/>
                    <a:pt x="3213" y="597"/>
                    <a:pt x="3216" y="612"/>
                  </a:cubicBezTo>
                  <a:cubicBezTo>
                    <a:pt x="3218" y="627"/>
                    <a:pt x="3207" y="640"/>
                    <a:pt x="3192" y="641"/>
                  </a:cubicBezTo>
                  <a:cubicBezTo>
                    <a:pt x="3176" y="642"/>
                    <a:pt x="3162" y="631"/>
                    <a:pt x="3160" y="616"/>
                  </a:cubicBezTo>
                  <a:cubicBezTo>
                    <a:pt x="3157" y="601"/>
                    <a:pt x="3168" y="588"/>
                    <a:pt x="3183" y="587"/>
                  </a:cubicBezTo>
                  <a:close/>
                  <a:moveTo>
                    <a:pt x="3237" y="658"/>
                  </a:moveTo>
                  <a:cubicBezTo>
                    <a:pt x="3253" y="657"/>
                    <a:pt x="3267" y="668"/>
                    <a:pt x="3270" y="683"/>
                  </a:cubicBezTo>
                  <a:cubicBezTo>
                    <a:pt x="3272" y="698"/>
                    <a:pt x="3262" y="711"/>
                    <a:pt x="3246" y="712"/>
                  </a:cubicBezTo>
                  <a:cubicBezTo>
                    <a:pt x="3230" y="713"/>
                    <a:pt x="3215" y="702"/>
                    <a:pt x="3213" y="687"/>
                  </a:cubicBezTo>
                  <a:cubicBezTo>
                    <a:pt x="3211" y="672"/>
                    <a:pt x="3221" y="660"/>
                    <a:pt x="3237" y="658"/>
                  </a:cubicBezTo>
                  <a:close/>
                  <a:moveTo>
                    <a:pt x="3271" y="581"/>
                  </a:moveTo>
                  <a:cubicBezTo>
                    <a:pt x="3286" y="580"/>
                    <a:pt x="3301" y="591"/>
                    <a:pt x="3304" y="606"/>
                  </a:cubicBezTo>
                  <a:cubicBezTo>
                    <a:pt x="3306" y="621"/>
                    <a:pt x="3296" y="634"/>
                    <a:pt x="3280" y="635"/>
                  </a:cubicBezTo>
                  <a:cubicBezTo>
                    <a:pt x="3265" y="636"/>
                    <a:pt x="3250" y="625"/>
                    <a:pt x="3247" y="610"/>
                  </a:cubicBezTo>
                  <a:cubicBezTo>
                    <a:pt x="3245" y="595"/>
                    <a:pt x="3255" y="582"/>
                    <a:pt x="3271" y="581"/>
                  </a:cubicBezTo>
                  <a:close/>
                  <a:moveTo>
                    <a:pt x="3326" y="652"/>
                  </a:moveTo>
                  <a:cubicBezTo>
                    <a:pt x="3341" y="651"/>
                    <a:pt x="3356" y="661"/>
                    <a:pt x="3359" y="676"/>
                  </a:cubicBezTo>
                  <a:cubicBezTo>
                    <a:pt x="3362" y="691"/>
                    <a:pt x="3351" y="704"/>
                    <a:pt x="3335" y="705"/>
                  </a:cubicBezTo>
                  <a:cubicBezTo>
                    <a:pt x="3319" y="707"/>
                    <a:pt x="3305" y="696"/>
                    <a:pt x="3302" y="681"/>
                  </a:cubicBezTo>
                  <a:cubicBezTo>
                    <a:pt x="3299" y="666"/>
                    <a:pt x="3310" y="653"/>
                    <a:pt x="3326" y="652"/>
                  </a:cubicBezTo>
                  <a:close/>
                  <a:moveTo>
                    <a:pt x="3358" y="574"/>
                  </a:moveTo>
                  <a:cubicBezTo>
                    <a:pt x="3374" y="573"/>
                    <a:pt x="3389" y="584"/>
                    <a:pt x="3391" y="599"/>
                  </a:cubicBezTo>
                  <a:cubicBezTo>
                    <a:pt x="3394" y="614"/>
                    <a:pt x="3384" y="627"/>
                    <a:pt x="3368" y="628"/>
                  </a:cubicBezTo>
                  <a:cubicBezTo>
                    <a:pt x="3353" y="629"/>
                    <a:pt x="3338" y="618"/>
                    <a:pt x="3335" y="603"/>
                  </a:cubicBezTo>
                  <a:cubicBezTo>
                    <a:pt x="3333" y="589"/>
                    <a:pt x="3343" y="576"/>
                    <a:pt x="3358" y="574"/>
                  </a:cubicBezTo>
                  <a:close/>
                  <a:moveTo>
                    <a:pt x="3420" y="749"/>
                  </a:moveTo>
                  <a:cubicBezTo>
                    <a:pt x="3423" y="763"/>
                    <a:pt x="3413" y="776"/>
                    <a:pt x="3397" y="778"/>
                  </a:cubicBezTo>
                  <a:cubicBezTo>
                    <a:pt x="3381" y="779"/>
                    <a:pt x="3366" y="768"/>
                    <a:pt x="3363" y="753"/>
                  </a:cubicBezTo>
                  <a:cubicBezTo>
                    <a:pt x="3360" y="739"/>
                    <a:pt x="3371" y="726"/>
                    <a:pt x="3387" y="724"/>
                  </a:cubicBezTo>
                  <a:cubicBezTo>
                    <a:pt x="3402" y="723"/>
                    <a:pt x="3418" y="734"/>
                    <a:pt x="3420" y="749"/>
                  </a:cubicBezTo>
                  <a:close/>
                  <a:moveTo>
                    <a:pt x="3444" y="794"/>
                  </a:moveTo>
                  <a:cubicBezTo>
                    <a:pt x="3460" y="793"/>
                    <a:pt x="3475" y="804"/>
                    <a:pt x="3478" y="818"/>
                  </a:cubicBezTo>
                  <a:cubicBezTo>
                    <a:pt x="3481" y="833"/>
                    <a:pt x="3470" y="846"/>
                    <a:pt x="3454" y="848"/>
                  </a:cubicBezTo>
                  <a:cubicBezTo>
                    <a:pt x="3438" y="849"/>
                    <a:pt x="3422" y="838"/>
                    <a:pt x="3420" y="824"/>
                  </a:cubicBezTo>
                  <a:cubicBezTo>
                    <a:pt x="3417" y="809"/>
                    <a:pt x="3427" y="796"/>
                    <a:pt x="3444" y="794"/>
                  </a:cubicBezTo>
                  <a:close/>
                  <a:moveTo>
                    <a:pt x="3476" y="716"/>
                  </a:moveTo>
                  <a:cubicBezTo>
                    <a:pt x="3492" y="715"/>
                    <a:pt x="3507" y="726"/>
                    <a:pt x="3511" y="741"/>
                  </a:cubicBezTo>
                  <a:cubicBezTo>
                    <a:pt x="3514" y="755"/>
                    <a:pt x="3503" y="768"/>
                    <a:pt x="3487" y="770"/>
                  </a:cubicBezTo>
                  <a:cubicBezTo>
                    <a:pt x="3471" y="771"/>
                    <a:pt x="3456" y="761"/>
                    <a:pt x="3453" y="746"/>
                  </a:cubicBezTo>
                  <a:cubicBezTo>
                    <a:pt x="3450" y="731"/>
                    <a:pt x="3460" y="718"/>
                    <a:pt x="3476" y="716"/>
                  </a:cubicBezTo>
                  <a:close/>
                  <a:moveTo>
                    <a:pt x="3534" y="786"/>
                  </a:moveTo>
                  <a:cubicBezTo>
                    <a:pt x="3550" y="784"/>
                    <a:pt x="3566" y="795"/>
                    <a:pt x="3569" y="810"/>
                  </a:cubicBezTo>
                  <a:cubicBezTo>
                    <a:pt x="3572" y="825"/>
                    <a:pt x="3562" y="838"/>
                    <a:pt x="3546" y="839"/>
                  </a:cubicBezTo>
                  <a:cubicBezTo>
                    <a:pt x="3530" y="841"/>
                    <a:pt x="3514" y="830"/>
                    <a:pt x="3511" y="815"/>
                  </a:cubicBezTo>
                  <a:cubicBezTo>
                    <a:pt x="3508" y="801"/>
                    <a:pt x="3518" y="787"/>
                    <a:pt x="3534" y="786"/>
                  </a:cubicBezTo>
                  <a:close/>
                  <a:moveTo>
                    <a:pt x="3566" y="708"/>
                  </a:moveTo>
                  <a:cubicBezTo>
                    <a:pt x="3582" y="706"/>
                    <a:pt x="3597" y="717"/>
                    <a:pt x="3601" y="732"/>
                  </a:cubicBezTo>
                  <a:cubicBezTo>
                    <a:pt x="3604" y="747"/>
                    <a:pt x="3594" y="760"/>
                    <a:pt x="3578" y="761"/>
                  </a:cubicBezTo>
                  <a:cubicBezTo>
                    <a:pt x="3562" y="763"/>
                    <a:pt x="3546" y="752"/>
                    <a:pt x="3543" y="737"/>
                  </a:cubicBezTo>
                  <a:cubicBezTo>
                    <a:pt x="3540" y="723"/>
                    <a:pt x="3550" y="710"/>
                    <a:pt x="3566" y="708"/>
                  </a:cubicBezTo>
                  <a:close/>
                  <a:moveTo>
                    <a:pt x="3634" y="881"/>
                  </a:moveTo>
                  <a:cubicBezTo>
                    <a:pt x="3638" y="896"/>
                    <a:pt x="3627" y="909"/>
                    <a:pt x="3611" y="911"/>
                  </a:cubicBezTo>
                  <a:cubicBezTo>
                    <a:pt x="3594" y="912"/>
                    <a:pt x="3578" y="902"/>
                    <a:pt x="3575" y="887"/>
                  </a:cubicBezTo>
                  <a:cubicBezTo>
                    <a:pt x="3572" y="872"/>
                    <a:pt x="3583" y="859"/>
                    <a:pt x="3599" y="857"/>
                  </a:cubicBezTo>
                  <a:cubicBezTo>
                    <a:pt x="3615" y="856"/>
                    <a:pt x="3631" y="866"/>
                    <a:pt x="3634" y="881"/>
                  </a:cubicBezTo>
                  <a:close/>
                  <a:moveTo>
                    <a:pt x="3625" y="777"/>
                  </a:moveTo>
                  <a:cubicBezTo>
                    <a:pt x="3641" y="775"/>
                    <a:pt x="3657" y="786"/>
                    <a:pt x="3660" y="801"/>
                  </a:cubicBezTo>
                  <a:cubicBezTo>
                    <a:pt x="3664" y="815"/>
                    <a:pt x="3653" y="829"/>
                    <a:pt x="3637" y="830"/>
                  </a:cubicBezTo>
                  <a:cubicBezTo>
                    <a:pt x="3621" y="832"/>
                    <a:pt x="3605" y="821"/>
                    <a:pt x="3602" y="807"/>
                  </a:cubicBezTo>
                  <a:cubicBezTo>
                    <a:pt x="3599" y="792"/>
                    <a:pt x="3609" y="779"/>
                    <a:pt x="3625" y="777"/>
                  </a:cubicBezTo>
                  <a:close/>
                  <a:moveTo>
                    <a:pt x="3656" y="699"/>
                  </a:moveTo>
                  <a:cubicBezTo>
                    <a:pt x="3671" y="697"/>
                    <a:pt x="3687" y="708"/>
                    <a:pt x="3691" y="722"/>
                  </a:cubicBezTo>
                  <a:cubicBezTo>
                    <a:pt x="3694" y="737"/>
                    <a:pt x="3684" y="750"/>
                    <a:pt x="3668" y="752"/>
                  </a:cubicBezTo>
                  <a:cubicBezTo>
                    <a:pt x="3652" y="754"/>
                    <a:pt x="3637" y="743"/>
                    <a:pt x="3633" y="729"/>
                  </a:cubicBezTo>
                  <a:cubicBezTo>
                    <a:pt x="3630" y="714"/>
                    <a:pt x="3640" y="701"/>
                    <a:pt x="3656" y="699"/>
                  </a:cubicBezTo>
                  <a:close/>
                  <a:moveTo>
                    <a:pt x="3727" y="871"/>
                  </a:moveTo>
                  <a:cubicBezTo>
                    <a:pt x="3730" y="886"/>
                    <a:pt x="3720" y="899"/>
                    <a:pt x="3703" y="901"/>
                  </a:cubicBezTo>
                  <a:cubicBezTo>
                    <a:pt x="3687" y="903"/>
                    <a:pt x="3671" y="892"/>
                    <a:pt x="3668" y="877"/>
                  </a:cubicBezTo>
                  <a:cubicBezTo>
                    <a:pt x="3664" y="863"/>
                    <a:pt x="3675" y="850"/>
                    <a:pt x="3691" y="848"/>
                  </a:cubicBezTo>
                  <a:cubicBezTo>
                    <a:pt x="3707" y="846"/>
                    <a:pt x="3723" y="856"/>
                    <a:pt x="3727" y="871"/>
                  </a:cubicBezTo>
                  <a:close/>
                  <a:moveTo>
                    <a:pt x="3716" y="767"/>
                  </a:moveTo>
                  <a:cubicBezTo>
                    <a:pt x="3732" y="766"/>
                    <a:pt x="3748" y="776"/>
                    <a:pt x="3751" y="791"/>
                  </a:cubicBezTo>
                  <a:cubicBezTo>
                    <a:pt x="3755" y="805"/>
                    <a:pt x="3745" y="819"/>
                    <a:pt x="3729" y="820"/>
                  </a:cubicBezTo>
                  <a:cubicBezTo>
                    <a:pt x="3713" y="822"/>
                    <a:pt x="3697" y="812"/>
                    <a:pt x="3693" y="797"/>
                  </a:cubicBezTo>
                  <a:cubicBezTo>
                    <a:pt x="3690" y="782"/>
                    <a:pt x="3700" y="769"/>
                    <a:pt x="3716" y="767"/>
                  </a:cubicBezTo>
                  <a:close/>
                  <a:moveTo>
                    <a:pt x="3745" y="689"/>
                  </a:moveTo>
                  <a:cubicBezTo>
                    <a:pt x="3761" y="687"/>
                    <a:pt x="3777" y="698"/>
                    <a:pt x="3781" y="712"/>
                  </a:cubicBezTo>
                  <a:cubicBezTo>
                    <a:pt x="3784" y="727"/>
                    <a:pt x="3775" y="740"/>
                    <a:pt x="3759" y="742"/>
                  </a:cubicBezTo>
                  <a:cubicBezTo>
                    <a:pt x="3743" y="744"/>
                    <a:pt x="3727" y="734"/>
                    <a:pt x="3723" y="719"/>
                  </a:cubicBezTo>
                  <a:cubicBezTo>
                    <a:pt x="3720" y="704"/>
                    <a:pt x="3729" y="691"/>
                    <a:pt x="3745" y="689"/>
                  </a:cubicBezTo>
                  <a:close/>
                  <a:moveTo>
                    <a:pt x="3783" y="838"/>
                  </a:moveTo>
                  <a:cubicBezTo>
                    <a:pt x="3799" y="836"/>
                    <a:pt x="3815" y="846"/>
                    <a:pt x="3819" y="861"/>
                  </a:cubicBezTo>
                  <a:cubicBezTo>
                    <a:pt x="3823" y="875"/>
                    <a:pt x="3812" y="889"/>
                    <a:pt x="3796" y="891"/>
                  </a:cubicBezTo>
                  <a:cubicBezTo>
                    <a:pt x="3780" y="892"/>
                    <a:pt x="3764" y="882"/>
                    <a:pt x="3760" y="867"/>
                  </a:cubicBezTo>
                  <a:cubicBezTo>
                    <a:pt x="3756" y="853"/>
                    <a:pt x="3767" y="839"/>
                    <a:pt x="3783" y="838"/>
                  </a:cubicBezTo>
                  <a:close/>
                  <a:moveTo>
                    <a:pt x="3807" y="757"/>
                  </a:moveTo>
                  <a:cubicBezTo>
                    <a:pt x="3823" y="755"/>
                    <a:pt x="3839" y="766"/>
                    <a:pt x="3843" y="780"/>
                  </a:cubicBezTo>
                  <a:cubicBezTo>
                    <a:pt x="3846" y="795"/>
                    <a:pt x="3836" y="808"/>
                    <a:pt x="3820" y="810"/>
                  </a:cubicBezTo>
                  <a:cubicBezTo>
                    <a:pt x="3804" y="812"/>
                    <a:pt x="3788" y="802"/>
                    <a:pt x="3784" y="787"/>
                  </a:cubicBezTo>
                  <a:cubicBezTo>
                    <a:pt x="3781" y="772"/>
                    <a:pt x="3791" y="759"/>
                    <a:pt x="3807" y="757"/>
                  </a:cubicBezTo>
                  <a:close/>
                  <a:moveTo>
                    <a:pt x="3835" y="679"/>
                  </a:moveTo>
                  <a:cubicBezTo>
                    <a:pt x="3850" y="677"/>
                    <a:pt x="3867" y="687"/>
                    <a:pt x="3871" y="702"/>
                  </a:cubicBezTo>
                  <a:cubicBezTo>
                    <a:pt x="3875" y="716"/>
                    <a:pt x="3865" y="730"/>
                    <a:pt x="3849" y="732"/>
                  </a:cubicBezTo>
                  <a:cubicBezTo>
                    <a:pt x="3833" y="734"/>
                    <a:pt x="3817" y="723"/>
                    <a:pt x="3813" y="709"/>
                  </a:cubicBezTo>
                  <a:cubicBezTo>
                    <a:pt x="3809" y="694"/>
                    <a:pt x="3819" y="681"/>
                    <a:pt x="3835" y="679"/>
                  </a:cubicBezTo>
                  <a:close/>
                  <a:moveTo>
                    <a:pt x="3875" y="827"/>
                  </a:moveTo>
                  <a:cubicBezTo>
                    <a:pt x="3891" y="825"/>
                    <a:pt x="3907" y="835"/>
                    <a:pt x="3911" y="850"/>
                  </a:cubicBezTo>
                  <a:cubicBezTo>
                    <a:pt x="3915" y="864"/>
                    <a:pt x="3905" y="878"/>
                    <a:pt x="3889" y="880"/>
                  </a:cubicBezTo>
                  <a:cubicBezTo>
                    <a:pt x="3872" y="882"/>
                    <a:pt x="3856" y="871"/>
                    <a:pt x="3852" y="857"/>
                  </a:cubicBezTo>
                  <a:cubicBezTo>
                    <a:pt x="3848" y="842"/>
                    <a:pt x="3858" y="829"/>
                    <a:pt x="3875" y="827"/>
                  </a:cubicBezTo>
                  <a:close/>
                  <a:moveTo>
                    <a:pt x="3897" y="746"/>
                  </a:moveTo>
                  <a:cubicBezTo>
                    <a:pt x="3913" y="744"/>
                    <a:pt x="3929" y="754"/>
                    <a:pt x="3934" y="769"/>
                  </a:cubicBezTo>
                  <a:cubicBezTo>
                    <a:pt x="3938" y="784"/>
                    <a:pt x="3928" y="797"/>
                    <a:pt x="3912" y="799"/>
                  </a:cubicBezTo>
                  <a:cubicBezTo>
                    <a:pt x="3896" y="801"/>
                    <a:pt x="3879" y="791"/>
                    <a:pt x="3875" y="776"/>
                  </a:cubicBezTo>
                  <a:cubicBezTo>
                    <a:pt x="3871" y="762"/>
                    <a:pt x="3881" y="748"/>
                    <a:pt x="3897" y="746"/>
                  </a:cubicBezTo>
                  <a:close/>
                  <a:moveTo>
                    <a:pt x="3924" y="668"/>
                  </a:moveTo>
                  <a:cubicBezTo>
                    <a:pt x="3940" y="666"/>
                    <a:pt x="3956" y="676"/>
                    <a:pt x="3960" y="690"/>
                  </a:cubicBezTo>
                  <a:cubicBezTo>
                    <a:pt x="3965" y="705"/>
                    <a:pt x="3955" y="718"/>
                    <a:pt x="3939" y="720"/>
                  </a:cubicBezTo>
                  <a:cubicBezTo>
                    <a:pt x="3923" y="722"/>
                    <a:pt x="3907" y="712"/>
                    <a:pt x="3903" y="698"/>
                  </a:cubicBezTo>
                  <a:cubicBezTo>
                    <a:pt x="3899" y="683"/>
                    <a:pt x="3908" y="670"/>
                    <a:pt x="3924" y="668"/>
                  </a:cubicBezTo>
                  <a:close/>
                  <a:moveTo>
                    <a:pt x="3966" y="815"/>
                  </a:moveTo>
                  <a:cubicBezTo>
                    <a:pt x="3983" y="813"/>
                    <a:pt x="3999" y="823"/>
                    <a:pt x="4003" y="838"/>
                  </a:cubicBezTo>
                  <a:cubicBezTo>
                    <a:pt x="4008" y="852"/>
                    <a:pt x="3998" y="866"/>
                    <a:pt x="3981" y="868"/>
                  </a:cubicBezTo>
                  <a:cubicBezTo>
                    <a:pt x="3965" y="870"/>
                    <a:pt x="3949" y="860"/>
                    <a:pt x="3944" y="845"/>
                  </a:cubicBezTo>
                  <a:cubicBezTo>
                    <a:pt x="3940" y="831"/>
                    <a:pt x="3950" y="817"/>
                    <a:pt x="3966" y="815"/>
                  </a:cubicBezTo>
                  <a:close/>
                  <a:moveTo>
                    <a:pt x="3988" y="735"/>
                  </a:moveTo>
                  <a:cubicBezTo>
                    <a:pt x="4004" y="733"/>
                    <a:pt x="4020" y="743"/>
                    <a:pt x="4025" y="757"/>
                  </a:cubicBezTo>
                  <a:cubicBezTo>
                    <a:pt x="4029" y="772"/>
                    <a:pt x="4019" y="785"/>
                    <a:pt x="4003" y="787"/>
                  </a:cubicBezTo>
                  <a:cubicBezTo>
                    <a:pt x="3987" y="789"/>
                    <a:pt x="3971" y="779"/>
                    <a:pt x="3966" y="765"/>
                  </a:cubicBezTo>
                  <a:cubicBezTo>
                    <a:pt x="3962" y="750"/>
                    <a:pt x="3972" y="737"/>
                    <a:pt x="3988" y="735"/>
                  </a:cubicBezTo>
                  <a:close/>
                  <a:moveTo>
                    <a:pt x="4014" y="656"/>
                  </a:moveTo>
                  <a:cubicBezTo>
                    <a:pt x="4029" y="654"/>
                    <a:pt x="4046" y="664"/>
                    <a:pt x="4050" y="678"/>
                  </a:cubicBezTo>
                  <a:cubicBezTo>
                    <a:pt x="4055" y="693"/>
                    <a:pt x="4045" y="706"/>
                    <a:pt x="4029" y="709"/>
                  </a:cubicBezTo>
                  <a:cubicBezTo>
                    <a:pt x="4014" y="711"/>
                    <a:pt x="3997" y="701"/>
                    <a:pt x="3993" y="686"/>
                  </a:cubicBezTo>
                  <a:cubicBezTo>
                    <a:pt x="3989" y="672"/>
                    <a:pt x="3998" y="658"/>
                    <a:pt x="4014" y="656"/>
                  </a:cubicBezTo>
                  <a:close/>
                  <a:moveTo>
                    <a:pt x="4058" y="803"/>
                  </a:moveTo>
                  <a:cubicBezTo>
                    <a:pt x="4074" y="801"/>
                    <a:pt x="4091" y="811"/>
                    <a:pt x="4095" y="825"/>
                  </a:cubicBezTo>
                  <a:cubicBezTo>
                    <a:pt x="4100" y="840"/>
                    <a:pt x="4090" y="853"/>
                    <a:pt x="4074" y="856"/>
                  </a:cubicBezTo>
                  <a:cubicBezTo>
                    <a:pt x="4058" y="858"/>
                    <a:pt x="4041" y="848"/>
                    <a:pt x="4037" y="833"/>
                  </a:cubicBezTo>
                  <a:cubicBezTo>
                    <a:pt x="4032" y="819"/>
                    <a:pt x="4042" y="805"/>
                    <a:pt x="4058" y="803"/>
                  </a:cubicBezTo>
                  <a:close/>
                  <a:moveTo>
                    <a:pt x="4078" y="723"/>
                  </a:moveTo>
                  <a:cubicBezTo>
                    <a:pt x="4094" y="720"/>
                    <a:pt x="4111" y="730"/>
                    <a:pt x="4115" y="745"/>
                  </a:cubicBezTo>
                  <a:cubicBezTo>
                    <a:pt x="4120" y="759"/>
                    <a:pt x="4111" y="773"/>
                    <a:pt x="4095" y="775"/>
                  </a:cubicBezTo>
                  <a:cubicBezTo>
                    <a:pt x="4078" y="777"/>
                    <a:pt x="4062" y="767"/>
                    <a:pt x="4057" y="753"/>
                  </a:cubicBezTo>
                  <a:cubicBezTo>
                    <a:pt x="4053" y="738"/>
                    <a:pt x="4062" y="725"/>
                    <a:pt x="4078" y="723"/>
                  </a:cubicBezTo>
                  <a:close/>
                  <a:moveTo>
                    <a:pt x="4124" y="869"/>
                  </a:moveTo>
                  <a:cubicBezTo>
                    <a:pt x="4140" y="867"/>
                    <a:pt x="4157" y="877"/>
                    <a:pt x="4162" y="891"/>
                  </a:cubicBezTo>
                  <a:cubicBezTo>
                    <a:pt x="4166" y="906"/>
                    <a:pt x="4157" y="919"/>
                    <a:pt x="4140" y="922"/>
                  </a:cubicBezTo>
                  <a:cubicBezTo>
                    <a:pt x="4124" y="924"/>
                    <a:pt x="4107" y="914"/>
                    <a:pt x="4102" y="900"/>
                  </a:cubicBezTo>
                  <a:cubicBezTo>
                    <a:pt x="4098" y="885"/>
                    <a:pt x="4107" y="872"/>
                    <a:pt x="4124" y="869"/>
                  </a:cubicBezTo>
                  <a:close/>
                  <a:moveTo>
                    <a:pt x="4150" y="790"/>
                  </a:moveTo>
                  <a:cubicBezTo>
                    <a:pt x="4166" y="788"/>
                    <a:pt x="4183" y="798"/>
                    <a:pt x="4187" y="812"/>
                  </a:cubicBezTo>
                  <a:cubicBezTo>
                    <a:pt x="4192" y="827"/>
                    <a:pt x="4183" y="840"/>
                    <a:pt x="4166" y="843"/>
                  </a:cubicBezTo>
                  <a:cubicBezTo>
                    <a:pt x="4150" y="845"/>
                    <a:pt x="4133" y="835"/>
                    <a:pt x="4129" y="821"/>
                  </a:cubicBezTo>
                  <a:cubicBezTo>
                    <a:pt x="4124" y="806"/>
                    <a:pt x="4134" y="793"/>
                    <a:pt x="4150" y="790"/>
                  </a:cubicBezTo>
                  <a:close/>
                  <a:moveTo>
                    <a:pt x="4169" y="710"/>
                  </a:moveTo>
                  <a:cubicBezTo>
                    <a:pt x="4185" y="707"/>
                    <a:pt x="4201" y="717"/>
                    <a:pt x="4206" y="731"/>
                  </a:cubicBezTo>
                  <a:cubicBezTo>
                    <a:pt x="4211" y="746"/>
                    <a:pt x="4202" y="760"/>
                    <a:pt x="4186" y="762"/>
                  </a:cubicBezTo>
                  <a:cubicBezTo>
                    <a:pt x="4170" y="764"/>
                    <a:pt x="4153" y="754"/>
                    <a:pt x="4148" y="740"/>
                  </a:cubicBezTo>
                  <a:cubicBezTo>
                    <a:pt x="4144" y="726"/>
                    <a:pt x="4153" y="712"/>
                    <a:pt x="4169" y="710"/>
                  </a:cubicBezTo>
                  <a:close/>
                  <a:moveTo>
                    <a:pt x="4217" y="856"/>
                  </a:moveTo>
                  <a:cubicBezTo>
                    <a:pt x="4233" y="854"/>
                    <a:pt x="4250" y="863"/>
                    <a:pt x="4255" y="878"/>
                  </a:cubicBezTo>
                  <a:cubicBezTo>
                    <a:pt x="4260" y="892"/>
                    <a:pt x="4250" y="906"/>
                    <a:pt x="4234" y="908"/>
                  </a:cubicBezTo>
                  <a:cubicBezTo>
                    <a:pt x="4217" y="911"/>
                    <a:pt x="4200" y="901"/>
                    <a:pt x="4195" y="886"/>
                  </a:cubicBezTo>
                  <a:cubicBezTo>
                    <a:pt x="4191" y="872"/>
                    <a:pt x="4200" y="858"/>
                    <a:pt x="4217" y="856"/>
                  </a:cubicBezTo>
                  <a:close/>
                  <a:moveTo>
                    <a:pt x="4241" y="777"/>
                  </a:moveTo>
                  <a:cubicBezTo>
                    <a:pt x="4257" y="775"/>
                    <a:pt x="4274" y="784"/>
                    <a:pt x="4279" y="799"/>
                  </a:cubicBezTo>
                  <a:cubicBezTo>
                    <a:pt x="4284" y="813"/>
                    <a:pt x="4275" y="827"/>
                    <a:pt x="4259" y="829"/>
                  </a:cubicBezTo>
                  <a:cubicBezTo>
                    <a:pt x="4243" y="832"/>
                    <a:pt x="4225" y="822"/>
                    <a:pt x="4221" y="807"/>
                  </a:cubicBezTo>
                  <a:cubicBezTo>
                    <a:pt x="4216" y="793"/>
                    <a:pt x="4225" y="779"/>
                    <a:pt x="4241" y="777"/>
                  </a:cubicBezTo>
                  <a:close/>
                  <a:moveTo>
                    <a:pt x="4259" y="696"/>
                  </a:moveTo>
                  <a:cubicBezTo>
                    <a:pt x="4275" y="694"/>
                    <a:pt x="4292" y="703"/>
                    <a:pt x="4297" y="718"/>
                  </a:cubicBezTo>
                  <a:cubicBezTo>
                    <a:pt x="4302" y="732"/>
                    <a:pt x="4293" y="746"/>
                    <a:pt x="4277" y="748"/>
                  </a:cubicBezTo>
                  <a:cubicBezTo>
                    <a:pt x="4261" y="751"/>
                    <a:pt x="4244" y="741"/>
                    <a:pt x="4239" y="727"/>
                  </a:cubicBezTo>
                  <a:cubicBezTo>
                    <a:pt x="4234" y="712"/>
                    <a:pt x="4243" y="699"/>
                    <a:pt x="4259" y="696"/>
                  </a:cubicBezTo>
                  <a:close/>
                  <a:moveTo>
                    <a:pt x="4309" y="842"/>
                  </a:moveTo>
                  <a:cubicBezTo>
                    <a:pt x="4326" y="839"/>
                    <a:pt x="4343" y="849"/>
                    <a:pt x="4348" y="863"/>
                  </a:cubicBezTo>
                  <a:cubicBezTo>
                    <a:pt x="4353" y="878"/>
                    <a:pt x="4344" y="891"/>
                    <a:pt x="4327" y="894"/>
                  </a:cubicBezTo>
                  <a:cubicBezTo>
                    <a:pt x="4311" y="897"/>
                    <a:pt x="4293" y="887"/>
                    <a:pt x="4288" y="873"/>
                  </a:cubicBezTo>
                  <a:cubicBezTo>
                    <a:pt x="4284" y="858"/>
                    <a:pt x="4293" y="845"/>
                    <a:pt x="4309" y="842"/>
                  </a:cubicBezTo>
                  <a:close/>
                  <a:moveTo>
                    <a:pt x="4333" y="763"/>
                  </a:moveTo>
                  <a:cubicBezTo>
                    <a:pt x="4349" y="760"/>
                    <a:pt x="4366" y="770"/>
                    <a:pt x="4371" y="784"/>
                  </a:cubicBezTo>
                  <a:cubicBezTo>
                    <a:pt x="4376" y="798"/>
                    <a:pt x="4367" y="812"/>
                    <a:pt x="4351" y="815"/>
                  </a:cubicBezTo>
                  <a:cubicBezTo>
                    <a:pt x="4335" y="817"/>
                    <a:pt x="4318" y="808"/>
                    <a:pt x="4313" y="793"/>
                  </a:cubicBezTo>
                  <a:cubicBezTo>
                    <a:pt x="4308" y="779"/>
                    <a:pt x="4317" y="765"/>
                    <a:pt x="4333" y="763"/>
                  </a:cubicBezTo>
                  <a:close/>
                  <a:moveTo>
                    <a:pt x="4349" y="682"/>
                  </a:moveTo>
                  <a:cubicBezTo>
                    <a:pt x="4365" y="679"/>
                    <a:pt x="4382" y="689"/>
                    <a:pt x="4388" y="703"/>
                  </a:cubicBezTo>
                  <a:cubicBezTo>
                    <a:pt x="4393" y="718"/>
                    <a:pt x="4384" y="731"/>
                    <a:pt x="4368" y="734"/>
                  </a:cubicBezTo>
                  <a:cubicBezTo>
                    <a:pt x="4352" y="736"/>
                    <a:pt x="4335" y="727"/>
                    <a:pt x="4330" y="713"/>
                  </a:cubicBezTo>
                  <a:cubicBezTo>
                    <a:pt x="4325" y="698"/>
                    <a:pt x="4334" y="685"/>
                    <a:pt x="4349" y="682"/>
                  </a:cubicBezTo>
                  <a:close/>
                  <a:moveTo>
                    <a:pt x="4402" y="827"/>
                  </a:moveTo>
                  <a:cubicBezTo>
                    <a:pt x="4418" y="825"/>
                    <a:pt x="4436" y="834"/>
                    <a:pt x="4441" y="848"/>
                  </a:cubicBezTo>
                  <a:cubicBezTo>
                    <a:pt x="4446" y="863"/>
                    <a:pt x="4437" y="876"/>
                    <a:pt x="4421" y="879"/>
                  </a:cubicBezTo>
                  <a:cubicBezTo>
                    <a:pt x="4404" y="882"/>
                    <a:pt x="4387" y="872"/>
                    <a:pt x="4382" y="858"/>
                  </a:cubicBezTo>
                  <a:cubicBezTo>
                    <a:pt x="4376" y="844"/>
                    <a:pt x="4386" y="830"/>
                    <a:pt x="4402" y="827"/>
                  </a:cubicBezTo>
                  <a:close/>
                  <a:moveTo>
                    <a:pt x="4424" y="748"/>
                  </a:moveTo>
                  <a:cubicBezTo>
                    <a:pt x="4440" y="745"/>
                    <a:pt x="4458" y="755"/>
                    <a:pt x="4463" y="769"/>
                  </a:cubicBezTo>
                  <a:cubicBezTo>
                    <a:pt x="4468" y="783"/>
                    <a:pt x="4460" y="797"/>
                    <a:pt x="4443" y="800"/>
                  </a:cubicBezTo>
                  <a:cubicBezTo>
                    <a:pt x="4427" y="803"/>
                    <a:pt x="4410" y="793"/>
                    <a:pt x="4404" y="779"/>
                  </a:cubicBezTo>
                  <a:cubicBezTo>
                    <a:pt x="4399" y="764"/>
                    <a:pt x="4408" y="751"/>
                    <a:pt x="4424" y="748"/>
                  </a:cubicBezTo>
                  <a:close/>
                  <a:moveTo>
                    <a:pt x="4478" y="893"/>
                  </a:moveTo>
                  <a:cubicBezTo>
                    <a:pt x="4494" y="890"/>
                    <a:pt x="4512" y="900"/>
                    <a:pt x="4517" y="914"/>
                  </a:cubicBezTo>
                  <a:cubicBezTo>
                    <a:pt x="4523" y="928"/>
                    <a:pt x="4514" y="942"/>
                    <a:pt x="4497" y="945"/>
                  </a:cubicBezTo>
                  <a:cubicBezTo>
                    <a:pt x="4480" y="948"/>
                    <a:pt x="4463" y="938"/>
                    <a:pt x="4457" y="924"/>
                  </a:cubicBezTo>
                  <a:cubicBezTo>
                    <a:pt x="4452" y="910"/>
                    <a:pt x="4461" y="896"/>
                    <a:pt x="4478" y="893"/>
                  </a:cubicBezTo>
                  <a:close/>
                  <a:moveTo>
                    <a:pt x="4494" y="812"/>
                  </a:moveTo>
                  <a:cubicBezTo>
                    <a:pt x="4511" y="809"/>
                    <a:pt x="4528" y="818"/>
                    <a:pt x="4534" y="833"/>
                  </a:cubicBezTo>
                  <a:cubicBezTo>
                    <a:pt x="4539" y="847"/>
                    <a:pt x="4530" y="861"/>
                    <a:pt x="4514" y="864"/>
                  </a:cubicBezTo>
                  <a:cubicBezTo>
                    <a:pt x="4497" y="866"/>
                    <a:pt x="4480" y="857"/>
                    <a:pt x="4474" y="843"/>
                  </a:cubicBezTo>
                  <a:cubicBezTo>
                    <a:pt x="4469" y="829"/>
                    <a:pt x="4478" y="815"/>
                    <a:pt x="4494" y="812"/>
                  </a:cubicBezTo>
                  <a:close/>
                  <a:moveTo>
                    <a:pt x="4516" y="733"/>
                  </a:moveTo>
                  <a:cubicBezTo>
                    <a:pt x="4532" y="730"/>
                    <a:pt x="4549" y="739"/>
                    <a:pt x="4555" y="753"/>
                  </a:cubicBezTo>
                  <a:cubicBezTo>
                    <a:pt x="4560" y="768"/>
                    <a:pt x="4552" y="781"/>
                    <a:pt x="4536" y="784"/>
                  </a:cubicBezTo>
                  <a:cubicBezTo>
                    <a:pt x="4519" y="787"/>
                    <a:pt x="4502" y="778"/>
                    <a:pt x="4496" y="763"/>
                  </a:cubicBezTo>
                  <a:cubicBezTo>
                    <a:pt x="4491" y="749"/>
                    <a:pt x="4499" y="735"/>
                    <a:pt x="4516" y="733"/>
                  </a:cubicBezTo>
                  <a:close/>
                  <a:moveTo>
                    <a:pt x="4604" y="1102"/>
                  </a:moveTo>
                  <a:cubicBezTo>
                    <a:pt x="4621" y="1099"/>
                    <a:pt x="4639" y="1108"/>
                    <a:pt x="4645" y="1122"/>
                  </a:cubicBezTo>
                  <a:cubicBezTo>
                    <a:pt x="4650" y="1136"/>
                    <a:pt x="4641" y="1150"/>
                    <a:pt x="4623" y="1153"/>
                  </a:cubicBezTo>
                  <a:cubicBezTo>
                    <a:pt x="4606" y="1156"/>
                    <a:pt x="4588" y="1147"/>
                    <a:pt x="4582" y="1133"/>
                  </a:cubicBezTo>
                  <a:cubicBezTo>
                    <a:pt x="4577" y="1118"/>
                    <a:pt x="4587" y="1104"/>
                    <a:pt x="4604" y="1102"/>
                  </a:cubicBezTo>
                  <a:close/>
                  <a:moveTo>
                    <a:pt x="4604" y="1235"/>
                  </a:moveTo>
                  <a:cubicBezTo>
                    <a:pt x="4587" y="1238"/>
                    <a:pt x="4568" y="1229"/>
                    <a:pt x="4563" y="1214"/>
                  </a:cubicBezTo>
                  <a:cubicBezTo>
                    <a:pt x="4558" y="1200"/>
                    <a:pt x="4568" y="1186"/>
                    <a:pt x="4585" y="1183"/>
                  </a:cubicBezTo>
                  <a:cubicBezTo>
                    <a:pt x="4602" y="1180"/>
                    <a:pt x="4621" y="1189"/>
                    <a:pt x="4626" y="1204"/>
                  </a:cubicBezTo>
                  <a:cubicBezTo>
                    <a:pt x="4631" y="1218"/>
                    <a:pt x="4622" y="1232"/>
                    <a:pt x="4604" y="1235"/>
                  </a:cubicBezTo>
                  <a:close/>
                  <a:moveTo>
                    <a:pt x="4611" y="1409"/>
                  </a:moveTo>
                  <a:cubicBezTo>
                    <a:pt x="4629" y="1406"/>
                    <a:pt x="4648" y="1415"/>
                    <a:pt x="4653" y="1429"/>
                  </a:cubicBezTo>
                  <a:cubicBezTo>
                    <a:pt x="4659" y="1443"/>
                    <a:pt x="4648" y="1457"/>
                    <a:pt x="4630" y="1460"/>
                  </a:cubicBezTo>
                  <a:cubicBezTo>
                    <a:pt x="4612" y="1463"/>
                    <a:pt x="4593" y="1454"/>
                    <a:pt x="4588" y="1440"/>
                  </a:cubicBezTo>
                  <a:cubicBezTo>
                    <a:pt x="4583" y="1426"/>
                    <a:pt x="4594" y="1412"/>
                    <a:pt x="4611" y="1409"/>
                  </a:cubicBezTo>
                  <a:close/>
                  <a:moveTo>
                    <a:pt x="4608" y="1543"/>
                  </a:moveTo>
                  <a:cubicBezTo>
                    <a:pt x="4589" y="1546"/>
                    <a:pt x="4571" y="1536"/>
                    <a:pt x="4566" y="1522"/>
                  </a:cubicBezTo>
                  <a:cubicBezTo>
                    <a:pt x="4561" y="1508"/>
                    <a:pt x="4571" y="1494"/>
                    <a:pt x="4589" y="1491"/>
                  </a:cubicBezTo>
                  <a:cubicBezTo>
                    <a:pt x="4608" y="1488"/>
                    <a:pt x="4626" y="1497"/>
                    <a:pt x="4632" y="1511"/>
                  </a:cubicBezTo>
                  <a:cubicBezTo>
                    <a:pt x="4637" y="1525"/>
                    <a:pt x="4626" y="1540"/>
                    <a:pt x="4608" y="1543"/>
                  </a:cubicBezTo>
                  <a:close/>
                  <a:moveTo>
                    <a:pt x="4610" y="1717"/>
                  </a:moveTo>
                  <a:cubicBezTo>
                    <a:pt x="4629" y="1714"/>
                    <a:pt x="4648" y="1723"/>
                    <a:pt x="4653" y="1737"/>
                  </a:cubicBezTo>
                  <a:cubicBezTo>
                    <a:pt x="4658" y="1752"/>
                    <a:pt x="4647" y="1766"/>
                    <a:pt x="4628" y="1769"/>
                  </a:cubicBezTo>
                  <a:cubicBezTo>
                    <a:pt x="4609" y="1772"/>
                    <a:pt x="4590" y="1763"/>
                    <a:pt x="4585" y="1749"/>
                  </a:cubicBezTo>
                  <a:cubicBezTo>
                    <a:pt x="4580" y="1734"/>
                    <a:pt x="4591" y="1720"/>
                    <a:pt x="4610" y="1717"/>
                  </a:cubicBezTo>
                  <a:close/>
                  <a:moveTo>
                    <a:pt x="4602" y="1852"/>
                  </a:moveTo>
                  <a:cubicBezTo>
                    <a:pt x="4583" y="1855"/>
                    <a:pt x="4564" y="1846"/>
                    <a:pt x="4559" y="1831"/>
                  </a:cubicBezTo>
                  <a:cubicBezTo>
                    <a:pt x="4554" y="1817"/>
                    <a:pt x="4566" y="1803"/>
                    <a:pt x="4585" y="1800"/>
                  </a:cubicBezTo>
                  <a:cubicBezTo>
                    <a:pt x="4604" y="1796"/>
                    <a:pt x="4623" y="1806"/>
                    <a:pt x="4628" y="1820"/>
                  </a:cubicBezTo>
                  <a:cubicBezTo>
                    <a:pt x="4633" y="1834"/>
                    <a:pt x="4621" y="1849"/>
                    <a:pt x="4602" y="1852"/>
                  </a:cubicBezTo>
                  <a:close/>
                  <a:moveTo>
                    <a:pt x="4643" y="2047"/>
                  </a:moveTo>
                  <a:cubicBezTo>
                    <a:pt x="4648" y="2062"/>
                    <a:pt x="4636" y="2076"/>
                    <a:pt x="4616" y="2079"/>
                  </a:cubicBezTo>
                  <a:cubicBezTo>
                    <a:pt x="4597" y="2082"/>
                    <a:pt x="4577" y="2073"/>
                    <a:pt x="4572" y="2059"/>
                  </a:cubicBezTo>
                  <a:cubicBezTo>
                    <a:pt x="4568" y="2044"/>
                    <a:pt x="4580" y="2030"/>
                    <a:pt x="4599" y="2027"/>
                  </a:cubicBezTo>
                  <a:cubicBezTo>
                    <a:pt x="4619" y="2024"/>
                    <a:pt x="4639" y="2033"/>
                    <a:pt x="4643" y="2047"/>
                  </a:cubicBezTo>
                  <a:close/>
                  <a:moveTo>
                    <a:pt x="4617" y="2256"/>
                  </a:moveTo>
                  <a:cubicBezTo>
                    <a:pt x="4637" y="2253"/>
                    <a:pt x="4658" y="2262"/>
                    <a:pt x="4662" y="2277"/>
                  </a:cubicBezTo>
                  <a:cubicBezTo>
                    <a:pt x="4667" y="2291"/>
                    <a:pt x="4654" y="2305"/>
                    <a:pt x="4634" y="2309"/>
                  </a:cubicBezTo>
                  <a:cubicBezTo>
                    <a:pt x="4614" y="2312"/>
                    <a:pt x="4593" y="2303"/>
                    <a:pt x="4589" y="2288"/>
                  </a:cubicBezTo>
                  <a:cubicBezTo>
                    <a:pt x="4584" y="2274"/>
                    <a:pt x="4597" y="2259"/>
                    <a:pt x="4617" y="2256"/>
                  </a:cubicBezTo>
                  <a:close/>
                  <a:moveTo>
                    <a:pt x="4671" y="2505"/>
                  </a:moveTo>
                  <a:cubicBezTo>
                    <a:pt x="4675" y="2519"/>
                    <a:pt x="4662" y="2534"/>
                    <a:pt x="4641" y="2537"/>
                  </a:cubicBezTo>
                  <a:cubicBezTo>
                    <a:pt x="4620" y="2540"/>
                    <a:pt x="4599" y="2531"/>
                    <a:pt x="4595" y="2517"/>
                  </a:cubicBezTo>
                  <a:cubicBezTo>
                    <a:pt x="4591" y="2502"/>
                    <a:pt x="4604" y="2488"/>
                    <a:pt x="4625" y="2485"/>
                  </a:cubicBezTo>
                  <a:cubicBezTo>
                    <a:pt x="4646" y="2481"/>
                    <a:pt x="4666" y="2490"/>
                    <a:pt x="4671" y="2505"/>
                  </a:cubicBezTo>
                  <a:close/>
                  <a:moveTo>
                    <a:pt x="4607" y="2620"/>
                  </a:moveTo>
                  <a:cubicBezTo>
                    <a:pt x="4586" y="2624"/>
                    <a:pt x="4566" y="2615"/>
                    <a:pt x="4561" y="2600"/>
                  </a:cubicBezTo>
                  <a:cubicBezTo>
                    <a:pt x="4557" y="2585"/>
                    <a:pt x="4570" y="2571"/>
                    <a:pt x="4591" y="2568"/>
                  </a:cubicBezTo>
                  <a:cubicBezTo>
                    <a:pt x="4612" y="2565"/>
                    <a:pt x="4633" y="2574"/>
                    <a:pt x="4638" y="2588"/>
                  </a:cubicBezTo>
                  <a:cubicBezTo>
                    <a:pt x="4642" y="2603"/>
                    <a:pt x="4628" y="2617"/>
                    <a:pt x="4607" y="2620"/>
                  </a:cubicBezTo>
                  <a:close/>
                  <a:moveTo>
                    <a:pt x="4640" y="2817"/>
                  </a:moveTo>
                  <a:cubicBezTo>
                    <a:pt x="4644" y="2832"/>
                    <a:pt x="4630" y="2846"/>
                    <a:pt x="4609" y="2850"/>
                  </a:cubicBezTo>
                  <a:cubicBezTo>
                    <a:pt x="4587" y="2853"/>
                    <a:pt x="4566" y="2844"/>
                    <a:pt x="4562" y="2829"/>
                  </a:cubicBezTo>
                  <a:cubicBezTo>
                    <a:pt x="4557" y="2815"/>
                    <a:pt x="4572" y="2800"/>
                    <a:pt x="4593" y="2797"/>
                  </a:cubicBezTo>
                  <a:cubicBezTo>
                    <a:pt x="4615" y="2794"/>
                    <a:pt x="4636" y="2803"/>
                    <a:pt x="4640" y="2817"/>
                  </a:cubicBezTo>
                  <a:close/>
                  <a:moveTo>
                    <a:pt x="4571" y="2933"/>
                  </a:moveTo>
                  <a:cubicBezTo>
                    <a:pt x="4550" y="2937"/>
                    <a:pt x="4528" y="2927"/>
                    <a:pt x="4524" y="2913"/>
                  </a:cubicBezTo>
                  <a:cubicBezTo>
                    <a:pt x="4520" y="2898"/>
                    <a:pt x="4535" y="2884"/>
                    <a:pt x="4556" y="2881"/>
                  </a:cubicBezTo>
                  <a:cubicBezTo>
                    <a:pt x="4578" y="2878"/>
                    <a:pt x="4599" y="2887"/>
                    <a:pt x="4604" y="2901"/>
                  </a:cubicBezTo>
                  <a:cubicBezTo>
                    <a:pt x="4608" y="2916"/>
                    <a:pt x="4593" y="2930"/>
                    <a:pt x="4571" y="2933"/>
                  </a:cubicBezTo>
                  <a:close/>
                  <a:moveTo>
                    <a:pt x="4526" y="3016"/>
                  </a:moveTo>
                  <a:cubicBezTo>
                    <a:pt x="4504" y="3019"/>
                    <a:pt x="4482" y="3009"/>
                    <a:pt x="4479" y="2995"/>
                  </a:cubicBezTo>
                  <a:cubicBezTo>
                    <a:pt x="4475" y="2980"/>
                    <a:pt x="4489" y="2966"/>
                    <a:pt x="4511" y="2963"/>
                  </a:cubicBezTo>
                  <a:cubicBezTo>
                    <a:pt x="4533" y="2960"/>
                    <a:pt x="4555" y="2969"/>
                    <a:pt x="4559" y="2983"/>
                  </a:cubicBezTo>
                  <a:cubicBezTo>
                    <a:pt x="4563" y="2998"/>
                    <a:pt x="4548" y="3012"/>
                    <a:pt x="4526" y="3016"/>
                  </a:cubicBezTo>
                  <a:close/>
                  <a:moveTo>
                    <a:pt x="4447" y="2951"/>
                  </a:moveTo>
                  <a:cubicBezTo>
                    <a:pt x="4425" y="2954"/>
                    <a:pt x="4404" y="2945"/>
                    <a:pt x="4400" y="2930"/>
                  </a:cubicBezTo>
                  <a:cubicBezTo>
                    <a:pt x="4396" y="2916"/>
                    <a:pt x="4411" y="2902"/>
                    <a:pt x="4432" y="2899"/>
                  </a:cubicBezTo>
                  <a:cubicBezTo>
                    <a:pt x="4454" y="2896"/>
                    <a:pt x="4475" y="2905"/>
                    <a:pt x="4479" y="2919"/>
                  </a:cubicBezTo>
                  <a:cubicBezTo>
                    <a:pt x="4483" y="2934"/>
                    <a:pt x="4469" y="2948"/>
                    <a:pt x="4447" y="2951"/>
                  </a:cubicBezTo>
                  <a:close/>
                  <a:moveTo>
                    <a:pt x="4400" y="3033"/>
                  </a:moveTo>
                  <a:cubicBezTo>
                    <a:pt x="4378" y="3036"/>
                    <a:pt x="4357" y="3027"/>
                    <a:pt x="4353" y="3012"/>
                  </a:cubicBezTo>
                  <a:cubicBezTo>
                    <a:pt x="4349" y="2998"/>
                    <a:pt x="4364" y="2983"/>
                    <a:pt x="4386" y="2980"/>
                  </a:cubicBezTo>
                  <a:cubicBezTo>
                    <a:pt x="4408" y="2977"/>
                    <a:pt x="4429" y="2987"/>
                    <a:pt x="4433" y="3001"/>
                  </a:cubicBezTo>
                  <a:cubicBezTo>
                    <a:pt x="4437" y="3016"/>
                    <a:pt x="4422" y="3030"/>
                    <a:pt x="4400" y="3033"/>
                  </a:cubicBezTo>
                  <a:close/>
                  <a:moveTo>
                    <a:pt x="4322" y="2968"/>
                  </a:moveTo>
                  <a:cubicBezTo>
                    <a:pt x="4300" y="2971"/>
                    <a:pt x="4279" y="2962"/>
                    <a:pt x="4275" y="2947"/>
                  </a:cubicBezTo>
                  <a:cubicBezTo>
                    <a:pt x="4272" y="2933"/>
                    <a:pt x="4286" y="2918"/>
                    <a:pt x="4308" y="2915"/>
                  </a:cubicBezTo>
                  <a:cubicBezTo>
                    <a:pt x="4330" y="2913"/>
                    <a:pt x="4351" y="2922"/>
                    <a:pt x="4355" y="2937"/>
                  </a:cubicBezTo>
                  <a:cubicBezTo>
                    <a:pt x="4359" y="2951"/>
                    <a:pt x="4344" y="2965"/>
                    <a:pt x="4322" y="2968"/>
                  </a:cubicBezTo>
                  <a:close/>
                  <a:moveTo>
                    <a:pt x="4274" y="3050"/>
                  </a:moveTo>
                  <a:cubicBezTo>
                    <a:pt x="4252" y="3053"/>
                    <a:pt x="4231" y="3043"/>
                    <a:pt x="4227" y="3029"/>
                  </a:cubicBezTo>
                  <a:cubicBezTo>
                    <a:pt x="4224" y="3014"/>
                    <a:pt x="4239" y="3000"/>
                    <a:pt x="4261" y="2997"/>
                  </a:cubicBezTo>
                  <a:cubicBezTo>
                    <a:pt x="4283" y="2994"/>
                    <a:pt x="4304" y="3004"/>
                    <a:pt x="4307" y="3018"/>
                  </a:cubicBezTo>
                  <a:cubicBezTo>
                    <a:pt x="4311" y="3033"/>
                    <a:pt x="4296" y="3047"/>
                    <a:pt x="4274" y="3050"/>
                  </a:cubicBezTo>
                  <a:close/>
                  <a:moveTo>
                    <a:pt x="4197" y="2985"/>
                  </a:moveTo>
                  <a:cubicBezTo>
                    <a:pt x="4175" y="2987"/>
                    <a:pt x="4154" y="2978"/>
                    <a:pt x="4151" y="2963"/>
                  </a:cubicBezTo>
                  <a:cubicBezTo>
                    <a:pt x="4147" y="2948"/>
                    <a:pt x="4162" y="2934"/>
                    <a:pt x="4184" y="2931"/>
                  </a:cubicBezTo>
                  <a:cubicBezTo>
                    <a:pt x="4206" y="2929"/>
                    <a:pt x="4227" y="2938"/>
                    <a:pt x="4230" y="2953"/>
                  </a:cubicBezTo>
                  <a:cubicBezTo>
                    <a:pt x="4234" y="2968"/>
                    <a:pt x="4219" y="2982"/>
                    <a:pt x="4197" y="2985"/>
                  </a:cubicBezTo>
                  <a:close/>
                  <a:moveTo>
                    <a:pt x="4148" y="3066"/>
                  </a:moveTo>
                  <a:cubicBezTo>
                    <a:pt x="4125" y="3069"/>
                    <a:pt x="4105" y="3059"/>
                    <a:pt x="4101" y="3044"/>
                  </a:cubicBezTo>
                  <a:cubicBezTo>
                    <a:pt x="4098" y="3029"/>
                    <a:pt x="4113" y="3015"/>
                    <a:pt x="4135" y="3013"/>
                  </a:cubicBezTo>
                  <a:cubicBezTo>
                    <a:pt x="4158" y="3010"/>
                    <a:pt x="4178" y="3020"/>
                    <a:pt x="4182" y="3034"/>
                  </a:cubicBezTo>
                  <a:cubicBezTo>
                    <a:pt x="4185" y="3049"/>
                    <a:pt x="4170" y="3063"/>
                    <a:pt x="4148" y="3066"/>
                  </a:cubicBezTo>
                  <a:close/>
                  <a:moveTo>
                    <a:pt x="4068" y="2895"/>
                  </a:moveTo>
                  <a:cubicBezTo>
                    <a:pt x="4065" y="2880"/>
                    <a:pt x="4080" y="2866"/>
                    <a:pt x="4101" y="2864"/>
                  </a:cubicBezTo>
                  <a:cubicBezTo>
                    <a:pt x="4123" y="2861"/>
                    <a:pt x="4143" y="2871"/>
                    <a:pt x="4147" y="2885"/>
                  </a:cubicBezTo>
                  <a:cubicBezTo>
                    <a:pt x="4150" y="2900"/>
                    <a:pt x="4135" y="2914"/>
                    <a:pt x="4114" y="2917"/>
                  </a:cubicBezTo>
                  <a:cubicBezTo>
                    <a:pt x="4092" y="2920"/>
                    <a:pt x="4071" y="2910"/>
                    <a:pt x="4068" y="2895"/>
                  </a:cubicBezTo>
                  <a:close/>
                  <a:moveTo>
                    <a:pt x="4039" y="2851"/>
                  </a:moveTo>
                  <a:cubicBezTo>
                    <a:pt x="4017" y="2853"/>
                    <a:pt x="3997" y="2843"/>
                    <a:pt x="3994" y="2828"/>
                  </a:cubicBezTo>
                  <a:cubicBezTo>
                    <a:pt x="3991" y="2814"/>
                    <a:pt x="4005" y="2800"/>
                    <a:pt x="4027" y="2797"/>
                  </a:cubicBezTo>
                  <a:cubicBezTo>
                    <a:pt x="4048" y="2795"/>
                    <a:pt x="4069" y="2805"/>
                    <a:pt x="4072" y="2819"/>
                  </a:cubicBezTo>
                  <a:cubicBezTo>
                    <a:pt x="4075" y="2834"/>
                    <a:pt x="4060" y="2848"/>
                    <a:pt x="4039" y="2851"/>
                  </a:cubicBezTo>
                  <a:close/>
                  <a:moveTo>
                    <a:pt x="3990" y="2931"/>
                  </a:moveTo>
                  <a:cubicBezTo>
                    <a:pt x="3968" y="2934"/>
                    <a:pt x="3947" y="2924"/>
                    <a:pt x="3944" y="2909"/>
                  </a:cubicBezTo>
                  <a:cubicBezTo>
                    <a:pt x="3941" y="2894"/>
                    <a:pt x="3956" y="2881"/>
                    <a:pt x="3978" y="2878"/>
                  </a:cubicBezTo>
                  <a:cubicBezTo>
                    <a:pt x="4000" y="2876"/>
                    <a:pt x="4020" y="2886"/>
                    <a:pt x="4023" y="2900"/>
                  </a:cubicBezTo>
                  <a:cubicBezTo>
                    <a:pt x="4027" y="2915"/>
                    <a:pt x="4011" y="2929"/>
                    <a:pt x="3990" y="2931"/>
                  </a:cubicBezTo>
                  <a:close/>
                  <a:moveTo>
                    <a:pt x="3916" y="2865"/>
                  </a:moveTo>
                  <a:cubicBezTo>
                    <a:pt x="3894" y="2867"/>
                    <a:pt x="3874" y="2857"/>
                    <a:pt x="3871" y="2842"/>
                  </a:cubicBezTo>
                  <a:cubicBezTo>
                    <a:pt x="3868" y="2827"/>
                    <a:pt x="3883" y="2814"/>
                    <a:pt x="3905" y="2811"/>
                  </a:cubicBezTo>
                  <a:cubicBezTo>
                    <a:pt x="3926" y="2809"/>
                    <a:pt x="3946" y="2819"/>
                    <a:pt x="3949" y="2833"/>
                  </a:cubicBezTo>
                  <a:cubicBezTo>
                    <a:pt x="3952" y="2848"/>
                    <a:pt x="3937" y="2862"/>
                    <a:pt x="3916" y="2865"/>
                  </a:cubicBezTo>
                  <a:close/>
                  <a:moveTo>
                    <a:pt x="3865" y="2945"/>
                  </a:moveTo>
                  <a:cubicBezTo>
                    <a:pt x="3844" y="2947"/>
                    <a:pt x="3824" y="2937"/>
                    <a:pt x="3821" y="2923"/>
                  </a:cubicBezTo>
                  <a:cubicBezTo>
                    <a:pt x="3818" y="2908"/>
                    <a:pt x="3833" y="2894"/>
                    <a:pt x="3855" y="2892"/>
                  </a:cubicBezTo>
                  <a:cubicBezTo>
                    <a:pt x="3877" y="2889"/>
                    <a:pt x="3897" y="2899"/>
                    <a:pt x="3900" y="2914"/>
                  </a:cubicBezTo>
                  <a:cubicBezTo>
                    <a:pt x="3903" y="2929"/>
                    <a:pt x="3887" y="2943"/>
                    <a:pt x="3865" y="2945"/>
                  </a:cubicBezTo>
                  <a:close/>
                  <a:moveTo>
                    <a:pt x="3821" y="3028"/>
                  </a:moveTo>
                  <a:cubicBezTo>
                    <a:pt x="3799" y="3030"/>
                    <a:pt x="3779" y="3020"/>
                    <a:pt x="3776" y="3005"/>
                  </a:cubicBezTo>
                  <a:cubicBezTo>
                    <a:pt x="3773" y="2990"/>
                    <a:pt x="3789" y="2976"/>
                    <a:pt x="3811" y="2974"/>
                  </a:cubicBezTo>
                  <a:cubicBezTo>
                    <a:pt x="3833" y="2972"/>
                    <a:pt x="3853" y="2982"/>
                    <a:pt x="3856" y="2997"/>
                  </a:cubicBezTo>
                  <a:cubicBezTo>
                    <a:pt x="3859" y="3011"/>
                    <a:pt x="3843" y="3025"/>
                    <a:pt x="3821" y="3028"/>
                  </a:cubicBezTo>
                  <a:close/>
                  <a:moveTo>
                    <a:pt x="3741" y="2958"/>
                  </a:moveTo>
                  <a:cubicBezTo>
                    <a:pt x="3719" y="2960"/>
                    <a:pt x="3700" y="2950"/>
                    <a:pt x="3697" y="2935"/>
                  </a:cubicBezTo>
                  <a:cubicBezTo>
                    <a:pt x="3694" y="2920"/>
                    <a:pt x="3710" y="2907"/>
                    <a:pt x="3732" y="2904"/>
                  </a:cubicBezTo>
                  <a:cubicBezTo>
                    <a:pt x="3753" y="2902"/>
                    <a:pt x="3773" y="2912"/>
                    <a:pt x="3776" y="2927"/>
                  </a:cubicBezTo>
                  <a:cubicBezTo>
                    <a:pt x="3779" y="2942"/>
                    <a:pt x="3763" y="2956"/>
                    <a:pt x="3741" y="2958"/>
                  </a:cubicBezTo>
                  <a:close/>
                  <a:moveTo>
                    <a:pt x="3696" y="3040"/>
                  </a:moveTo>
                  <a:cubicBezTo>
                    <a:pt x="3674" y="3042"/>
                    <a:pt x="3654" y="3032"/>
                    <a:pt x="3651" y="3017"/>
                  </a:cubicBezTo>
                  <a:cubicBezTo>
                    <a:pt x="3649" y="3002"/>
                    <a:pt x="3664" y="2989"/>
                    <a:pt x="3686" y="2987"/>
                  </a:cubicBezTo>
                  <a:cubicBezTo>
                    <a:pt x="3708" y="2984"/>
                    <a:pt x="3728" y="2995"/>
                    <a:pt x="3731" y="3009"/>
                  </a:cubicBezTo>
                  <a:cubicBezTo>
                    <a:pt x="3734" y="3024"/>
                    <a:pt x="3718" y="3038"/>
                    <a:pt x="3696" y="3040"/>
                  </a:cubicBezTo>
                  <a:close/>
                  <a:moveTo>
                    <a:pt x="3617" y="2970"/>
                  </a:moveTo>
                  <a:cubicBezTo>
                    <a:pt x="3595" y="2972"/>
                    <a:pt x="3575" y="2961"/>
                    <a:pt x="3573" y="2947"/>
                  </a:cubicBezTo>
                  <a:cubicBezTo>
                    <a:pt x="3571" y="2932"/>
                    <a:pt x="3586" y="2918"/>
                    <a:pt x="3608" y="2916"/>
                  </a:cubicBezTo>
                  <a:cubicBezTo>
                    <a:pt x="3630" y="2914"/>
                    <a:pt x="3650" y="2924"/>
                    <a:pt x="3652" y="2939"/>
                  </a:cubicBezTo>
                  <a:cubicBezTo>
                    <a:pt x="3655" y="2954"/>
                    <a:pt x="3639" y="2968"/>
                    <a:pt x="3617" y="2970"/>
                  </a:cubicBezTo>
                  <a:close/>
                  <a:moveTo>
                    <a:pt x="3570" y="3052"/>
                  </a:moveTo>
                  <a:cubicBezTo>
                    <a:pt x="3548" y="3054"/>
                    <a:pt x="3528" y="3043"/>
                    <a:pt x="3526" y="3028"/>
                  </a:cubicBezTo>
                  <a:cubicBezTo>
                    <a:pt x="3524" y="3014"/>
                    <a:pt x="3540" y="3000"/>
                    <a:pt x="3562" y="2998"/>
                  </a:cubicBezTo>
                  <a:cubicBezTo>
                    <a:pt x="3584" y="2996"/>
                    <a:pt x="3604" y="3007"/>
                    <a:pt x="3606" y="3021"/>
                  </a:cubicBezTo>
                  <a:cubicBezTo>
                    <a:pt x="3608" y="3036"/>
                    <a:pt x="3592" y="3050"/>
                    <a:pt x="3570" y="3052"/>
                  </a:cubicBezTo>
                  <a:close/>
                  <a:moveTo>
                    <a:pt x="3493" y="2981"/>
                  </a:moveTo>
                  <a:cubicBezTo>
                    <a:pt x="3471" y="2983"/>
                    <a:pt x="3451" y="2972"/>
                    <a:pt x="3449" y="2957"/>
                  </a:cubicBezTo>
                  <a:cubicBezTo>
                    <a:pt x="3447" y="2942"/>
                    <a:pt x="3463" y="2929"/>
                    <a:pt x="3485" y="2927"/>
                  </a:cubicBezTo>
                  <a:cubicBezTo>
                    <a:pt x="3506" y="2925"/>
                    <a:pt x="3526" y="2936"/>
                    <a:pt x="3528" y="2951"/>
                  </a:cubicBezTo>
                  <a:cubicBezTo>
                    <a:pt x="3531" y="2965"/>
                    <a:pt x="3515" y="2979"/>
                    <a:pt x="3493" y="2981"/>
                  </a:cubicBezTo>
                  <a:close/>
                  <a:moveTo>
                    <a:pt x="3445" y="3063"/>
                  </a:moveTo>
                  <a:cubicBezTo>
                    <a:pt x="3423" y="3064"/>
                    <a:pt x="3403" y="3054"/>
                    <a:pt x="3401" y="3039"/>
                  </a:cubicBezTo>
                  <a:cubicBezTo>
                    <a:pt x="3399" y="3024"/>
                    <a:pt x="3415" y="3011"/>
                    <a:pt x="3437" y="3009"/>
                  </a:cubicBezTo>
                  <a:cubicBezTo>
                    <a:pt x="3459" y="3007"/>
                    <a:pt x="3479" y="3017"/>
                    <a:pt x="3481" y="3032"/>
                  </a:cubicBezTo>
                  <a:cubicBezTo>
                    <a:pt x="3483" y="3047"/>
                    <a:pt x="3467" y="3061"/>
                    <a:pt x="3445" y="3063"/>
                  </a:cubicBezTo>
                  <a:close/>
                  <a:moveTo>
                    <a:pt x="3368" y="2991"/>
                  </a:moveTo>
                  <a:cubicBezTo>
                    <a:pt x="3346" y="2993"/>
                    <a:pt x="3327" y="2982"/>
                    <a:pt x="3325" y="2967"/>
                  </a:cubicBezTo>
                  <a:cubicBezTo>
                    <a:pt x="3323" y="2952"/>
                    <a:pt x="3339" y="2939"/>
                    <a:pt x="3361" y="2937"/>
                  </a:cubicBezTo>
                  <a:cubicBezTo>
                    <a:pt x="3383" y="2935"/>
                    <a:pt x="3402" y="2946"/>
                    <a:pt x="3404" y="2961"/>
                  </a:cubicBezTo>
                  <a:cubicBezTo>
                    <a:pt x="3406" y="2976"/>
                    <a:pt x="3390" y="2989"/>
                    <a:pt x="3368" y="2991"/>
                  </a:cubicBezTo>
                  <a:close/>
                  <a:moveTo>
                    <a:pt x="3300" y="2921"/>
                  </a:moveTo>
                  <a:cubicBezTo>
                    <a:pt x="3278" y="2923"/>
                    <a:pt x="3259" y="2912"/>
                    <a:pt x="3258" y="2897"/>
                  </a:cubicBezTo>
                  <a:cubicBezTo>
                    <a:pt x="3256" y="2882"/>
                    <a:pt x="3272" y="2869"/>
                    <a:pt x="3293" y="2867"/>
                  </a:cubicBezTo>
                  <a:cubicBezTo>
                    <a:pt x="3315" y="2866"/>
                    <a:pt x="3334" y="2876"/>
                    <a:pt x="3336" y="2891"/>
                  </a:cubicBezTo>
                  <a:cubicBezTo>
                    <a:pt x="3338" y="2906"/>
                    <a:pt x="3322" y="2920"/>
                    <a:pt x="3300" y="2921"/>
                  </a:cubicBezTo>
                  <a:close/>
                  <a:moveTo>
                    <a:pt x="3244" y="3000"/>
                  </a:moveTo>
                  <a:cubicBezTo>
                    <a:pt x="3222" y="3002"/>
                    <a:pt x="3203" y="2991"/>
                    <a:pt x="3201" y="2976"/>
                  </a:cubicBezTo>
                  <a:cubicBezTo>
                    <a:pt x="3199" y="2961"/>
                    <a:pt x="3216" y="2948"/>
                    <a:pt x="3238" y="2946"/>
                  </a:cubicBezTo>
                  <a:cubicBezTo>
                    <a:pt x="3259" y="2945"/>
                    <a:pt x="3279" y="2955"/>
                    <a:pt x="3280" y="2970"/>
                  </a:cubicBezTo>
                  <a:cubicBezTo>
                    <a:pt x="3282" y="2985"/>
                    <a:pt x="3266" y="2999"/>
                    <a:pt x="3244" y="3000"/>
                  </a:cubicBezTo>
                  <a:close/>
                  <a:moveTo>
                    <a:pt x="3177" y="2930"/>
                  </a:moveTo>
                  <a:cubicBezTo>
                    <a:pt x="3155" y="2931"/>
                    <a:pt x="3136" y="2920"/>
                    <a:pt x="3135" y="2905"/>
                  </a:cubicBezTo>
                  <a:cubicBezTo>
                    <a:pt x="3133" y="2890"/>
                    <a:pt x="3149" y="2877"/>
                    <a:pt x="3171" y="2876"/>
                  </a:cubicBezTo>
                  <a:cubicBezTo>
                    <a:pt x="3192" y="2874"/>
                    <a:pt x="3211" y="2885"/>
                    <a:pt x="3213" y="2900"/>
                  </a:cubicBezTo>
                  <a:cubicBezTo>
                    <a:pt x="3215" y="2915"/>
                    <a:pt x="3199" y="2928"/>
                    <a:pt x="3177" y="2930"/>
                  </a:cubicBezTo>
                  <a:close/>
                  <a:moveTo>
                    <a:pt x="3119" y="3009"/>
                  </a:moveTo>
                  <a:cubicBezTo>
                    <a:pt x="3097" y="3010"/>
                    <a:pt x="3079" y="2999"/>
                    <a:pt x="3077" y="2984"/>
                  </a:cubicBezTo>
                  <a:cubicBezTo>
                    <a:pt x="3076" y="2969"/>
                    <a:pt x="3092" y="2956"/>
                    <a:pt x="3114" y="2954"/>
                  </a:cubicBezTo>
                  <a:cubicBezTo>
                    <a:pt x="3136" y="2953"/>
                    <a:pt x="3155" y="2964"/>
                    <a:pt x="3156" y="2979"/>
                  </a:cubicBezTo>
                  <a:cubicBezTo>
                    <a:pt x="3158" y="2994"/>
                    <a:pt x="3141" y="3007"/>
                    <a:pt x="3119" y="3009"/>
                  </a:cubicBezTo>
                  <a:close/>
                  <a:moveTo>
                    <a:pt x="3053" y="2938"/>
                  </a:moveTo>
                  <a:cubicBezTo>
                    <a:pt x="3032" y="2939"/>
                    <a:pt x="3013" y="2928"/>
                    <a:pt x="3012" y="2913"/>
                  </a:cubicBezTo>
                  <a:cubicBezTo>
                    <a:pt x="3010" y="2898"/>
                    <a:pt x="3027" y="2885"/>
                    <a:pt x="3048" y="2883"/>
                  </a:cubicBezTo>
                  <a:cubicBezTo>
                    <a:pt x="3070" y="2882"/>
                    <a:pt x="3089" y="2893"/>
                    <a:pt x="3090" y="2908"/>
                  </a:cubicBezTo>
                  <a:cubicBezTo>
                    <a:pt x="3092" y="2923"/>
                    <a:pt x="3075" y="2936"/>
                    <a:pt x="3053" y="2938"/>
                  </a:cubicBezTo>
                  <a:close/>
                  <a:moveTo>
                    <a:pt x="2995" y="3016"/>
                  </a:moveTo>
                  <a:cubicBezTo>
                    <a:pt x="2973" y="3017"/>
                    <a:pt x="2954" y="3006"/>
                    <a:pt x="2953" y="2991"/>
                  </a:cubicBezTo>
                  <a:cubicBezTo>
                    <a:pt x="2952" y="2976"/>
                    <a:pt x="2968" y="2963"/>
                    <a:pt x="2990" y="2962"/>
                  </a:cubicBezTo>
                  <a:cubicBezTo>
                    <a:pt x="3012" y="2961"/>
                    <a:pt x="3031" y="2972"/>
                    <a:pt x="3032" y="2987"/>
                  </a:cubicBezTo>
                  <a:cubicBezTo>
                    <a:pt x="3034" y="3002"/>
                    <a:pt x="3017" y="3015"/>
                    <a:pt x="2995" y="3016"/>
                  </a:cubicBezTo>
                  <a:close/>
                  <a:moveTo>
                    <a:pt x="2930" y="2945"/>
                  </a:moveTo>
                  <a:cubicBezTo>
                    <a:pt x="2908" y="2946"/>
                    <a:pt x="2890" y="2934"/>
                    <a:pt x="2889" y="2919"/>
                  </a:cubicBezTo>
                  <a:cubicBezTo>
                    <a:pt x="2888" y="2904"/>
                    <a:pt x="2904" y="2891"/>
                    <a:pt x="2926" y="2890"/>
                  </a:cubicBezTo>
                  <a:cubicBezTo>
                    <a:pt x="2947" y="2889"/>
                    <a:pt x="2966" y="2900"/>
                    <a:pt x="2967" y="2915"/>
                  </a:cubicBezTo>
                  <a:cubicBezTo>
                    <a:pt x="2968" y="2930"/>
                    <a:pt x="2952" y="2943"/>
                    <a:pt x="2930" y="2945"/>
                  </a:cubicBezTo>
                  <a:close/>
                  <a:moveTo>
                    <a:pt x="2870" y="3023"/>
                  </a:moveTo>
                  <a:cubicBezTo>
                    <a:pt x="2848" y="3024"/>
                    <a:pt x="2830" y="3012"/>
                    <a:pt x="2829" y="2997"/>
                  </a:cubicBezTo>
                  <a:cubicBezTo>
                    <a:pt x="2828" y="2982"/>
                    <a:pt x="2845" y="2969"/>
                    <a:pt x="2866" y="2968"/>
                  </a:cubicBezTo>
                  <a:cubicBezTo>
                    <a:pt x="2888" y="2967"/>
                    <a:pt x="2907" y="2979"/>
                    <a:pt x="2908" y="2994"/>
                  </a:cubicBezTo>
                  <a:cubicBezTo>
                    <a:pt x="2909" y="3009"/>
                    <a:pt x="2892" y="3022"/>
                    <a:pt x="2870" y="3023"/>
                  </a:cubicBezTo>
                  <a:close/>
                  <a:moveTo>
                    <a:pt x="2807" y="2951"/>
                  </a:moveTo>
                  <a:cubicBezTo>
                    <a:pt x="2785" y="2952"/>
                    <a:pt x="2766" y="2940"/>
                    <a:pt x="2766" y="2925"/>
                  </a:cubicBezTo>
                  <a:cubicBezTo>
                    <a:pt x="2765" y="2910"/>
                    <a:pt x="2781" y="2897"/>
                    <a:pt x="2803" y="2896"/>
                  </a:cubicBezTo>
                  <a:cubicBezTo>
                    <a:pt x="2825" y="2895"/>
                    <a:pt x="2843" y="2907"/>
                    <a:pt x="2844" y="2922"/>
                  </a:cubicBezTo>
                  <a:cubicBezTo>
                    <a:pt x="2845" y="2937"/>
                    <a:pt x="2828" y="2950"/>
                    <a:pt x="2807" y="2951"/>
                  </a:cubicBezTo>
                  <a:close/>
                  <a:moveTo>
                    <a:pt x="2784" y="2999"/>
                  </a:moveTo>
                  <a:cubicBezTo>
                    <a:pt x="2785" y="3014"/>
                    <a:pt x="2768" y="3027"/>
                    <a:pt x="2746" y="3028"/>
                  </a:cubicBezTo>
                  <a:cubicBezTo>
                    <a:pt x="2724" y="3029"/>
                    <a:pt x="2705" y="3018"/>
                    <a:pt x="2705" y="3003"/>
                  </a:cubicBezTo>
                  <a:cubicBezTo>
                    <a:pt x="2704" y="2988"/>
                    <a:pt x="2721" y="2975"/>
                    <a:pt x="2743" y="2974"/>
                  </a:cubicBezTo>
                  <a:cubicBezTo>
                    <a:pt x="2765" y="2973"/>
                    <a:pt x="2783" y="2984"/>
                    <a:pt x="2784" y="2999"/>
                  </a:cubicBezTo>
                  <a:close/>
                  <a:moveTo>
                    <a:pt x="2683" y="2956"/>
                  </a:moveTo>
                  <a:cubicBezTo>
                    <a:pt x="2661" y="2957"/>
                    <a:pt x="2643" y="2945"/>
                    <a:pt x="2642" y="2930"/>
                  </a:cubicBezTo>
                  <a:cubicBezTo>
                    <a:pt x="2642" y="2915"/>
                    <a:pt x="2659" y="2902"/>
                    <a:pt x="2680" y="2901"/>
                  </a:cubicBezTo>
                  <a:cubicBezTo>
                    <a:pt x="2702" y="2901"/>
                    <a:pt x="2720" y="2912"/>
                    <a:pt x="2721" y="2927"/>
                  </a:cubicBezTo>
                  <a:cubicBezTo>
                    <a:pt x="2722" y="2942"/>
                    <a:pt x="2705" y="2955"/>
                    <a:pt x="2683" y="2956"/>
                  </a:cubicBezTo>
                  <a:close/>
                  <a:moveTo>
                    <a:pt x="2660" y="3004"/>
                  </a:moveTo>
                  <a:cubicBezTo>
                    <a:pt x="2660" y="3020"/>
                    <a:pt x="2643" y="3032"/>
                    <a:pt x="2621" y="3033"/>
                  </a:cubicBezTo>
                  <a:cubicBezTo>
                    <a:pt x="2599" y="3034"/>
                    <a:pt x="2581" y="3022"/>
                    <a:pt x="2580" y="3007"/>
                  </a:cubicBezTo>
                  <a:cubicBezTo>
                    <a:pt x="2580" y="2992"/>
                    <a:pt x="2597" y="2979"/>
                    <a:pt x="2619" y="2979"/>
                  </a:cubicBezTo>
                  <a:cubicBezTo>
                    <a:pt x="2641" y="2978"/>
                    <a:pt x="2659" y="2989"/>
                    <a:pt x="2660" y="3004"/>
                  </a:cubicBezTo>
                  <a:close/>
                  <a:moveTo>
                    <a:pt x="2560" y="2960"/>
                  </a:moveTo>
                  <a:cubicBezTo>
                    <a:pt x="2538" y="2961"/>
                    <a:pt x="2520" y="2949"/>
                    <a:pt x="2519" y="2934"/>
                  </a:cubicBezTo>
                  <a:cubicBezTo>
                    <a:pt x="2519" y="2919"/>
                    <a:pt x="2536" y="2906"/>
                    <a:pt x="2558" y="2906"/>
                  </a:cubicBezTo>
                  <a:cubicBezTo>
                    <a:pt x="2579" y="2905"/>
                    <a:pt x="2597" y="2917"/>
                    <a:pt x="2598" y="2932"/>
                  </a:cubicBezTo>
                  <a:cubicBezTo>
                    <a:pt x="2599" y="2947"/>
                    <a:pt x="2581" y="2959"/>
                    <a:pt x="2560" y="2960"/>
                  </a:cubicBezTo>
                  <a:close/>
                  <a:moveTo>
                    <a:pt x="2535" y="3009"/>
                  </a:moveTo>
                  <a:cubicBezTo>
                    <a:pt x="2536" y="3024"/>
                    <a:pt x="2518" y="3036"/>
                    <a:pt x="2496" y="3037"/>
                  </a:cubicBezTo>
                  <a:cubicBezTo>
                    <a:pt x="2474" y="3038"/>
                    <a:pt x="2456" y="3026"/>
                    <a:pt x="2456" y="3011"/>
                  </a:cubicBezTo>
                  <a:cubicBezTo>
                    <a:pt x="2456" y="2996"/>
                    <a:pt x="2473" y="2983"/>
                    <a:pt x="2495" y="2983"/>
                  </a:cubicBezTo>
                  <a:cubicBezTo>
                    <a:pt x="2517" y="2982"/>
                    <a:pt x="2535" y="2994"/>
                    <a:pt x="2535" y="3009"/>
                  </a:cubicBezTo>
                  <a:close/>
                  <a:moveTo>
                    <a:pt x="2436" y="2963"/>
                  </a:moveTo>
                  <a:cubicBezTo>
                    <a:pt x="2414" y="2964"/>
                    <a:pt x="2396" y="2952"/>
                    <a:pt x="2396" y="2937"/>
                  </a:cubicBezTo>
                  <a:cubicBezTo>
                    <a:pt x="2396" y="2922"/>
                    <a:pt x="2413" y="2909"/>
                    <a:pt x="2435" y="2909"/>
                  </a:cubicBezTo>
                  <a:cubicBezTo>
                    <a:pt x="2457" y="2908"/>
                    <a:pt x="2474" y="2920"/>
                    <a:pt x="2475" y="2935"/>
                  </a:cubicBezTo>
                  <a:cubicBezTo>
                    <a:pt x="2475" y="2950"/>
                    <a:pt x="2458" y="2963"/>
                    <a:pt x="2436" y="2963"/>
                  </a:cubicBezTo>
                  <a:close/>
                  <a:moveTo>
                    <a:pt x="2411" y="3012"/>
                  </a:moveTo>
                  <a:cubicBezTo>
                    <a:pt x="2411" y="3027"/>
                    <a:pt x="2394" y="3040"/>
                    <a:pt x="2372" y="3040"/>
                  </a:cubicBezTo>
                  <a:cubicBezTo>
                    <a:pt x="2350" y="3041"/>
                    <a:pt x="2332" y="3029"/>
                    <a:pt x="2332" y="3014"/>
                  </a:cubicBezTo>
                  <a:cubicBezTo>
                    <a:pt x="2332" y="2998"/>
                    <a:pt x="2349" y="2986"/>
                    <a:pt x="2371" y="2985"/>
                  </a:cubicBezTo>
                  <a:cubicBezTo>
                    <a:pt x="2393" y="2985"/>
                    <a:pt x="2411" y="2997"/>
                    <a:pt x="2411" y="3012"/>
                  </a:cubicBezTo>
                  <a:close/>
                  <a:moveTo>
                    <a:pt x="2312" y="2966"/>
                  </a:moveTo>
                  <a:cubicBezTo>
                    <a:pt x="2291" y="2966"/>
                    <a:pt x="2273" y="2954"/>
                    <a:pt x="2273" y="2939"/>
                  </a:cubicBezTo>
                  <a:cubicBezTo>
                    <a:pt x="2273" y="2924"/>
                    <a:pt x="2291" y="2912"/>
                    <a:pt x="2312" y="2911"/>
                  </a:cubicBezTo>
                  <a:cubicBezTo>
                    <a:pt x="2334" y="2911"/>
                    <a:pt x="2352" y="2923"/>
                    <a:pt x="2352" y="2938"/>
                  </a:cubicBezTo>
                  <a:cubicBezTo>
                    <a:pt x="2352" y="2953"/>
                    <a:pt x="2334" y="2966"/>
                    <a:pt x="2312" y="2966"/>
                  </a:cubicBezTo>
                  <a:close/>
                  <a:moveTo>
                    <a:pt x="2287" y="3014"/>
                  </a:moveTo>
                  <a:cubicBezTo>
                    <a:pt x="2287" y="3029"/>
                    <a:pt x="2269" y="3042"/>
                    <a:pt x="2247" y="3042"/>
                  </a:cubicBezTo>
                  <a:cubicBezTo>
                    <a:pt x="2225" y="3043"/>
                    <a:pt x="2207" y="3030"/>
                    <a:pt x="2207" y="3015"/>
                  </a:cubicBezTo>
                  <a:cubicBezTo>
                    <a:pt x="2208" y="3000"/>
                    <a:pt x="2225" y="2988"/>
                    <a:pt x="2247" y="2988"/>
                  </a:cubicBezTo>
                  <a:cubicBezTo>
                    <a:pt x="2269" y="2987"/>
                    <a:pt x="2287" y="2999"/>
                    <a:pt x="2287" y="3014"/>
                  </a:cubicBezTo>
                  <a:close/>
                  <a:moveTo>
                    <a:pt x="2189" y="2968"/>
                  </a:moveTo>
                  <a:cubicBezTo>
                    <a:pt x="2167" y="2968"/>
                    <a:pt x="2150" y="2956"/>
                    <a:pt x="2150" y="2941"/>
                  </a:cubicBezTo>
                  <a:cubicBezTo>
                    <a:pt x="2150" y="2926"/>
                    <a:pt x="2168" y="2913"/>
                    <a:pt x="2190" y="2913"/>
                  </a:cubicBezTo>
                  <a:cubicBezTo>
                    <a:pt x="2211" y="2913"/>
                    <a:pt x="2229" y="2925"/>
                    <a:pt x="2228" y="2940"/>
                  </a:cubicBezTo>
                  <a:cubicBezTo>
                    <a:pt x="2228" y="2955"/>
                    <a:pt x="2211" y="2967"/>
                    <a:pt x="2189" y="2968"/>
                  </a:cubicBezTo>
                  <a:close/>
                  <a:moveTo>
                    <a:pt x="2162" y="3016"/>
                  </a:moveTo>
                  <a:cubicBezTo>
                    <a:pt x="2162" y="3031"/>
                    <a:pt x="2144" y="3043"/>
                    <a:pt x="2122" y="3043"/>
                  </a:cubicBezTo>
                  <a:cubicBezTo>
                    <a:pt x="2100" y="3044"/>
                    <a:pt x="2083" y="3031"/>
                    <a:pt x="2083" y="3016"/>
                  </a:cubicBezTo>
                  <a:cubicBezTo>
                    <a:pt x="2083" y="3001"/>
                    <a:pt x="2101" y="2989"/>
                    <a:pt x="2123" y="2989"/>
                  </a:cubicBezTo>
                  <a:cubicBezTo>
                    <a:pt x="2145" y="2989"/>
                    <a:pt x="2163" y="3001"/>
                    <a:pt x="2162" y="3016"/>
                  </a:cubicBezTo>
                  <a:close/>
                  <a:moveTo>
                    <a:pt x="2065" y="2968"/>
                  </a:moveTo>
                  <a:cubicBezTo>
                    <a:pt x="2043" y="2968"/>
                    <a:pt x="2026" y="2956"/>
                    <a:pt x="2027" y="2941"/>
                  </a:cubicBezTo>
                  <a:cubicBezTo>
                    <a:pt x="2027" y="2926"/>
                    <a:pt x="2045" y="2914"/>
                    <a:pt x="2067" y="2914"/>
                  </a:cubicBezTo>
                  <a:cubicBezTo>
                    <a:pt x="2088" y="2914"/>
                    <a:pt x="2106" y="2926"/>
                    <a:pt x="2105" y="2941"/>
                  </a:cubicBezTo>
                  <a:cubicBezTo>
                    <a:pt x="2105" y="2956"/>
                    <a:pt x="2087" y="2968"/>
                    <a:pt x="2065" y="2968"/>
                  </a:cubicBezTo>
                  <a:close/>
                  <a:moveTo>
                    <a:pt x="2038" y="3016"/>
                  </a:moveTo>
                  <a:cubicBezTo>
                    <a:pt x="2038" y="3032"/>
                    <a:pt x="2019" y="3044"/>
                    <a:pt x="1997" y="3044"/>
                  </a:cubicBezTo>
                  <a:cubicBezTo>
                    <a:pt x="1975" y="3044"/>
                    <a:pt x="1958" y="3031"/>
                    <a:pt x="1959" y="3016"/>
                  </a:cubicBezTo>
                  <a:cubicBezTo>
                    <a:pt x="1959" y="3001"/>
                    <a:pt x="1978" y="2989"/>
                    <a:pt x="1999" y="2989"/>
                  </a:cubicBezTo>
                  <a:cubicBezTo>
                    <a:pt x="2021" y="2989"/>
                    <a:pt x="2039" y="3001"/>
                    <a:pt x="2038" y="3016"/>
                  </a:cubicBezTo>
                  <a:close/>
                  <a:moveTo>
                    <a:pt x="1942" y="2968"/>
                  </a:moveTo>
                  <a:cubicBezTo>
                    <a:pt x="1920" y="2968"/>
                    <a:pt x="1903" y="2956"/>
                    <a:pt x="1903" y="2941"/>
                  </a:cubicBezTo>
                  <a:cubicBezTo>
                    <a:pt x="1904" y="2926"/>
                    <a:pt x="1922" y="2913"/>
                    <a:pt x="1944" y="2913"/>
                  </a:cubicBezTo>
                  <a:cubicBezTo>
                    <a:pt x="1966" y="2914"/>
                    <a:pt x="1983" y="2926"/>
                    <a:pt x="1982" y="2941"/>
                  </a:cubicBezTo>
                  <a:cubicBezTo>
                    <a:pt x="1982" y="2956"/>
                    <a:pt x="1963" y="2968"/>
                    <a:pt x="1942" y="2968"/>
                  </a:cubicBezTo>
                  <a:close/>
                  <a:moveTo>
                    <a:pt x="1914" y="3016"/>
                  </a:moveTo>
                  <a:cubicBezTo>
                    <a:pt x="1913" y="3031"/>
                    <a:pt x="1895" y="3043"/>
                    <a:pt x="1873" y="3043"/>
                  </a:cubicBezTo>
                  <a:cubicBezTo>
                    <a:pt x="1851" y="3043"/>
                    <a:pt x="1833" y="3031"/>
                    <a:pt x="1834" y="3016"/>
                  </a:cubicBezTo>
                  <a:cubicBezTo>
                    <a:pt x="1835" y="3000"/>
                    <a:pt x="1854" y="2988"/>
                    <a:pt x="1875" y="2988"/>
                  </a:cubicBezTo>
                  <a:cubicBezTo>
                    <a:pt x="1897" y="2989"/>
                    <a:pt x="1914" y="3001"/>
                    <a:pt x="1914" y="3016"/>
                  </a:cubicBezTo>
                  <a:close/>
                  <a:moveTo>
                    <a:pt x="1818" y="2967"/>
                  </a:moveTo>
                  <a:cubicBezTo>
                    <a:pt x="1796" y="2967"/>
                    <a:pt x="1779" y="2954"/>
                    <a:pt x="1780" y="2939"/>
                  </a:cubicBezTo>
                  <a:cubicBezTo>
                    <a:pt x="1781" y="2924"/>
                    <a:pt x="1800" y="2912"/>
                    <a:pt x="1821" y="2912"/>
                  </a:cubicBezTo>
                  <a:cubicBezTo>
                    <a:pt x="1843" y="2913"/>
                    <a:pt x="1860" y="2925"/>
                    <a:pt x="1859" y="2940"/>
                  </a:cubicBezTo>
                  <a:cubicBezTo>
                    <a:pt x="1858" y="2955"/>
                    <a:pt x="1840" y="2968"/>
                    <a:pt x="1818" y="2967"/>
                  </a:cubicBezTo>
                  <a:close/>
                  <a:moveTo>
                    <a:pt x="1789" y="3015"/>
                  </a:moveTo>
                  <a:cubicBezTo>
                    <a:pt x="1788" y="3030"/>
                    <a:pt x="1770" y="3042"/>
                    <a:pt x="1748" y="3042"/>
                  </a:cubicBezTo>
                  <a:cubicBezTo>
                    <a:pt x="1726" y="3042"/>
                    <a:pt x="1709" y="3029"/>
                    <a:pt x="1710" y="3014"/>
                  </a:cubicBezTo>
                  <a:cubicBezTo>
                    <a:pt x="1711" y="2999"/>
                    <a:pt x="1730" y="2987"/>
                    <a:pt x="1751" y="2987"/>
                  </a:cubicBezTo>
                  <a:cubicBezTo>
                    <a:pt x="1773" y="2987"/>
                    <a:pt x="1790" y="3000"/>
                    <a:pt x="1789" y="3015"/>
                  </a:cubicBezTo>
                  <a:close/>
                  <a:moveTo>
                    <a:pt x="1694" y="2965"/>
                  </a:moveTo>
                  <a:cubicBezTo>
                    <a:pt x="1673" y="2965"/>
                    <a:pt x="1656" y="2952"/>
                    <a:pt x="1657" y="2937"/>
                  </a:cubicBezTo>
                  <a:cubicBezTo>
                    <a:pt x="1658" y="2922"/>
                    <a:pt x="1677" y="2910"/>
                    <a:pt x="1698" y="2911"/>
                  </a:cubicBezTo>
                  <a:cubicBezTo>
                    <a:pt x="1720" y="2911"/>
                    <a:pt x="1737" y="2924"/>
                    <a:pt x="1736" y="2939"/>
                  </a:cubicBezTo>
                  <a:cubicBezTo>
                    <a:pt x="1735" y="2954"/>
                    <a:pt x="1716" y="2966"/>
                    <a:pt x="1694" y="2965"/>
                  </a:cubicBezTo>
                  <a:close/>
                  <a:moveTo>
                    <a:pt x="1665" y="3013"/>
                  </a:moveTo>
                  <a:cubicBezTo>
                    <a:pt x="1664" y="3028"/>
                    <a:pt x="1645" y="3040"/>
                    <a:pt x="1623" y="3040"/>
                  </a:cubicBezTo>
                  <a:cubicBezTo>
                    <a:pt x="1601" y="3039"/>
                    <a:pt x="1584" y="3026"/>
                    <a:pt x="1586" y="3011"/>
                  </a:cubicBezTo>
                  <a:cubicBezTo>
                    <a:pt x="1587" y="2996"/>
                    <a:pt x="1606" y="2984"/>
                    <a:pt x="1628" y="2985"/>
                  </a:cubicBezTo>
                  <a:cubicBezTo>
                    <a:pt x="1649" y="2985"/>
                    <a:pt x="1666" y="2998"/>
                    <a:pt x="1665" y="3013"/>
                  </a:cubicBezTo>
                  <a:close/>
                  <a:moveTo>
                    <a:pt x="1571" y="2963"/>
                  </a:moveTo>
                  <a:cubicBezTo>
                    <a:pt x="1549" y="2962"/>
                    <a:pt x="1532" y="2949"/>
                    <a:pt x="1534" y="2934"/>
                  </a:cubicBezTo>
                  <a:cubicBezTo>
                    <a:pt x="1535" y="2919"/>
                    <a:pt x="1554" y="2907"/>
                    <a:pt x="1576" y="2908"/>
                  </a:cubicBezTo>
                  <a:cubicBezTo>
                    <a:pt x="1597" y="2908"/>
                    <a:pt x="1614" y="2921"/>
                    <a:pt x="1612" y="2936"/>
                  </a:cubicBezTo>
                  <a:cubicBezTo>
                    <a:pt x="1611" y="2951"/>
                    <a:pt x="1592" y="2963"/>
                    <a:pt x="1571" y="2963"/>
                  </a:cubicBezTo>
                  <a:close/>
                  <a:moveTo>
                    <a:pt x="1541" y="3010"/>
                  </a:moveTo>
                  <a:cubicBezTo>
                    <a:pt x="1539" y="3025"/>
                    <a:pt x="1520" y="3037"/>
                    <a:pt x="1498" y="3036"/>
                  </a:cubicBezTo>
                  <a:cubicBezTo>
                    <a:pt x="1476" y="3036"/>
                    <a:pt x="1460" y="3023"/>
                    <a:pt x="1461" y="3008"/>
                  </a:cubicBezTo>
                  <a:cubicBezTo>
                    <a:pt x="1463" y="2993"/>
                    <a:pt x="1482" y="2981"/>
                    <a:pt x="1504" y="2981"/>
                  </a:cubicBezTo>
                  <a:cubicBezTo>
                    <a:pt x="1525" y="2982"/>
                    <a:pt x="1542" y="2995"/>
                    <a:pt x="1541" y="3010"/>
                  </a:cubicBezTo>
                  <a:close/>
                  <a:moveTo>
                    <a:pt x="1447" y="2959"/>
                  </a:moveTo>
                  <a:cubicBezTo>
                    <a:pt x="1425" y="2958"/>
                    <a:pt x="1409" y="2945"/>
                    <a:pt x="1411" y="2930"/>
                  </a:cubicBezTo>
                  <a:cubicBezTo>
                    <a:pt x="1412" y="2915"/>
                    <a:pt x="1431" y="2903"/>
                    <a:pt x="1453" y="2904"/>
                  </a:cubicBezTo>
                  <a:cubicBezTo>
                    <a:pt x="1474" y="2905"/>
                    <a:pt x="1491" y="2918"/>
                    <a:pt x="1489" y="2933"/>
                  </a:cubicBezTo>
                  <a:cubicBezTo>
                    <a:pt x="1488" y="2948"/>
                    <a:pt x="1469" y="2960"/>
                    <a:pt x="1447" y="2959"/>
                  </a:cubicBezTo>
                  <a:close/>
                  <a:moveTo>
                    <a:pt x="1416" y="3006"/>
                  </a:moveTo>
                  <a:cubicBezTo>
                    <a:pt x="1415" y="3021"/>
                    <a:pt x="1395" y="3033"/>
                    <a:pt x="1373" y="3032"/>
                  </a:cubicBezTo>
                  <a:cubicBezTo>
                    <a:pt x="1351" y="3031"/>
                    <a:pt x="1335" y="3018"/>
                    <a:pt x="1337" y="3003"/>
                  </a:cubicBezTo>
                  <a:cubicBezTo>
                    <a:pt x="1339" y="2988"/>
                    <a:pt x="1358" y="2977"/>
                    <a:pt x="1380" y="2977"/>
                  </a:cubicBezTo>
                  <a:cubicBezTo>
                    <a:pt x="1402" y="2978"/>
                    <a:pt x="1418" y="2991"/>
                    <a:pt x="1416" y="3006"/>
                  </a:cubicBezTo>
                  <a:close/>
                  <a:moveTo>
                    <a:pt x="1323" y="2954"/>
                  </a:moveTo>
                  <a:cubicBezTo>
                    <a:pt x="1302" y="2954"/>
                    <a:pt x="1286" y="2940"/>
                    <a:pt x="1287" y="2925"/>
                  </a:cubicBezTo>
                  <a:cubicBezTo>
                    <a:pt x="1289" y="2910"/>
                    <a:pt x="1308" y="2899"/>
                    <a:pt x="1330" y="2900"/>
                  </a:cubicBezTo>
                  <a:cubicBezTo>
                    <a:pt x="1352" y="2900"/>
                    <a:pt x="1368" y="2913"/>
                    <a:pt x="1366" y="2929"/>
                  </a:cubicBezTo>
                  <a:cubicBezTo>
                    <a:pt x="1364" y="2944"/>
                    <a:pt x="1345" y="2955"/>
                    <a:pt x="1323" y="2954"/>
                  </a:cubicBezTo>
                  <a:close/>
                  <a:moveTo>
                    <a:pt x="1292" y="3001"/>
                  </a:moveTo>
                  <a:cubicBezTo>
                    <a:pt x="1290" y="3017"/>
                    <a:pt x="1271" y="3028"/>
                    <a:pt x="1249" y="3027"/>
                  </a:cubicBezTo>
                  <a:cubicBezTo>
                    <a:pt x="1227" y="3026"/>
                    <a:pt x="1211" y="3013"/>
                    <a:pt x="1213" y="2998"/>
                  </a:cubicBezTo>
                  <a:cubicBezTo>
                    <a:pt x="1215" y="2983"/>
                    <a:pt x="1234" y="2971"/>
                    <a:pt x="1256" y="2972"/>
                  </a:cubicBezTo>
                  <a:cubicBezTo>
                    <a:pt x="1278" y="2973"/>
                    <a:pt x="1294" y="2986"/>
                    <a:pt x="1292" y="3001"/>
                  </a:cubicBezTo>
                  <a:close/>
                  <a:moveTo>
                    <a:pt x="1200" y="2949"/>
                  </a:moveTo>
                  <a:cubicBezTo>
                    <a:pt x="1178" y="2948"/>
                    <a:pt x="1162" y="2935"/>
                    <a:pt x="1164" y="2920"/>
                  </a:cubicBezTo>
                  <a:cubicBezTo>
                    <a:pt x="1166" y="2904"/>
                    <a:pt x="1186" y="2893"/>
                    <a:pt x="1207" y="2894"/>
                  </a:cubicBezTo>
                  <a:cubicBezTo>
                    <a:pt x="1229" y="2895"/>
                    <a:pt x="1245" y="2908"/>
                    <a:pt x="1243" y="2923"/>
                  </a:cubicBezTo>
                  <a:cubicBezTo>
                    <a:pt x="1241" y="2939"/>
                    <a:pt x="1222" y="2950"/>
                    <a:pt x="1200" y="2949"/>
                  </a:cubicBezTo>
                  <a:close/>
                  <a:moveTo>
                    <a:pt x="1168" y="2996"/>
                  </a:moveTo>
                  <a:cubicBezTo>
                    <a:pt x="1166" y="3011"/>
                    <a:pt x="1146" y="3022"/>
                    <a:pt x="1124" y="3021"/>
                  </a:cubicBezTo>
                  <a:cubicBezTo>
                    <a:pt x="1102" y="3020"/>
                    <a:pt x="1086" y="3007"/>
                    <a:pt x="1088" y="2992"/>
                  </a:cubicBezTo>
                  <a:cubicBezTo>
                    <a:pt x="1091" y="2977"/>
                    <a:pt x="1110" y="2965"/>
                    <a:pt x="1132" y="2966"/>
                  </a:cubicBezTo>
                  <a:cubicBezTo>
                    <a:pt x="1154" y="2968"/>
                    <a:pt x="1170" y="2981"/>
                    <a:pt x="1168" y="2996"/>
                  </a:cubicBezTo>
                  <a:close/>
                  <a:moveTo>
                    <a:pt x="1076" y="2943"/>
                  </a:moveTo>
                  <a:cubicBezTo>
                    <a:pt x="1055" y="2942"/>
                    <a:pt x="1039" y="2928"/>
                    <a:pt x="1041" y="2913"/>
                  </a:cubicBezTo>
                  <a:cubicBezTo>
                    <a:pt x="1044" y="2898"/>
                    <a:pt x="1063" y="2887"/>
                    <a:pt x="1085" y="2888"/>
                  </a:cubicBezTo>
                  <a:cubicBezTo>
                    <a:pt x="1106" y="2889"/>
                    <a:pt x="1122" y="2902"/>
                    <a:pt x="1120" y="2917"/>
                  </a:cubicBezTo>
                  <a:cubicBezTo>
                    <a:pt x="1118" y="2933"/>
                    <a:pt x="1098" y="2944"/>
                    <a:pt x="1076" y="2943"/>
                  </a:cubicBezTo>
                  <a:close/>
                  <a:moveTo>
                    <a:pt x="1043" y="2989"/>
                  </a:moveTo>
                  <a:cubicBezTo>
                    <a:pt x="1041" y="3005"/>
                    <a:pt x="1021" y="3016"/>
                    <a:pt x="999" y="3015"/>
                  </a:cubicBezTo>
                  <a:cubicBezTo>
                    <a:pt x="977" y="3013"/>
                    <a:pt x="962" y="3000"/>
                    <a:pt x="964" y="2985"/>
                  </a:cubicBezTo>
                  <a:cubicBezTo>
                    <a:pt x="967" y="2970"/>
                    <a:pt x="986" y="2958"/>
                    <a:pt x="1008" y="2960"/>
                  </a:cubicBezTo>
                  <a:cubicBezTo>
                    <a:pt x="1030" y="2961"/>
                    <a:pt x="1046" y="2974"/>
                    <a:pt x="1043" y="2989"/>
                  </a:cubicBezTo>
                  <a:close/>
                  <a:moveTo>
                    <a:pt x="953" y="2936"/>
                  </a:moveTo>
                  <a:cubicBezTo>
                    <a:pt x="931" y="2934"/>
                    <a:pt x="916" y="2921"/>
                    <a:pt x="918" y="2906"/>
                  </a:cubicBezTo>
                  <a:cubicBezTo>
                    <a:pt x="921" y="2890"/>
                    <a:pt x="940" y="2879"/>
                    <a:pt x="962" y="2881"/>
                  </a:cubicBezTo>
                  <a:cubicBezTo>
                    <a:pt x="984" y="2882"/>
                    <a:pt x="999" y="2895"/>
                    <a:pt x="997" y="2910"/>
                  </a:cubicBezTo>
                  <a:cubicBezTo>
                    <a:pt x="994" y="2926"/>
                    <a:pt x="975" y="2937"/>
                    <a:pt x="953" y="2936"/>
                  </a:cubicBezTo>
                  <a:close/>
                  <a:moveTo>
                    <a:pt x="919" y="2982"/>
                  </a:moveTo>
                  <a:cubicBezTo>
                    <a:pt x="917" y="2997"/>
                    <a:pt x="897" y="3008"/>
                    <a:pt x="875" y="3007"/>
                  </a:cubicBezTo>
                  <a:cubicBezTo>
                    <a:pt x="853" y="3006"/>
                    <a:pt x="837" y="2992"/>
                    <a:pt x="840" y="2977"/>
                  </a:cubicBezTo>
                  <a:cubicBezTo>
                    <a:pt x="843" y="2962"/>
                    <a:pt x="862" y="2951"/>
                    <a:pt x="884" y="2952"/>
                  </a:cubicBezTo>
                  <a:cubicBezTo>
                    <a:pt x="906" y="2953"/>
                    <a:pt x="922" y="2967"/>
                    <a:pt x="919" y="2982"/>
                  </a:cubicBezTo>
                  <a:close/>
                  <a:moveTo>
                    <a:pt x="829" y="2927"/>
                  </a:moveTo>
                  <a:cubicBezTo>
                    <a:pt x="808" y="2926"/>
                    <a:pt x="792" y="2912"/>
                    <a:pt x="795" y="2897"/>
                  </a:cubicBezTo>
                  <a:cubicBezTo>
                    <a:pt x="798" y="2882"/>
                    <a:pt x="818" y="2871"/>
                    <a:pt x="839" y="2873"/>
                  </a:cubicBezTo>
                  <a:cubicBezTo>
                    <a:pt x="861" y="2874"/>
                    <a:pt x="876" y="2888"/>
                    <a:pt x="874" y="2903"/>
                  </a:cubicBezTo>
                  <a:cubicBezTo>
                    <a:pt x="871" y="2918"/>
                    <a:pt x="851" y="2929"/>
                    <a:pt x="829" y="2927"/>
                  </a:cubicBezTo>
                  <a:close/>
                  <a:moveTo>
                    <a:pt x="795" y="2974"/>
                  </a:moveTo>
                  <a:cubicBezTo>
                    <a:pt x="792" y="2989"/>
                    <a:pt x="772" y="3000"/>
                    <a:pt x="750" y="2998"/>
                  </a:cubicBezTo>
                  <a:cubicBezTo>
                    <a:pt x="728" y="2997"/>
                    <a:pt x="713" y="2983"/>
                    <a:pt x="716" y="2968"/>
                  </a:cubicBezTo>
                  <a:cubicBezTo>
                    <a:pt x="719" y="2953"/>
                    <a:pt x="739" y="2942"/>
                    <a:pt x="760" y="2944"/>
                  </a:cubicBezTo>
                  <a:cubicBezTo>
                    <a:pt x="782" y="2945"/>
                    <a:pt x="798" y="2959"/>
                    <a:pt x="795" y="2974"/>
                  </a:cubicBezTo>
                  <a:close/>
                  <a:moveTo>
                    <a:pt x="706" y="2919"/>
                  </a:moveTo>
                  <a:cubicBezTo>
                    <a:pt x="684" y="2917"/>
                    <a:pt x="669" y="2903"/>
                    <a:pt x="672" y="2888"/>
                  </a:cubicBezTo>
                  <a:cubicBezTo>
                    <a:pt x="675" y="2873"/>
                    <a:pt x="695" y="2862"/>
                    <a:pt x="717" y="2864"/>
                  </a:cubicBezTo>
                  <a:cubicBezTo>
                    <a:pt x="738" y="2865"/>
                    <a:pt x="753" y="2879"/>
                    <a:pt x="751" y="2894"/>
                  </a:cubicBezTo>
                  <a:cubicBezTo>
                    <a:pt x="748" y="2909"/>
                    <a:pt x="728" y="2920"/>
                    <a:pt x="706" y="2919"/>
                  </a:cubicBezTo>
                  <a:close/>
                  <a:moveTo>
                    <a:pt x="657" y="2835"/>
                  </a:moveTo>
                  <a:cubicBezTo>
                    <a:pt x="635" y="2834"/>
                    <a:pt x="620" y="2820"/>
                    <a:pt x="624" y="2805"/>
                  </a:cubicBezTo>
                  <a:cubicBezTo>
                    <a:pt x="627" y="2789"/>
                    <a:pt x="647" y="2779"/>
                    <a:pt x="668" y="2780"/>
                  </a:cubicBezTo>
                  <a:cubicBezTo>
                    <a:pt x="690" y="2782"/>
                    <a:pt x="704" y="2796"/>
                    <a:pt x="701" y="2811"/>
                  </a:cubicBezTo>
                  <a:cubicBezTo>
                    <a:pt x="698" y="2826"/>
                    <a:pt x="678" y="2837"/>
                    <a:pt x="657" y="2835"/>
                  </a:cubicBezTo>
                  <a:close/>
                  <a:moveTo>
                    <a:pt x="628" y="2884"/>
                  </a:moveTo>
                  <a:cubicBezTo>
                    <a:pt x="624" y="2900"/>
                    <a:pt x="604" y="2910"/>
                    <a:pt x="582" y="2909"/>
                  </a:cubicBezTo>
                  <a:cubicBezTo>
                    <a:pt x="561" y="2907"/>
                    <a:pt x="546" y="2893"/>
                    <a:pt x="549" y="2878"/>
                  </a:cubicBezTo>
                  <a:cubicBezTo>
                    <a:pt x="552" y="2863"/>
                    <a:pt x="572" y="2852"/>
                    <a:pt x="594" y="2854"/>
                  </a:cubicBezTo>
                  <a:cubicBezTo>
                    <a:pt x="616" y="2856"/>
                    <a:pt x="631" y="2869"/>
                    <a:pt x="628" y="2884"/>
                  </a:cubicBezTo>
                  <a:close/>
                  <a:moveTo>
                    <a:pt x="535" y="2825"/>
                  </a:moveTo>
                  <a:cubicBezTo>
                    <a:pt x="513" y="2823"/>
                    <a:pt x="499" y="2809"/>
                    <a:pt x="502" y="2794"/>
                  </a:cubicBezTo>
                  <a:cubicBezTo>
                    <a:pt x="505" y="2779"/>
                    <a:pt x="525" y="2768"/>
                    <a:pt x="547" y="2770"/>
                  </a:cubicBezTo>
                  <a:cubicBezTo>
                    <a:pt x="568" y="2772"/>
                    <a:pt x="583" y="2786"/>
                    <a:pt x="580" y="2801"/>
                  </a:cubicBezTo>
                  <a:cubicBezTo>
                    <a:pt x="576" y="2816"/>
                    <a:pt x="556" y="2827"/>
                    <a:pt x="535" y="2825"/>
                  </a:cubicBezTo>
                  <a:close/>
                  <a:moveTo>
                    <a:pt x="505" y="2874"/>
                  </a:moveTo>
                  <a:cubicBezTo>
                    <a:pt x="501" y="2889"/>
                    <a:pt x="481" y="2900"/>
                    <a:pt x="459" y="2898"/>
                  </a:cubicBezTo>
                  <a:cubicBezTo>
                    <a:pt x="437" y="2896"/>
                    <a:pt x="423" y="2882"/>
                    <a:pt x="426" y="2867"/>
                  </a:cubicBezTo>
                  <a:cubicBezTo>
                    <a:pt x="430" y="2852"/>
                    <a:pt x="450" y="2841"/>
                    <a:pt x="472" y="2843"/>
                  </a:cubicBezTo>
                  <a:cubicBezTo>
                    <a:pt x="493" y="2845"/>
                    <a:pt x="508" y="2859"/>
                    <a:pt x="505" y="2874"/>
                  </a:cubicBezTo>
                  <a:close/>
                  <a:moveTo>
                    <a:pt x="470" y="3028"/>
                  </a:moveTo>
                  <a:cubicBezTo>
                    <a:pt x="467" y="3043"/>
                    <a:pt x="446" y="3054"/>
                    <a:pt x="424" y="3052"/>
                  </a:cubicBezTo>
                  <a:cubicBezTo>
                    <a:pt x="402" y="3050"/>
                    <a:pt x="387" y="3036"/>
                    <a:pt x="390" y="3021"/>
                  </a:cubicBezTo>
                  <a:cubicBezTo>
                    <a:pt x="394" y="3005"/>
                    <a:pt x="415" y="2995"/>
                    <a:pt x="437" y="2997"/>
                  </a:cubicBezTo>
                  <a:cubicBezTo>
                    <a:pt x="459" y="2999"/>
                    <a:pt x="474" y="3013"/>
                    <a:pt x="470" y="3028"/>
                  </a:cubicBezTo>
                  <a:close/>
                  <a:moveTo>
                    <a:pt x="376" y="2967"/>
                  </a:moveTo>
                  <a:cubicBezTo>
                    <a:pt x="354" y="2965"/>
                    <a:pt x="340" y="2951"/>
                    <a:pt x="343" y="2936"/>
                  </a:cubicBezTo>
                  <a:cubicBezTo>
                    <a:pt x="347" y="2921"/>
                    <a:pt x="368" y="2911"/>
                    <a:pt x="389" y="2913"/>
                  </a:cubicBezTo>
                  <a:cubicBezTo>
                    <a:pt x="411" y="2915"/>
                    <a:pt x="426" y="2929"/>
                    <a:pt x="422" y="2944"/>
                  </a:cubicBezTo>
                  <a:cubicBezTo>
                    <a:pt x="419" y="2959"/>
                    <a:pt x="398" y="2969"/>
                    <a:pt x="376" y="2967"/>
                  </a:cubicBezTo>
                  <a:close/>
                  <a:moveTo>
                    <a:pt x="345" y="3016"/>
                  </a:moveTo>
                  <a:cubicBezTo>
                    <a:pt x="342" y="3031"/>
                    <a:pt x="321" y="3042"/>
                    <a:pt x="298" y="3040"/>
                  </a:cubicBezTo>
                  <a:cubicBezTo>
                    <a:pt x="276" y="3038"/>
                    <a:pt x="261" y="3024"/>
                    <a:pt x="265" y="3009"/>
                  </a:cubicBezTo>
                  <a:cubicBezTo>
                    <a:pt x="269" y="2993"/>
                    <a:pt x="290" y="2983"/>
                    <a:pt x="312" y="2985"/>
                  </a:cubicBezTo>
                  <a:cubicBezTo>
                    <a:pt x="334" y="2987"/>
                    <a:pt x="349" y="3001"/>
                    <a:pt x="345" y="3016"/>
                  </a:cubicBezTo>
                  <a:close/>
                  <a:moveTo>
                    <a:pt x="252" y="2955"/>
                  </a:moveTo>
                  <a:cubicBezTo>
                    <a:pt x="230" y="2953"/>
                    <a:pt x="215" y="2939"/>
                    <a:pt x="219" y="2924"/>
                  </a:cubicBezTo>
                  <a:cubicBezTo>
                    <a:pt x="223" y="2909"/>
                    <a:pt x="244" y="2898"/>
                    <a:pt x="266" y="2901"/>
                  </a:cubicBezTo>
                  <a:cubicBezTo>
                    <a:pt x="287" y="2903"/>
                    <a:pt x="302" y="2917"/>
                    <a:pt x="298" y="2932"/>
                  </a:cubicBezTo>
                  <a:cubicBezTo>
                    <a:pt x="295" y="2947"/>
                    <a:pt x="274" y="2957"/>
                    <a:pt x="252" y="2955"/>
                  </a:cubicBezTo>
                  <a:close/>
                  <a:moveTo>
                    <a:pt x="220" y="3004"/>
                  </a:moveTo>
                  <a:cubicBezTo>
                    <a:pt x="216" y="3019"/>
                    <a:pt x="195" y="3030"/>
                    <a:pt x="173" y="3027"/>
                  </a:cubicBezTo>
                  <a:cubicBezTo>
                    <a:pt x="151" y="3025"/>
                    <a:pt x="136" y="3011"/>
                    <a:pt x="140" y="2996"/>
                  </a:cubicBezTo>
                  <a:cubicBezTo>
                    <a:pt x="144" y="2981"/>
                    <a:pt x="165" y="2970"/>
                    <a:pt x="187" y="2973"/>
                  </a:cubicBezTo>
                  <a:cubicBezTo>
                    <a:pt x="209" y="2975"/>
                    <a:pt x="224" y="2989"/>
                    <a:pt x="220" y="3004"/>
                  </a:cubicBezTo>
                  <a:close/>
                  <a:moveTo>
                    <a:pt x="168" y="2789"/>
                  </a:moveTo>
                  <a:cubicBezTo>
                    <a:pt x="147" y="2787"/>
                    <a:pt x="133" y="2772"/>
                    <a:pt x="137" y="2757"/>
                  </a:cubicBezTo>
                  <a:cubicBezTo>
                    <a:pt x="141" y="2742"/>
                    <a:pt x="162" y="2732"/>
                    <a:pt x="183" y="2734"/>
                  </a:cubicBezTo>
                  <a:cubicBezTo>
                    <a:pt x="204" y="2737"/>
                    <a:pt x="219" y="2751"/>
                    <a:pt x="215" y="2766"/>
                  </a:cubicBezTo>
                  <a:cubicBezTo>
                    <a:pt x="211" y="2781"/>
                    <a:pt x="190" y="2791"/>
                    <a:pt x="168" y="2789"/>
                  </a:cubicBezTo>
                  <a:close/>
                  <a:moveTo>
                    <a:pt x="131" y="2707"/>
                  </a:moveTo>
                  <a:cubicBezTo>
                    <a:pt x="110" y="2705"/>
                    <a:pt x="96" y="2691"/>
                    <a:pt x="100" y="2676"/>
                  </a:cubicBezTo>
                  <a:cubicBezTo>
                    <a:pt x="105" y="2660"/>
                    <a:pt x="125" y="2650"/>
                    <a:pt x="146" y="2653"/>
                  </a:cubicBezTo>
                  <a:cubicBezTo>
                    <a:pt x="167" y="2655"/>
                    <a:pt x="181" y="2669"/>
                    <a:pt x="177" y="2684"/>
                  </a:cubicBezTo>
                  <a:cubicBezTo>
                    <a:pt x="173" y="2699"/>
                    <a:pt x="153" y="2710"/>
                    <a:pt x="131" y="2707"/>
                  </a:cubicBezTo>
                  <a:close/>
                  <a:moveTo>
                    <a:pt x="143" y="2522"/>
                  </a:moveTo>
                  <a:cubicBezTo>
                    <a:pt x="147" y="2507"/>
                    <a:pt x="168" y="2497"/>
                    <a:pt x="188" y="2499"/>
                  </a:cubicBezTo>
                  <a:cubicBezTo>
                    <a:pt x="209" y="2502"/>
                    <a:pt x="223" y="2516"/>
                    <a:pt x="219" y="2531"/>
                  </a:cubicBezTo>
                  <a:cubicBezTo>
                    <a:pt x="214" y="2546"/>
                    <a:pt x="194" y="2556"/>
                    <a:pt x="173" y="2554"/>
                  </a:cubicBezTo>
                  <a:cubicBezTo>
                    <a:pt x="152" y="2552"/>
                    <a:pt x="139" y="2537"/>
                    <a:pt x="143" y="2522"/>
                  </a:cubicBezTo>
                  <a:close/>
                  <a:moveTo>
                    <a:pt x="176" y="2316"/>
                  </a:moveTo>
                  <a:cubicBezTo>
                    <a:pt x="156" y="2313"/>
                    <a:pt x="143" y="2299"/>
                    <a:pt x="147" y="2284"/>
                  </a:cubicBezTo>
                  <a:cubicBezTo>
                    <a:pt x="152" y="2269"/>
                    <a:pt x="172" y="2259"/>
                    <a:pt x="192" y="2261"/>
                  </a:cubicBezTo>
                  <a:cubicBezTo>
                    <a:pt x="212" y="2263"/>
                    <a:pt x="225" y="2278"/>
                    <a:pt x="221" y="2293"/>
                  </a:cubicBezTo>
                  <a:cubicBezTo>
                    <a:pt x="216" y="2308"/>
                    <a:pt x="197" y="2318"/>
                    <a:pt x="176" y="2316"/>
                  </a:cubicBezTo>
                  <a:close/>
                  <a:moveTo>
                    <a:pt x="144" y="2234"/>
                  </a:moveTo>
                  <a:cubicBezTo>
                    <a:pt x="124" y="2231"/>
                    <a:pt x="111" y="2217"/>
                    <a:pt x="115" y="2202"/>
                  </a:cubicBezTo>
                  <a:cubicBezTo>
                    <a:pt x="120" y="2187"/>
                    <a:pt x="140" y="2177"/>
                    <a:pt x="160" y="2179"/>
                  </a:cubicBezTo>
                  <a:cubicBezTo>
                    <a:pt x="179" y="2182"/>
                    <a:pt x="192" y="2196"/>
                    <a:pt x="188" y="2211"/>
                  </a:cubicBezTo>
                  <a:cubicBezTo>
                    <a:pt x="183" y="2226"/>
                    <a:pt x="164" y="2236"/>
                    <a:pt x="144" y="2234"/>
                  </a:cubicBezTo>
                  <a:close/>
                  <a:moveTo>
                    <a:pt x="126" y="1964"/>
                  </a:moveTo>
                  <a:cubicBezTo>
                    <a:pt x="130" y="1949"/>
                    <a:pt x="150" y="1938"/>
                    <a:pt x="169" y="1941"/>
                  </a:cubicBezTo>
                  <a:cubicBezTo>
                    <a:pt x="188" y="1943"/>
                    <a:pt x="200" y="1958"/>
                    <a:pt x="196" y="1973"/>
                  </a:cubicBezTo>
                  <a:cubicBezTo>
                    <a:pt x="191" y="1988"/>
                    <a:pt x="172" y="1998"/>
                    <a:pt x="153" y="1996"/>
                  </a:cubicBezTo>
                  <a:cubicBezTo>
                    <a:pt x="133" y="1993"/>
                    <a:pt x="121" y="1979"/>
                    <a:pt x="126" y="1964"/>
                  </a:cubicBezTo>
                  <a:close/>
                  <a:moveTo>
                    <a:pt x="145" y="1729"/>
                  </a:moveTo>
                  <a:cubicBezTo>
                    <a:pt x="149" y="1714"/>
                    <a:pt x="168" y="1704"/>
                    <a:pt x="187" y="1706"/>
                  </a:cubicBezTo>
                  <a:cubicBezTo>
                    <a:pt x="206" y="1709"/>
                    <a:pt x="217" y="1723"/>
                    <a:pt x="212" y="1738"/>
                  </a:cubicBezTo>
                  <a:cubicBezTo>
                    <a:pt x="208" y="1753"/>
                    <a:pt x="189" y="1763"/>
                    <a:pt x="170" y="1761"/>
                  </a:cubicBezTo>
                  <a:cubicBezTo>
                    <a:pt x="151" y="1758"/>
                    <a:pt x="140" y="1744"/>
                    <a:pt x="145" y="1729"/>
                  </a:cubicBezTo>
                  <a:close/>
                  <a:moveTo>
                    <a:pt x="139" y="1675"/>
                  </a:moveTo>
                  <a:cubicBezTo>
                    <a:pt x="120" y="1673"/>
                    <a:pt x="109" y="1658"/>
                    <a:pt x="114" y="1643"/>
                  </a:cubicBezTo>
                  <a:cubicBezTo>
                    <a:pt x="118" y="1628"/>
                    <a:pt x="137" y="1618"/>
                    <a:pt x="156" y="1621"/>
                  </a:cubicBezTo>
                  <a:cubicBezTo>
                    <a:pt x="174" y="1623"/>
                    <a:pt x="185" y="1638"/>
                    <a:pt x="181" y="1653"/>
                  </a:cubicBezTo>
                  <a:cubicBezTo>
                    <a:pt x="176" y="1668"/>
                    <a:pt x="157" y="1678"/>
                    <a:pt x="139" y="1675"/>
                  </a:cubicBezTo>
                  <a:close/>
                  <a:moveTo>
                    <a:pt x="162" y="1491"/>
                  </a:moveTo>
                  <a:cubicBezTo>
                    <a:pt x="167" y="1475"/>
                    <a:pt x="186" y="1465"/>
                    <a:pt x="204" y="1468"/>
                  </a:cubicBezTo>
                  <a:cubicBezTo>
                    <a:pt x="222" y="1470"/>
                    <a:pt x="232" y="1485"/>
                    <a:pt x="228" y="1500"/>
                  </a:cubicBezTo>
                  <a:cubicBezTo>
                    <a:pt x="223" y="1515"/>
                    <a:pt x="205" y="1525"/>
                    <a:pt x="187" y="1522"/>
                  </a:cubicBezTo>
                  <a:cubicBezTo>
                    <a:pt x="168" y="1520"/>
                    <a:pt x="158" y="1506"/>
                    <a:pt x="162" y="1491"/>
                  </a:cubicBezTo>
                  <a:close/>
                  <a:moveTo>
                    <a:pt x="138" y="1409"/>
                  </a:moveTo>
                  <a:cubicBezTo>
                    <a:pt x="143" y="1393"/>
                    <a:pt x="162" y="1383"/>
                    <a:pt x="179" y="1386"/>
                  </a:cubicBezTo>
                  <a:cubicBezTo>
                    <a:pt x="197" y="1389"/>
                    <a:pt x="208" y="1403"/>
                    <a:pt x="203" y="1418"/>
                  </a:cubicBezTo>
                  <a:cubicBezTo>
                    <a:pt x="198" y="1433"/>
                    <a:pt x="180" y="1443"/>
                    <a:pt x="162" y="1441"/>
                  </a:cubicBezTo>
                  <a:cubicBezTo>
                    <a:pt x="144" y="1438"/>
                    <a:pt x="133" y="1424"/>
                    <a:pt x="138" y="1409"/>
                  </a:cubicBezTo>
                  <a:close/>
                  <a:moveTo>
                    <a:pt x="162" y="1170"/>
                  </a:moveTo>
                  <a:cubicBezTo>
                    <a:pt x="167" y="1155"/>
                    <a:pt x="185" y="1145"/>
                    <a:pt x="202" y="1148"/>
                  </a:cubicBezTo>
                  <a:cubicBezTo>
                    <a:pt x="219" y="1150"/>
                    <a:pt x="229" y="1165"/>
                    <a:pt x="224" y="1180"/>
                  </a:cubicBezTo>
                  <a:cubicBezTo>
                    <a:pt x="220" y="1195"/>
                    <a:pt x="202" y="1205"/>
                    <a:pt x="184" y="1202"/>
                  </a:cubicBezTo>
                  <a:cubicBezTo>
                    <a:pt x="167" y="1200"/>
                    <a:pt x="157" y="1185"/>
                    <a:pt x="162" y="1170"/>
                  </a:cubicBezTo>
                  <a:close/>
                  <a:moveTo>
                    <a:pt x="141" y="1088"/>
                  </a:moveTo>
                  <a:cubicBezTo>
                    <a:pt x="147" y="1073"/>
                    <a:pt x="164" y="1063"/>
                    <a:pt x="181" y="1066"/>
                  </a:cubicBezTo>
                  <a:cubicBezTo>
                    <a:pt x="198" y="1069"/>
                    <a:pt x="208" y="1083"/>
                    <a:pt x="203" y="1098"/>
                  </a:cubicBezTo>
                  <a:cubicBezTo>
                    <a:pt x="198" y="1113"/>
                    <a:pt x="180" y="1123"/>
                    <a:pt x="163" y="1120"/>
                  </a:cubicBezTo>
                  <a:cubicBezTo>
                    <a:pt x="146" y="1118"/>
                    <a:pt x="136" y="1103"/>
                    <a:pt x="141" y="1088"/>
                  </a:cubicBezTo>
                  <a:close/>
                  <a:moveTo>
                    <a:pt x="171" y="850"/>
                  </a:moveTo>
                  <a:cubicBezTo>
                    <a:pt x="176" y="835"/>
                    <a:pt x="194" y="825"/>
                    <a:pt x="210" y="828"/>
                  </a:cubicBezTo>
                  <a:cubicBezTo>
                    <a:pt x="227" y="831"/>
                    <a:pt x="236" y="845"/>
                    <a:pt x="231" y="860"/>
                  </a:cubicBezTo>
                  <a:cubicBezTo>
                    <a:pt x="225" y="875"/>
                    <a:pt x="208" y="885"/>
                    <a:pt x="191" y="882"/>
                  </a:cubicBezTo>
                  <a:cubicBezTo>
                    <a:pt x="175" y="880"/>
                    <a:pt x="166" y="865"/>
                    <a:pt x="171" y="850"/>
                  </a:cubicBezTo>
                  <a:close/>
                  <a:moveTo>
                    <a:pt x="154" y="768"/>
                  </a:moveTo>
                  <a:cubicBezTo>
                    <a:pt x="159" y="753"/>
                    <a:pt x="177" y="743"/>
                    <a:pt x="193" y="746"/>
                  </a:cubicBezTo>
                  <a:cubicBezTo>
                    <a:pt x="209" y="749"/>
                    <a:pt x="218" y="763"/>
                    <a:pt x="213" y="778"/>
                  </a:cubicBezTo>
                  <a:cubicBezTo>
                    <a:pt x="207" y="793"/>
                    <a:pt x="190" y="803"/>
                    <a:pt x="174" y="800"/>
                  </a:cubicBezTo>
                  <a:cubicBezTo>
                    <a:pt x="157" y="798"/>
                    <a:pt x="149" y="783"/>
                    <a:pt x="154" y="768"/>
                  </a:cubicBezTo>
                  <a:close/>
                  <a:moveTo>
                    <a:pt x="190" y="531"/>
                  </a:moveTo>
                  <a:cubicBezTo>
                    <a:pt x="195" y="516"/>
                    <a:pt x="212" y="506"/>
                    <a:pt x="228" y="508"/>
                  </a:cubicBezTo>
                  <a:cubicBezTo>
                    <a:pt x="243" y="511"/>
                    <a:pt x="251" y="525"/>
                    <a:pt x="246" y="540"/>
                  </a:cubicBezTo>
                  <a:cubicBezTo>
                    <a:pt x="241" y="555"/>
                    <a:pt x="224" y="565"/>
                    <a:pt x="208" y="563"/>
                  </a:cubicBezTo>
                  <a:cubicBezTo>
                    <a:pt x="193" y="560"/>
                    <a:pt x="184" y="546"/>
                    <a:pt x="190" y="531"/>
                  </a:cubicBezTo>
                  <a:close/>
                  <a:moveTo>
                    <a:pt x="266" y="626"/>
                  </a:moveTo>
                  <a:cubicBezTo>
                    <a:pt x="260" y="641"/>
                    <a:pt x="243" y="651"/>
                    <a:pt x="227" y="648"/>
                  </a:cubicBezTo>
                  <a:cubicBezTo>
                    <a:pt x="212" y="645"/>
                    <a:pt x="203" y="631"/>
                    <a:pt x="209" y="616"/>
                  </a:cubicBezTo>
                  <a:cubicBezTo>
                    <a:pt x="214" y="601"/>
                    <a:pt x="231" y="591"/>
                    <a:pt x="247" y="594"/>
                  </a:cubicBezTo>
                  <a:cubicBezTo>
                    <a:pt x="262" y="596"/>
                    <a:pt x="271" y="611"/>
                    <a:pt x="266" y="626"/>
                  </a:cubicBezTo>
                  <a:close/>
                  <a:moveTo>
                    <a:pt x="282" y="707"/>
                  </a:moveTo>
                  <a:cubicBezTo>
                    <a:pt x="277" y="722"/>
                    <a:pt x="260" y="733"/>
                    <a:pt x="244" y="730"/>
                  </a:cubicBezTo>
                  <a:cubicBezTo>
                    <a:pt x="228" y="727"/>
                    <a:pt x="219" y="713"/>
                    <a:pt x="225" y="698"/>
                  </a:cubicBezTo>
                  <a:cubicBezTo>
                    <a:pt x="230" y="683"/>
                    <a:pt x="247" y="673"/>
                    <a:pt x="263" y="676"/>
                  </a:cubicBezTo>
                  <a:cubicBezTo>
                    <a:pt x="279" y="678"/>
                    <a:pt x="288" y="692"/>
                    <a:pt x="282" y="707"/>
                  </a:cubicBezTo>
                  <a:close/>
                  <a:moveTo>
                    <a:pt x="278" y="546"/>
                  </a:moveTo>
                  <a:cubicBezTo>
                    <a:pt x="283" y="531"/>
                    <a:pt x="300" y="521"/>
                    <a:pt x="316" y="523"/>
                  </a:cubicBezTo>
                  <a:cubicBezTo>
                    <a:pt x="331" y="526"/>
                    <a:pt x="339" y="540"/>
                    <a:pt x="334" y="555"/>
                  </a:cubicBezTo>
                  <a:cubicBezTo>
                    <a:pt x="329" y="570"/>
                    <a:pt x="312" y="580"/>
                    <a:pt x="297" y="578"/>
                  </a:cubicBezTo>
                  <a:cubicBezTo>
                    <a:pt x="281" y="575"/>
                    <a:pt x="273" y="561"/>
                    <a:pt x="278" y="546"/>
                  </a:cubicBezTo>
                  <a:close/>
                  <a:moveTo>
                    <a:pt x="355" y="640"/>
                  </a:moveTo>
                  <a:cubicBezTo>
                    <a:pt x="350" y="655"/>
                    <a:pt x="333" y="665"/>
                    <a:pt x="317" y="663"/>
                  </a:cubicBezTo>
                  <a:cubicBezTo>
                    <a:pt x="301" y="660"/>
                    <a:pt x="293" y="646"/>
                    <a:pt x="298" y="631"/>
                  </a:cubicBezTo>
                  <a:cubicBezTo>
                    <a:pt x="303" y="616"/>
                    <a:pt x="320" y="606"/>
                    <a:pt x="336" y="608"/>
                  </a:cubicBezTo>
                  <a:cubicBezTo>
                    <a:pt x="351" y="611"/>
                    <a:pt x="360" y="625"/>
                    <a:pt x="355" y="640"/>
                  </a:cubicBezTo>
                  <a:close/>
                  <a:moveTo>
                    <a:pt x="373" y="722"/>
                  </a:moveTo>
                  <a:cubicBezTo>
                    <a:pt x="368" y="737"/>
                    <a:pt x="351" y="747"/>
                    <a:pt x="335" y="744"/>
                  </a:cubicBezTo>
                  <a:cubicBezTo>
                    <a:pt x="319" y="742"/>
                    <a:pt x="310" y="728"/>
                    <a:pt x="315" y="713"/>
                  </a:cubicBezTo>
                  <a:cubicBezTo>
                    <a:pt x="320" y="698"/>
                    <a:pt x="337" y="688"/>
                    <a:pt x="353" y="690"/>
                  </a:cubicBezTo>
                  <a:cubicBezTo>
                    <a:pt x="369" y="692"/>
                    <a:pt x="378" y="707"/>
                    <a:pt x="373" y="722"/>
                  </a:cubicBezTo>
                  <a:close/>
                  <a:moveTo>
                    <a:pt x="366" y="560"/>
                  </a:moveTo>
                  <a:cubicBezTo>
                    <a:pt x="371" y="545"/>
                    <a:pt x="388" y="535"/>
                    <a:pt x="403" y="537"/>
                  </a:cubicBezTo>
                  <a:cubicBezTo>
                    <a:pt x="419" y="540"/>
                    <a:pt x="428" y="554"/>
                    <a:pt x="423" y="569"/>
                  </a:cubicBezTo>
                  <a:cubicBezTo>
                    <a:pt x="418" y="584"/>
                    <a:pt x="401" y="594"/>
                    <a:pt x="385" y="592"/>
                  </a:cubicBezTo>
                  <a:cubicBezTo>
                    <a:pt x="370" y="589"/>
                    <a:pt x="361" y="575"/>
                    <a:pt x="366" y="560"/>
                  </a:cubicBezTo>
                  <a:close/>
                  <a:moveTo>
                    <a:pt x="425" y="622"/>
                  </a:moveTo>
                  <a:cubicBezTo>
                    <a:pt x="440" y="625"/>
                    <a:pt x="449" y="639"/>
                    <a:pt x="445" y="654"/>
                  </a:cubicBezTo>
                  <a:cubicBezTo>
                    <a:pt x="440" y="669"/>
                    <a:pt x="423" y="679"/>
                    <a:pt x="407" y="677"/>
                  </a:cubicBezTo>
                  <a:cubicBezTo>
                    <a:pt x="391" y="674"/>
                    <a:pt x="383" y="660"/>
                    <a:pt x="387" y="645"/>
                  </a:cubicBezTo>
                  <a:cubicBezTo>
                    <a:pt x="392" y="630"/>
                    <a:pt x="409" y="620"/>
                    <a:pt x="425" y="622"/>
                  </a:cubicBezTo>
                  <a:close/>
                  <a:moveTo>
                    <a:pt x="464" y="735"/>
                  </a:moveTo>
                  <a:cubicBezTo>
                    <a:pt x="459" y="750"/>
                    <a:pt x="442" y="761"/>
                    <a:pt x="426" y="758"/>
                  </a:cubicBezTo>
                  <a:cubicBezTo>
                    <a:pt x="410" y="756"/>
                    <a:pt x="401" y="742"/>
                    <a:pt x="406" y="727"/>
                  </a:cubicBezTo>
                  <a:cubicBezTo>
                    <a:pt x="411" y="712"/>
                    <a:pt x="428" y="701"/>
                    <a:pt x="443" y="704"/>
                  </a:cubicBezTo>
                  <a:cubicBezTo>
                    <a:pt x="459" y="706"/>
                    <a:pt x="468" y="720"/>
                    <a:pt x="464" y="735"/>
                  </a:cubicBezTo>
                  <a:close/>
                  <a:moveTo>
                    <a:pt x="455" y="574"/>
                  </a:moveTo>
                  <a:cubicBezTo>
                    <a:pt x="459" y="559"/>
                    <a:pt x="476" y="549"/>
                    <a:pt x="491" y="551"/>
                  </a:cubicBezTo>
                  <a:cubicBezTo>
                    <a:pt x="507" y="553"/>
                    <a:pt x="516" y="567"/>
                    <a:pt x="511" y="582"/>
                  </a:cubicBezTo>
                  <a:cubicBezTo>
                    <a:pt x="506" y="598"/>
                    <a:pt x="490" y="608"/>
                    <a:pt x="474" y="605"/>
                  </a:cubicBezTo>
                  <a:cubicBezTo>
                    <a:pt x="459" y="603"/>
                    <a:pt x="450" y="589"/>
                    <a:pt x="455" y="574"/>
                  </a:cubicBezTo>
                  <a:close/>
                  <a:moveTo>
                    <a:pt x="514" y="636"/>
                  </a:moveTo>
                  <a:cubicBezTo>
                    <a:pt x="530" y="638"/>
                    <a:pt x="539" y="652"/>
                    <a:pt x="534" y="667"/>
                  </a:cubicBezTo>
                  <a:cubicBezTo>
                    <a:pt x="530" y="682"/>
                    <a:pt x="513" y="693"/>
                    <a:pt x="497" y="690"/>
                  </a:cubicBezTo>
                  <a:cubicBezTo>
                    <a:pt x="481" y="688"/>
                    <a:pt x="472" y="674"/>
                    <a:pt x="477" y="659"/>
                  </a:cubicBezTo>
                  <a:cubicBezTo>
                    <a:pt x="482" y="644"/>
                    <a:pt x="498" y="633"/>
                    <a:pt x="514" y="636"/>
                  </a:cubicBezTo>
                  <a:close/>
                  <a:moveTo>
                    <a:pt x="524" y="506"/>
                  </a:moveTo>
                  <a:cubicBezTo>
                    <a:pt x="529" y="491"/>
                    <a:pt x="545" y="480"/>
                    <a:pt x="561" y="483"/>
                  </a:cubicBezTo>
                  <a:cubicBezTo>
                    <a:pt x="576" y="485"/>
                    <a:pt x="585" y="499"/>
                    <a:pt x="580" y="514"/>
                  </a:cubicBezTo>
                  <a:cubicBezTo>
                    <a:pt x="576" y="529"/>
                    <a:pt x="559" y="540"/>
                    <a:pt x="544" y="537"/>
                  </a:cubicBezTo>
                  <a:cubicBezTo>
                    <a:pt x="529" y="535"/>
                    <a:pt x="520" y="521"/>
                    <a:pt x="524" y="506"/>
                  </a:cubicBezTo>
                  <a:close/>
                  <a:moveTo>
                    <a:pt x="600" y="595"/>
                  </a:moveTo>
                  <a:cubicBezTo>
                    <a:pt x="595" y="610"/>
                    <a:pt x="579" y="621"/>
                    <a:pt x="563" y="619"/>
                  </a:cubicBezTo>
                  <a:cubicBezTo>
                    <a:pt x="547" y="616"/>
                    <a:pt x="538" y="602"/>
                    <a:pt x="543" y="587"/>
                  </a:cubicBezTo>
                  <a:cubicBezTo>
                    <a:pt x="548" y="572"/>
                    <a:pt x="564" y="562"/>
                    <a:pt x="579" y="564"/>
                  </a:cubicBezTo>
                  <a:cubicBezTo>
                    <a:pt x="595" y="566"/>
                    <a:pt x="604" y="580"/>
                    <a:pt x="600" y="595"/>
                  </a:cubicBezTo>
                  <a:close/>
                  <a:moveTo>
                    <a:pt x="603" y="648"/>
                  </a:moveTo>
                  <a:cubicBezTo>
                    <a:pt x="619" y="651"/>
                    <a:pt x="628" y="665"/>
                    <a:pt x="624" y="680"/>
                  </a:cubicBezTo>
                  <a:cubicBezTo>
                    <a:pt x="620" y="695"/>
                    <a:pt x="603" y="705"/>
                    <a:pt x="587" y="703"/>
                  </a:cubicBezTo>
                  <a:cubicBezTo>
                    <a:pt x="571" y="701"/>
                    <a:pt x="562" y="687"/>
                    <a:pt x="567" y="672"/>
                  </a:cubicBezTo>
                  <a:cubicBezTo>
                    <a:pt x="571" y="657"/>
                    <a:pt x="587" y="646"/>
                    <a:pt x="603" y="648"/>
                  </a:cubicBezTo>
                  <a:close/>
                  <a:moveTo>
                    <a:pt x="612" y="519"/>
                  </a:moveTo>
                  <a:cubicBezTo>
                    <a:pt x="616" y="504"/>
                    <a:pt x="632" y="493"/>
                    <a:pt x="648" y="495"/>
                  </a:cubicBezTo>
                  <a:cubicBezTo>
                    <a:pt x="663" y="497"/>
                    <a:pt x="672" y="511"/>
                    <a:pt x="668" y="526"/>
                  </a:cubicBezTo>
                  <a:cubicBezTo>
                    <a:pt x="663" y="542"/>
                    <a:pt x="647" y="552"/>
                    <a:pt x="632" y="550"/>
                  </a:cubicBezTo>
                  <a:cubicBezTo>
                    <a:pt x="616" y="548"/>
                    <a:pt x="607" y="534"/>
                    <a:pt x="612" y="519"/>
                  </a:cubicBezTo>
                  <a:close/>
                  <a:moveTo>
                    <a:pt x="688" y="607"/>
                  </a:moveTo>
                  <a:cubicBezTo>
                    <a:pt x="684" y="622"/>
                    <a:pt x="668" y="633"/>
                    <a:pt x="652" y="631"/>
                  </a:cubicBezTo>
                  <a:cubicBezTo>
                    <a:pt x="636" y="629"/>
                    <a:pt x="627" y="615"/>
                    <a:pt x="632" y="600"/>
                  </a:cubicBezTo>
                  <a:cubicBezTo>
                    <a:pt x="636" y="585"/>
                    <a:pt x="652" y="574"/>
                    <a:pt x="667" y="576"/>
                  </a:cubicBezTo>
                  <a:cubicBezTo>
                    <a:pt x="683" y="578"/>
                    <a:pt x="692" y="592"/>
                    <a:pt x="688" y="607"/>
                  </a:cubicBezTo>
                  <a:close/>
                  <a:moveTo>
                    <a:pt x="693" y="660"/>
                  </a:moveTo>
                  <a:cubicBezTo>
                    <a:pt x="708" y="663"/>
                    <a:pt x="718" y="676"/>
                    <a:pt x="714" y="692"/>
                  </a:cubicBezTo>
                  <a:cubicBezTo>
                    <a:pt x="710" y="707"/>
                    <a:pt x="693" y="717"/>
                    <a:pt x="678" y="715"/>
                  </a:cubicBezTo>
                  <a:cubicBezTo>
                    <a:pt x="662" y="713"/>
                    <a:pt x="652" y="699"/>
                    <a:pt x="656" y="684"/>
                  </a:cubicBezTo>
                  <a:cubicBezTo>
                    <a:pt x="661" y="669"/>
                    <a:pt x="677" y="658"/>
                    <a:pt x="693" y="660"/>
                  </a:cubicBezTo>
                  <a:close/>
                  <a:moveTo>
                    <a:pt x="699" y="531"/>
                  </a:moveTo>
                  <a:cubicBezTo>
                    <a:pt x="703" y="516"/>
                    <a:pt x="719" y="505"/>
                    <a:pt x="735" y="507"/>
                  </a:cubicBezTo>
                  <a:cubicBezTo>
                    <a:pt x="750" y="509"/>
                    <a:pt x="759" y="523"/>
                    <a:pt x="755" y="538"/>
                  </a:cubicBezTo>
                  <a:cubicBezTo>
                    <a:pt x="751" y="553"/>
                    <a:pt x="735" y="564"/>
                    <a:pt x="720" y="562"/>
                  </a:cubicBezTo>
                  <a:cubicBezTo>
                    <a:pt x="704" y="560"/>
                    <a:pt x="695" y="546"/>
                    <a:pt x="699" y="531"/>
                  </a:cubicBezTo>
                  <a:close/>
                  <a:moveTo>
                    <a:pt x="777" y="619"/>
                  </a:moveTo>
                  <a:cubicBezTo>
                    <a:pt x="773" y="634"/>
                    <a:pt x="757" y="645"/>
                    <a:pt x="741" y="643"/>
                  </a:cubicBezTo>
                  <a:cubicBezTo>
                    <a:pt x="725" y="641"/>
                    <a:pt x="716" y="627"/>
                    <a:pt x="720" y="612"/>
                  </a:cubicBezTo>
                  <a:cubicBezTo>
                    <a:pt x="724" y="597"/>
                    <a:pt x="740" y="586"/>
                    <a:pt x="756" y="588"/>
                  </a:cubicBezTo>
                  <a:cubicBezTo>
                    <a:pt x="771" y="590"/>
                    <a:pt x="781" y="604"/>
                    <a:pt x="777" y="619"/>
                  </a:cubicBezTo>
                  <a:close/>
                  <a:moveTo>
                    <a:pt x="782" y="672"/>
                  </a:moveTo>
                  <a:cubicBezTo>
                    <a:pt x="798" y="674"/>
                    <a:pt x="807" y="688"/>
                    <a:pt x="803" y="703"/>
                  </a:cubicBezTo>
                  <a:cubicBezTo>
                    <a:pt x="800" y="718"/>
                    <a:pt x="784" y="729"/>
                    <a:pt x="768" y="727"/>
                  </a:cubicBezTo>
                  <a:cubicBezTo>
                    <a:pt x="752" y="725"/>
                    <a:pt x="742" y="711"/>
                    <a:pt x="746" y="696"/>
                  </a:cubicBezTo>
                  <a:cubicBezTo>
                    <a:pt x="750" y="681"/>
                    <a:pt x="766" y="670"/>
                    <a:pt x="782" y="672"/>
                  </a:cubicBezTo>
                  <a:close/>
                  <a:moveTo>
                    <a:pt x="787" y="542"/>
                  </a:moveTo>
                  <a:cubicBezTo>
                    <a:pt x="791" y="527"/>
                    <a:pt x="806" y="517"/>
                    <a:pt x="822" y="518"/>
                  </a:cubicBezTo>
                  <a:cubicBezTo>
                    <a:pt x="837" y="520"/>
                    <a:pt x="846" y="534"/>
                    <a:pt x="842" y="549"/>
                  </a:cubicBezTo>
                  <a:cubicBezTo>
                    <a:pt x="839" y="564"/>
                    <a:pt x="823" y="575"/>
                    <a:pt x="807" y="573"/>
                  </a:cubicBezTo>
                  <a:cubicBezTo>
                    <a:pt x="792" y="571"/>
                    <a:pt x="783" y="557"/>
                    <a:pt x="787" y="542"/>
                  </a:cubicBezTo>
                  <a:close/>
                  <a:moveTo>
                    <a:pt x="844" y="599"/>
                  </a:moveTo>
                  <a:cubicBezTo>
                    <a:pt x="859" y="601"/>
                    <a:pt x="869" y="615"/>
                    <a:pt x="865" y="630"/>
                  </a:cubicBezTo>
                  <a:cubicBezTo>
                    <a:pt x="862" y="645"/>
                    <a:pt x="846" y="656"/>
                    <a:pt x="830" y="654"/>
                  </a:cubicBezTo>
                  <a:cubicBezTo>
                    <a:pt x="814" y="652"/>
                    <a:pt x="805" y="638"/>
                    <a:pt x="809" y="623"/>
                  </a:cubicBezTo>
                  <a:cubicBezTo>
                    <a:pt x="813" y="608"/>
                    <a:pt x="828" y="597"/>
                    <a:pt x="844" y="599"/>
                  </a:cubicBezTo>
                  <a:close/>
                  <a:moveTo>
                    <a:pt x="871" y="683"/>
                  </a:moveTo>
                  <a:cubicBezTo>
                    <a:pt x="887" y="685"/>
                    <a:pt x="897" y="698"/>
                    <a:pt x="893" y="713"/>
                  </a:cubicBezTo>
                  <a:cubicBezTo>
                    <a:pt x="890" y="728"/>
                    <a:pt x="874" y="739"/>
                    <a:pt x="858" y="737"/>
                  </a:cubicBezTo>
                  <a:cubicBezTo>
                    <a:pt x="842" y="736"/>
                    <a:pt x="832" y="722"/>
                    <a:pt x="836" y="707"/>
                  </a:cubicBezTo>
                  <a:cubicBezTo>
                    <a:pt x="840" y="692"/>
                    <a:pt x="856" y="681"/>
                    <a:pt x="871" y="683"/>
                  </a:cubicBezTo>
                  <a:close/>
                  <a:moveTo>
                    <a:pt x="874" y="553"/>
                  </a:moveTo>
                  <a:cubicBezTo>
                    <a:pt x="878" y="538"/>
                    <a:pt x="893" y="527"/>
                    <a:pt x="909" y="529"/>
                  </a:cubicBezTo>
                  <a:cubicBezTo>
                    <a:pt x="924" y="531"/>
                    <a:pt x="934" y="545"/>
                    <a:pt x="930" y="560"/>
                  </a:cubicBezTo>
                  <a:cubicBezTo>
                    <a:pt x="926" y="575"/>
                    <a:pt x="911" y="586"/>
                    <a:pt x="895" y="584"/>
                  </a:cubicBezTo>
                  <a:cubicBezTo>
                    <a:pt x="880" y="582"/>
                    <a:pt x="870" y="568"/>
                    <a:pt x="874" y="553"/>
                  </a:cubicBezTo>
                  <a:close/>
                  <a:moveTo>
                    <a:pt x="932" y="609"/>
                  </a:moveTo>
                  <a:cubicBezTo>
                    <a:pt x="948" y="611"/>
                    <a:pt x="957" y="625"/>
                    <a:pt x="954" y="640"/>
                  </a:cubicBezTo>
                  <a:cubicBezTo>
                    <a:pt x="950" y="655"/>
                    <a:pt x="935" y="666"/>
                    <a:pt x="919" y="664"/>
                  </a:cubicBezTo>
                  <a:cubicBezTo>
                    <a:pt x="903" y="662"/>
                    <a:pt x="894" y="649"/>
                    <a:pt x="897" y="634"/>
                  </a:cubicBezTo>
                  <a:cubicBezTo>
                    <a:pt x="901" y="618"/>
                    <a:pt x="917" y="608"/>
                    <a:pt x="932" y="609"/>
                  </a:cubicBezTo>
                  <a:close/>
                  <a:moveTo>
                    <a:pt x="961" y="693"/>
                  </a:moveTo>
                  <a:cubicBezTo>
                    <a:pt x="977" y="695"/>
                    <a:pt x="987" y="708"/>
                    <a:pt x="983" y="723"/>
                  </a:cubicBezTo>
                  <a:cubicBezTo>
                    <a:pt x="980" y="738"/>
                    <a:pt x="964" y="749"/>
                    <a:pt x="948" y="748"/>
                  </a:cubicBezTo>
                  <a:cubicBezTo>
                    <a:pt x="932" y="746"/>
                    <a:pt x="922" y="732"/>
                    <a:pt x="926" y="717"/>
                  </a:cubicBezTo>
                  <a:cubicBezTo>
                    <a:pt x="929" y="702"/>
                    <a:pt x="945" y="691"/>
                    <a:pt x="961" y="693"/>
                  </a:cubicBezTo>
                  <a:close/>
                  <a:moveTo>
                    <a:pt x="962" y="563"/>
                  </a:moveTo>
                  <a:cubicBezTo>
                    <a:pt x="965" y="548"/>
                    <a:pt x="980" y="537"/>
                    <a:pt x="996" y="539"/>
                  </a:cubicBezTo>
                  <a:cubicBezTo>
                    <a:pt x="1011" y="541"/>
                    <a:pt x="1021" y="555"/>
                    <a:pt x="1017" y="570"/>
                  </a:cubicBezTo>
                  <a:cubicBezTo>
                    <a:pt x="1014" y="585"/>
                    <a:pt x="999" y="596"/>
                    <a:pt x="983" y="594"/>
                  </a:cubicBezTo>
                  <a:cubicBezTo>
                    <a:pt x="968" y="592"/>
                    <a:pt x="958" y="579"/>
                    <a:pt x="962" y="563"/>
                  </a:cubicBezTo>
                  <a:close/>
                  <a:moveTo>
                    <a:pt x="1020" y="619"/>
                  </a:moveTo>
                  <a:cubicBezTo>
                    <a:pt x="1036" y="621"/>
                    <a:pt x="1046" y="634"/>
                    <a:pt x="1043" y="650"/>
                  </a:cubicBezTo>
                  <a:cubicBezTo>
                    <a:pt x="1039" y="665"/>
                    <a:pt x="1024" y="676"/>
                    <a:pt x="1008" y="674"/>
                  </a:cubicBezTo>
                  <a:cubicBezTo>
                    <a:pt x="993" y="672"/>
                    <a:pt x="983" y="659"/>
                    <a:pt x="986" y="644"/>
                  </a:cubicBezTo>
                  <a:cubicBezTo>
                    <a:pt x="989" y="628"/>
                    <a:pt x="1005" y="618"/>
                    <a:pt x="1020" y="619"/>
                  </a:cubicBezTo>
                  <a:close/>
                  <a:moveTo>
                    <a:pt x="1050" y="702"/>
                  </a:moveTo>
                  <a:cubicBezTo>
                    <a:pt x="1066" y="704"/>
                    <a:pt x="1076" y="717"/>
                    <a:pt x="1073" y="733"/>
                  </a:cubicBezTo>
                  <a:cubicBezTo>
                    <a:pt x="1070" y="748"/>
                    <a:pt x="1055" y="759"/>
                    <a:pt x="1039" y="757"/>
                  </a:cubicBezTo>
                  <a:cubicBezTo>
                    <a:pt x="1023" y="756"/>
                    <a:pt x="1013" y="742"/>
                    <a:pt x="1016" y="727"/>
                  </a:cubicBezTo>
                  <a:cubicBezTo>
                    <a:pt x="1019" y="712"/>
                    <a:pt x="1035" y="701"/>
                    <a:pt x="1050" y="702"/>
                  </a:cubicBezTo>
                  <a:close/>
                  <a:moveTo>
                    <a:pt x="1049" y="573"/>
                  </a:moveTo>
                  <a:cubicBezTo>
                    <a:pt x="1052" y="558"/>
                    <a:pt x="1068" y="547"/>
                    <a:pt x="1083" y="549"/>
                  </a:cubicBezTo>
                  <a:cubicBezTo>
                    <a:pt x="1098" y="550"/>
                    <a:pt x="1108" y="564"/>
                    <a:pt x="1105" y="579"/>
                  </a:cubicBezTo>
                  <a:cubicBezTo>
                    <a:pt x="1102" y="594"/>
                    <a:pt x="1087" y="605"/>
                    <a:pt x="1071" y="603"/>
                  </a:cubicBezTo>
                  <a:cubicBezTo>
                    <a:pt x="1056" y="602"/>
                    <a:pt x="1046" y="588"/>
                    <a:pt x="1049" y="573"/>
                  </a:cubicBezTo>
                  <a:close/>
                  <a:moveTo>
                    <a:pt x="1109" y="628"/>
                  </a:moveTo>
                  <a:cubicBezTo>
                    <a:pt x="1124" y="630"/>
                    <a:pt x="1135" y="643"/>
                    <a:pt x="1132" y="659"/>
                  </a:cubicBezTo>
                  <a:cubicBezTo>
                    <a:pt x="1129" y="674"/>
                    <a:pt x="1113" y="685"/>
                    <a:pt x="1098" y="683"/>
                  </a:cubicBezTo>
                  <a:cubicBezTo>
                    <a:pt x="1082" y="682"/>
                    <a:pt x="1072" y="668"/>
                    <a:pt x="1075" y="653"/>
                  </a:cubicBezTo>
                  <a:cubicBezTo>
                    <a:pt x="1078" y="638"/>
                    <a:pt x="1093" y="627"/>
                    <a:pt x="1109" y="628"/>
                  </a:cubicBezTo>
                  <a:close/>
                  <a:moveTo>
                    <a:pt x="1107" y="499"/>
                  </a:moveTo>
                  <a:cubicBezTo>
                    <a:pt x="1110" y="484"/>
                    <a:pt x="1125" y="473"/>
                    <a:pt x="1140" y="475"/>
                  </a:cubicBezTo>
                  <a:cubicBezTo>
                    <a:pt x="1155" y="476"/>
                    <a:pt x="1165" y="490"/>
                    <a:pt x="1162" y="505"/>
                  </a:cubicBezTo>
                  <a:cubicBezTo>
                    <a:pt x="1159" y="520"/>
                    <a:pt x="1144" y="531"/>
                    <a:pt x="1129" y="530"/>
                  </a:cubicBezTo>
                  <a:cubicBezTo>
                    <a:pt x="1114" y="528"/>
                    <a:pt x="1104" y="514"/>
                    <a:pt x="1107" y="499"/>
                  </a:cubicBezTo>
                  <a:close/>
                  <a:moveTo>
                    <a:pt x="1170" y="557"/>
                  </a:moveTo>
                  <a:cubicBezTo>
                    <a:pt x="1186" y="559"/>
                    <a:pt x="1196" y="572"/>
                    <a:pt x="1193" y="588"/>
                  </a:cubicBezTo>
                  <a:cubicBezTo>
                    <a:pt x="1190" y="603"/>
                    <a:pt x="1175" y="614"/>
                    <a:pt x="1159" y="612"/>
                  </a:cubicBezTo>
                  <a:cubicBezTo>
                    <a:pt x="1144" y="611"/>
                    <a:pt x="1134" y="597"/>
                    <a:pt x="1137" y="582"/>
                  </a:cubicBezTo>
                  <a:cubicBezTo>
                    <a:pt x="1140" y="567"/>
                    <a:pt x="1155" y="556"/>
                    <a:pt x="1170" y="557"/>
                  </a:cubicBezTo>
                  <a:close/>
                  <a:moveTo>
                    <a:pt x="1168" y="428"/>
                  </a:moveTo>
                  <a:cubicBezTo>
                    <a:pt x="1171" y="413"/>
                    <a:pt x="1186" y="402"/>
                    <a:pt x="1200" y="404"/>
                  </a:cubicBezTo>
                  <a:cubicBezTo>
                    <a:pt x="1215" y="405"/>
                    <a:pt x="1225" y="419"/>
                    <a:pt x="1222" y="434"/>
                  </a:cubicBezTo>
                  <a:cubicBezTo>
                    <a:pt x="1219" y="449"/>
                    <a:pt x="1205" y="460"/>
                    <a:pt x="1190" y="459"/>
                  </a:cubicBezTo>
                  <a:cubicBezTo>
                    <a:pt x="1175" y="457"/>
                    <a:pt x="1165" y="444"/>
                    <a:pt x="1168" y="428"/>
                  </a:cubicBezTo>
                  <a:close/>
                  <a:moveTo>
                    <a:pt x="1226" y="483"/>
                  </a:moveTo>
                  <a:cubicBezTo>
                    <a:pt x="1242" y="485"/>
                    <a:pt x="1252" y="498"/>
                    <a:pt x="1249" y="513"/>
                  </a:cubicBezTo>
                  <a:cubicBezTo>
                    <a:pt x="1246" y="528"/>
                    <a:pt x="1231" y="539"/>
                    <a:pt x="1216" y="538"/>
                  </a:cubicBezTo>
                  <a:cubicBezTo>
                    <a:pt x="1201" y="537"/>
                    <a:pt x="1191" y="523"/>
                    <a:pt x="1194" y="508"/>
                  </a:cubicBezTo>
                  <a:cubicBezTo>
                    <a:pt x="1197" y="493"/>
                    <a:pt x="1211" y="482"/>
                    <a:pt x="1226" y="483"/>
                  </a:cubicBezTo>
                  <a:close/>
                  <a:moveTo>
                    <a:pt x="1258" y="566"/>
                  </a:moveTo>
                  <a:cubicBezTo>
                    <a:pt x="1273" y="567"/>
                    <a:pt x="1283" y="580"/>
                    <a:pt x="1281" y="596"/>
                  </a:cubicBezTo>
                  <a:cubicBezTo>
                    <a:pt x="1278" y="611"/>
                    <a:pt x="1263" y="622"/>
                    <a:pt x="1248" y="620"/>
                  </a:cubicBezTo>
                  <a:cubicBezTo>
                    <a:pt x="1232" y="619"/>
                    <a:pt x="1222" y="606"/>
                    <a:pt x="1225" y="591"/>
                  </a:cubicBezTo>
                  <a:cubicBezTo>
                    <a:pt x="1227" y="575"/>
                    <a:pt x="1242" y="564"/>
                    <a:pt x="1258" y="566"/>
                  </a:cubicBezTo>
                  <a:close/>
                  <a:moveTo>
                    <a:pt x="1280" y="516"/>
                  </a:moveTo>
                  <a:cubicBezTo>
                    <a:pt x="1283" y="501"/>
                    <a:pt x="1297" y="490"/>
                    <a:pt x="1312" y="491"/>
                  </a:cubicBezTo>
                  <a:cubicBezTo>
                    <a:pt x="1328" y="492"/>
                    <a:pt x="1338" y="506"/>
                    <a:pt x="1335" y="521"/>
                  </a:cubicBezTo>
                  <a:cubicBezTo>
                    <a:pt x="1333" y="536"/>
                    <a:pt x="1318" y="547"/>
                    <a:pt x="1303" y="546"/>
                  </a:cubicBezTo>
                  <a:cubicBezTo>
                    <a:pt x="1288" y="545"/>
                    <a:pt x="1277" y="531"/>
                    <a:pt x="1280" y="516"/>
                  </a:cubicBezTo>
                  <a:close/>
                  <a:moveTo>
                    <a:pt x="1308" y="362"/>
                  </a:moveTo>
                  <a:cubicBezTo>
                    <a:pt x="1310" y="347"/>
                    <a:pt x="1325" y="336"/>
                    <a:pt x="1339" y="337"/>
                  </a:cubicBezTo>
                  <a:cubicBezTo>
                    <a:pt x="1354" y="339"/>
                    <a:pt x="1364" y="352"/>
                    <a:pt x="1361" y="367"/>
                  </a:cubicBezTo>
                  <a:cubicBezTo>
                    <a:pt x="1359" y="382"/>
                    <a:pt x="1345" y="393"/>
                    <a:pt x="1330" y="392"/>
                  </a:cubicBezTo>
                  <a:cubicBezTo>
                    <a:pt x="1315" y="391"/>
                    <a:pt x="1305" y="377"/>
                    <a:pt x="1308" y="362"/>
                  </a:cubicBezTo>
                  <a:close/>
                  <a:moveTo>
                    <a:pt x="1370" y="419"/>
                  </a:moveTo>
                  <a:cubicBezTo>
                    <a:pt x="1385" y="421"/>
                    <a:pt x="1396" y="434"/>
                    <a:pt x="1393" y="449"/>
                  </a:cubicBezTo>
                  <a:cubicBezTo>
                    <a:pt x="1391" y="464"/>
                    <a:pt x="1376" y="475"/>
                    <a:pt x="1361" y="474"/>
                  </a:cubicBezTo>
                  <a:cubicBezTo>
                    <a:pt x="1346" y="473"/>
                    <a:pt x="1336" y="460"/>
                    <a:pt x="1339" y="444"/>
                  </a:cubicBezTo>
                  <a:cubicBezTo>
                    <a:pt x="1341" y="429"/>
                    <a:pt x="1355" y="418"/>
                    <a:pt x="1370" y="419"/>
                  </a:cubicBezTo>
                  <a:close/>
                  <a:moveTo>
                    <a:pt x="1392" y="370"/>
                  </a:moveTo>
                  <a:cubicBezTo>
                    <a:pt x="1394" y="354"/>
                    <a:pt x="1408" y="343"/>
                    <a:pt x="1423" y="344"/>
                  </a:cubicBezTo>
                  <a:cubicBezTo>
                    <a:pt x="1438" y="346"/>
                    <a:pt x="1448" y="359"/>
                    <a:pt x="1446" y="374"/>
                  </a:cubicBezTo>
                  <a:cubicBezTo>
                    <a:pt x="1443" y="389"/>
                    <a:pt x="1429" y="401"/>
                    <a:pt x="1414" y="399"/>
                  </a:cubicBezTo>
                  <a:cubicBezTo>
                    <a:pt x="1399" y="398"/>
                    <a:pt x="1389" y="385"/>
                    <a:pt x="1392" y="370"/>
                  </a:cubicBezTo>
                  <a:close/>
                  <a:moveTo>
                    <a:pt x="1455" y="426"/>
                  </a:moveTo>
                  <a:cubicBezTo>
                    <a:pt x="1470" y="427"/>
                    <a:pt x="1481" y="441"/>
                    <a:pt x="1479" y="456"/>
                  </a:cubicBezTo>
                  <a:cubicBezTo>
                    <a:pt x="1476" y="471"/>
                    <a:pt x="1462" y="482"/>
                    <a:pt x="1447" y="481"/>
                  </a:cubicBezTo>
                  <a:cubicBezTo>
                    <a:pt x="1432" y="480"/>
                    <a:pt x="1422" y="467"/>
                    <a:pt x="1424" y="452"/>
                  </a:cubicBezTo>
                  <a:cubicBezTo>
                    <a:pt x="1426" y="436"/>
                    <a:pt x="1440" y="425"/>
                    <a:pt x="1455" y="426"/>
                  </a:cubicBezTo>
                  <a:close/>
                  <a:moveTo>
                    <a:pt x="1476" y="376"/>
                  </a:moveTo>
                  <a:cubicBezTo>
                    <a:pt x="1478" y="361"/>
                    <a:pt x="1492" y="350"/>
                    <a:pt x="1507" y="351"/>
                  </a:cubicBezTo>
                  <a:cubicBezTo>
                    <a:pt x="1522" y="352"/>
                    <a:pt x="1532" y="365"/>
                    <a:pt x="1530" y="380"/>
                  </a:cubicBezTo>
                  <a:cubicBezTo>
                    <a:pt x="1528" y="396"/>
                    <a:pt x="1514" y="407"/>
                    <a:pt x="1499" y="406"/>
                  </a:cubicBezTo>
                  <a:cubicBezTo>
                    <a:pt x="1484" y="405"/>
                    <a:pt x="1474" y="392"/>
                    <a:pt x="1476" y="376"/>
                  </a:cubicBezTo>
                  <a:close/>
                  <a:moveTo>
                    <a:pt x="1541" y="433"/>
                  </a:moveTo>
                  <a:cubicBezTo>
                    <a:pt x="1555" y="434"/>
                    <a:pt x="1566" y="447"/>
                    <a:pt x="1564" y="462"/>
                  </a:cubicBezTo>
                  <a:cubicBezTo>
                    <a:pt x="1562" y="477"/>
                    <a:pt x="1548" y="488"/>
                    <a:pt x="1533" y="487"/>
                  </a:cubicBezTo>
                  <a:cubicBezTo>
                    <a:pt x="1518" y="486"/>
                    <a:pt x="1507" y="473"/>
                    <a:pt x="1509" y="458"/>
                  </a:cubicBezTo>
                  <a:cubicBezTo>
                    <a:pt x="1512" y="443"/>
                    <a:pt x="1526" y="431"/>
                    <a:pt x="1541" y="433"/>
                  </a:cubicBezTo>
                  <a:close/>
                  <a:moveTo>
                    <a:pt x="1560" y="383"/>
                  </a:moveTo>
                  <a:cubicBezTo>
                    <a:pt x="1562" y="367"/>
                    <a:pt x="1576" y="356"/>
                    <a:pt x="1591" y="357"/>
                  </a:cubicBezTo>
                  <a:cubicBezTo>
                    <a:pt x="1606" y="358"/>
                    <a:pt x="1616" y="371"/>
                    <a:pt x="1614" y="386"/>
                  </a:cubicBezTo>
                  <a:cubicBezTo>
                    <a:pt x="1612" y="401"/>
                    <a:pt x="1599" y="413"/>
                    <a:pt x="1584" y="412"/>
                  </a:cubicBezTo>
                  <a:cubicBezTo>
                    <a:pt x="1569" y="411"/>
                    <a:pt x="1558" y="398"/>
                    <a:pt x="1560" y="383"/>
                  </a:cubicBezTo>
                  <a:close/>
                  <a:moveTo>
                    <a:pt x="1626" y="438"/>
                  </a:moveTo>
                  <a:cubicBezTo>
                    <a:pt x="1641" y="439"/>
                    <a:pt x="1651" y="452"/>
                    <a:pt x="1650" y="467"/>
                  </a:cubicBezTo>
                  <a:cubicBezTo>
                    <a:pt x="1648" y="483"/>
                    <a:pt x="1634" y="494"/>
                    <a:pt x="1619" y="493"/>
                  </a:cubicBezTo>
                  <a:cubicBezTo>
                    <a:pt x="1604" y="492"/>
                    <a:pt x="1593" y="479"/>
                    <a:pt x="1595" y="464"/>
                  </a:cubicBezTo>
                  <a:cubicBezTo>
                    <a:pt x="1597" y="449"/>
                    <a:pt x="1611" y="437"/>
                    <a:pt x="1626" y="438"/>
                  </a:cubicBezTo>
                  <a:close/>
                  <a:moveTo>
                    <a:pt x="1645" y="388"/>
                  </a:moveTo>
                  <a:cubicBezTo>
                    <a:pt x="1646" y="373"/>
                    <a:pt x="1660" y="362"/>
                    <a:pt x="1675" y="362"/>
                  </a:cubicBezTo>
                  <a:cubicBezTo>
                    <a:pt x="1690" y="363"/>
                    <a:pt x="1700" y="376"/>
                    <a:pt x="1699" y="391"/>
                  </a:cubicBezTo>
                  <a:cubicBezTo>
                    <a:pt x="1697" y="407"/>
                    <a:pt x="1683" y="418"/>
                    <a:pt x="1669" y="417"/>
                  </a:cubicBezTo>
                  <a:cubicBezTo>
                    <a:pt x="1654" y="416"/>
                    <a:pt x="1643" y="403"/>
                    <a:pt x="1645" y="388"/>
                  </a:cubicBezTo>
                  <a:close/>
                  <a:moveTo>
                    <a:pt x="1711" y="443"/>
                  </a:moveTo>
                  <a:cubicBezTo>
                    <a:pt x="1726" y="444"/>
                    <a:pt x="1737" y="457"/>
                    <a:pt x="1735" y="472"/>
                  </a:cubicBezTo>
                  <a:cubicBezTo>
                    <a:pt x="1734" y="487"/>
                    <a:pt x="1720" y="499"/>
                    <a:pt x="1705" y="498"/>
                  </a:cubicBezTo>
                  <a:cubicBezTo>
                    <a:pt x="1690" y="497"/>
                    <a:pt x="1679" y="484"/>
                    <a:pt x="1681" y="469"/>
                  </a:cubicBezTo>
                  <a:cubicBezTo>
                    <a:pt x="1682" y="454"/>
                    <a:pt x="1696" y="442"/>
                    <a:pt x="1711" y="443"/>
                  </a:cubicBezTo>
                  <a:close/>
                  <a:moveTo>
                    <a:pt x="1729" y="393"/>
                  </a:moveTo>
                  <a:cubicBezTo>
                    <a:pt x="1731" y="378"/>
                    <a:pt x="1744" y="366"/>
                    <a:pt x="1759" y="367"/>
                  </a:cubicBezTo>
                  <a:cubicBezTo>
                    <a:pt x="1773" y="368"/>
                    <a:pt x="1784" y="381"/>
                    <a:pt x="1783" y="396"/>
                  </a:cubicBezTo>
                  <a:cubicBezTo>
                    <a:pt x="1782" y="411"/>
                    <a:pt x="1768" y="423"/>
                    <a:pt x="1753" y="422"/>
                  </a:cubicBezTo>
                  <a:cubicBezTo>
                    <a:pt x="1738" y="421"/>
                    <a:pt x="1728" y="408"/>
                    <a:pt x="1729" y="393"/>
                  </a:cubicBezTo>
                  <a:close/>
                  <a:moveTo>
                    <a:pt x="1796" y="448"/>
                  </a:moveTo>
                  <a:cubicBezTo>
                    <a:pt x="1811" y="449"/>
                    <a:pt x="1822" y="461"/>
                    <a:pt x="1821" y="477"/>
                  </a:cubicBezTo>
                  <a:cubicBezTo>
                    <a:pt x="1819" y="492"/>
                    <a:pt x="1806" y="503"/>
                    <a:pt x="1791" y="503"/>
                  </a:cubicBezTo>
                  <a:cubicBezTo>
                    <a:pt x="1776" y="502"/>
                    <a:pt x="1765" y="489"/>
                    <a:pt x="1766" y="474"/>
                  </a:cubicBezTo>
                  <a:cubicBezTo>
                    <a:pt x="1768" y="459"/>
                    <a:pt x="1781" y="447"/>
                    <a:pt x="1796" y="448"/>
                  </a:cubicBezTo>
                  <a:close/>
                  <a:moveTo>
                    <a:pt x="1813" y="398"/>
                  </a:moveTo>
                  <a:cubicBezTo>
                    <a:pt x="1815" y="382"/>
                    <a:pt x="1828" y="371"/>
                    <a:pt x="1843" y="371"/>
                  </a:cubicBezTo>
                  <a:cubicBezTo>
                    <a:pt x="1857" y="372"/>
                    <a:pt x="1869" y="385"/>
                    <a:pt x="1867" y="400"/>
                  </a:cubicBezTo>
                  <a:cubicBezTo>
                    <a:pt x="1866" y="415"/>
                    <a:pt x="1853" y="427"/>
                    <a:pt x="1838" y="426"/>
                  </a:cubicBezTo>
                  <a:cubicBezTo>
                    <a:pt x="1823" y="426"/>
                    <a:pt x="1812" y="413"/>
                    <a:pt x="1813" y="398"/>
                  </a:cubicBezTo>
                  <a:close/>
                  <a:moveTo>
                    <a:pt x="1881" y="452"/>
                  </a:moveTo>
                  <a:cubicBezTo>
                    <a:pt x="1896" y="452"/>
                    <a:pt x="1907" y="465"/>
                    <a:pt x="1906" y="480"/>
                  </a:cubicBezTo>
                  <a:cubicBezTo>
                    <a:pt x="1905" y="495"/>
                    <a:pt x="1892" y="507"/>
                    <a:pt x="1877" y="506"/>
                  </a:cubicBezTo>
                  <a:cubicBezTo>
                    <a:pt x="1862" y="506"/>
                    <a:pt x="1851" y="493"/>
                    <a:pt x="1852" y="478"/>
                  </a:cubicBezTo>
                  <a:cubicBezTo>
                    <a:pt x="1853" y="463"/>
                    <a:pt x="1866" y="451"/>
                    <a:pt x="1881" y="452"/>
                  </a:cubicBezTo>
                  <a:close/>
                  <a:moveTo>
                    <a:pt x="1898" y="401"/>
                  </a:moveTo>
                  <a:cubicBezTo>
                    <a:pt x="1899" y="386"/>
                    <a:pt x="1912" y="375"/>
                    <a:pt x="1927" y="375"/>
                  </a:cubicBezTo>
                  <a:cubicBezTo>
                    <a:pt x="1941" y="376"/>
                    <a:pt x="1953" y="388"/>
                    <a:pt x="1952" y="404"/>
                  </a:cubicBezTo>
                  <a:cubicBezTo>
                    <a:pt x="1951" y="419"/>
                    <a:pt x="1938" y="431"/>
                    <a:pt x="1923" y="430"/>
                  </a:cubicBezTo>
                  <a:cubicBezTo>
                    <a:pt x="1908" y="429"/>
                    <a:pt x="1897" y="417"/>
                    <a:pt x="1898" y="401"/>
                  </a:cubicBezTo>
                  <a:close/>
                  <a:moveTo>
                    <a:pt x="1966" y="455"/>
                  </a:moveTo>
                  <a:cubicBezTo>
                    <a:pt x="1981" y="455"/>
                    <a:pt x="1993" y="468"/>
                    <a:pt x="1992" y="483"/>
                  </a:cubicBezTo>
                  <a:cubicBezTo>
                    <a:pt x="1991" y="498"/>
                    <a:pt x="1978" y="510"/>
                    <a:pt x="1963" y="510"/>
                  </a:cubicBezTo>
                  <a:cubicBezTo>
                    <a:pt x="1948" y="509"/>
                    <a:pt x="1936" y="496"/>
                    <a:pt x="1937" y="481"/>
                  </a:cubicBezTo>
                  <a:cubicBezTo>
                    <a:pt x="1938" y="466"/>
                    <a:pt x="1951" y="454"/>
                    <a:pt x="1966" y="455"/>
                  </a:cubicBezTo>
                  <a:close/>
                  <a:moveTo>
                    <a:pt x="1982" y="405"/>
                  </a:moveTo>
                  <a:cubicBezTo>
                    <a:pt x="1983" y="389"/>
                    <a:pt x="1996" y="378"/>
                    <a:pt x="2011" y="378"/>
                  </a:cubicBezTo>
                  <a:cubicBezTo>
                    <a:pt x="2026" y="379"/>
                    <a:pt x="2037" y="391"/>
                    <a:pt x="2036" y="406"/>
                  </a:cubicBezTo>
                  <a:cubicBezTo>
                    <a:pt x="2036" y="421"/>
                    <a:pt x="2023" y="433"/>
                    <a:pt x="2008" y="433"/>
                  </a:cubicBezTo>
                  <a:cubicBezTo>
                    <a:pt x="1993" y="432"/>
                    <a:pt x="1981" y="420"/>
                    <a:pt x="1982" y="405"/>
                  </a:cubicBezTo>
                  <a:close/>
                  <a:moveTo>
                    <a:pt x="2052" y="458"/>
                  </a:moveTo>
                  <a:cubicBezTo>
                    <a:pt x="2067" y="458"/>
                    <a:pt x="2078" y="471"/>
                    <a:pt x="2078" y="486"/>
                  </a:cubicBezTo>
                  <a:cubicBezTo>
                    <a:pt x="2077" y="501"/>
                    <a:pt x="2064" y="513"/>
                    <a:pt x="2049" y="512"/>
                  </a:cubicBezTo>
                  <a:cubicBezTo>
                    <a:pt x="2034" y="512"/>
                    <a:pt x="2022" y="499"/>
                    <a:pt x="2023" y="484"/>
                  </a:cubicBezTo>
                  <a:cubicBezTo>
                    <a:pt x="2024" y="469"/>
                    <a:pt x="2037" y="457"/>
                    <a:pt x="2052" y="458"/>
                  </a:cubicBezTo>
                  <a:close/>
                  <a:moveTo>
                    <a:pt x="2067" y="407"/>
                  </a:moveTo>
                  <a:cubicBezTo>
                    <a:pt x="2067" y="392"/>
                    <a:pt x="2080" y="380"/>
                    <a:pt x="2095" y="381"/>
                  </a:cubicBezTo>
                  <a:cubicBezTo>
                    <a:pt x="2110" y="381"/>
                    <a:pt x="2121" y="393"/>
                    <a:pt x="2121" y="409"/>
                  </a:cubicBezTo>
                  <a:cubicBezTo>
                    <a:pt x="2120" y="424"/>
                    <a:pt x="2108" y="436"/>
                    <a:pt x="2093" y="435"/>
                  </a:cubicBezTo>
                  <a:cubicBezTo>
                    <a:pt x="2078" y="435"/>
                    <a:pt x="2066" y="422"/>
                    <a:pt x="2067" y="407"/>
                  </a:cubicBezTo>
                  <a:close/>
                  <a:moveTo>
                    <a:pt x="2137" y="460"/>
                  </a:moveTo>
                  <a:cubicBezTo>
                    <a:pt x="2152" y="460"/>
                    <a:pt x="2164" y="472"/>
                    <a:pt x="2163" y="487"/>
                  </a:cubicBezTo>
                  <a:cubicBezTo>
                    <a:pt x="2163" y="503"/>
                    <a:pt x="2150" y="515"/>
                    <a:pt x="2135" y="514"/>
                  </a:cubicBezTo>
                  <a:cubicBezTo>
                    <a:pt x="2120" y="514"/>
                    <a:pt x="2108" y="502"/>
                    <a:pt x="2109" y="486"/>
                  </a:cubicBezTo>
                  <a:cubicBezTo>
                    <a:pt x="2109" y="471"/>
                    <a:pt x="2122" y="459"/>
                    <a:pt x="2137" y="460"/>
                  </a:cubicBezTo>
                  <a:close/>
                  <a:moveTo>
                    <a:pt x="2151" y="409"/>
                  </a:moveTo>
                  <a:cubicBezTo>
                    <a:pt x="2152" y="394"/>
                    <a:pt x="2164" y="382"/>
                    <a:pt x="2179" y="382"/>
                  </a:cubicBezTo>
                  <a:cubicBezTo>
                    <a:pt x="2194" y="383"/>
                    <a:pt x="2205" y="395"/>
                    <a:pt x="2205" y="410"/>
                  </a:cubicBezTo>
                  <a:cubicBezTo>
                    <a:pt x="2205" y="425"/>
                    <a:pt x="2193" y="437"/>
                    <a:pt x="2178" y="437"/>
                  </a:cubicBezTo>
                  <a:cubicBezTo>
                    <a:pt x="2163" y="437"/>
                    <a:pt x="2151" y="424"/>
                    <a:pt x="2151" y="409"/>
                  </a:cubicBezTo>
                  <a:close/>
                  <a:moveTo>
                    <a:pt x="2197" y="335"/>
                  </a:moveTo>
                  <a:cubicBezTo>
                    <a:pt x="2197" y="320"/>
                    <a:pt x="2209" y="308"/>
                    <a:pt x="2224" y="308"/>
                  </a:cubicBezTo>
                  <a:cubicBezTo>
                    <a:pt x="2239" y="308"/>
                    <a:pt x="2250" y="320"/>
                    <a:pt x="2250" y="335"/>
                  </a:cubicBezTo>
                  <a:cubicBezTo>
                    <a:pt x="2250" y="351"/>
                    <a:pt x="2238" y="363"/>
                    <a:pt x="2223" y="362"/>
                  </a:cubicBezTo>
                  <a:cubicBezTo>
                    <a:pt x="2209" y="362"/>
                    <a:pt x="2197" y="350"/>
                    <a:pt x="2197" y="335"/>
                  </a:cubicBezTo>
                  <a:close/>
                  <a:moveTo>
                    <a:pt x="2263" y="384"/>
                  </a:moveTo>
                  <a:cubicBezTo>
                    <a:pt x="2278" y="384"/>
                    <a:pt x="2290" y="396"/>
                    <a:pt x="2290" y="411"/>
                  </a:cubicBezTo>
                  <a:cubicBezTo>
                    <a:pt x="2290" y="426"/>
                    <a:pt x="2278" y="438"/>
                    <a:pt x="2263" y="438"/>
                  </a:cubicBezTo>
                  <a:cubicBezTo>
                    <a:pt x="2248" y="438"/>
                    <a:pt x="2236" y="426"/>
                    <a:pt x="2236" y="411"/>
                  </a:cubicBezTo>
                  <a:cubicBezTo>
                    <a:pt x="2236" y="395"/>
                    <a:pt x="2248" y="383"/>
                    <a:pt x="2263" y="384"/>
                  </a:cubicBezTo>
                  <a:close/>
                  <a:moveTo>
                    <a:pt x="2280" y="336"/>
                  </a:moveTo>
                  <a:cubicBezTo>
                    <a:pt x="2280" y="321"/>
                    <a:pt x="2292" y="309"/>
                    <a:pt x="2307" y="309"/>
                  </a:cubicBezTo>
                  <a:cubicBezTo>
                    <a:pt x="2322" y="309"/>
                    <a:pt x="2334" y="321"/>
                    <a:pt x="2334" y="336"/>
                  </a:cubicBezTo>
                  <a:cubicBezTo>
                    <a:pt x="2334" y="351"/>
                    <a:pt x="2322" y="364"/>
                    <a:pt x="2307" y="363"/>
                  </a:cubicBezTo>
                  <a:cubicBezTo>
                    <a:pt x="2292" y="363"/>
                    <a:pt x="2280" y="351"/>
                    <a:pt x="2280" y="336"/>
                  </a:cubicBezTo>
                  <a:close/>
                  <a:moveTo>
                    <a:pt x="2347" y="384"/>
                  </a:moveTo>
                  <a:cubicBezTo>
                    <a:pt x="2362" y="384"/>
                    <a:pt x="2374" y="396"/>
                    <a:pt x="2374" y="412"/>
                  </a:cubicBezTo>
                  <a:cubicBezTo>
                    <a:pt x="2374" y="427"/>
                    <a:pt x="2362" y="439"/>
                    <a:pt x="2347" y="439"/>
                  </a:cubicBezTo>
                  <a:cubicBezTo>
                    <a:pt x="2332" y="439"/>
                    <a:pt x="2320" y="426"/>
                    <a:pt x="2320" y="411"/>
                  </a:cubicBezTo>
                  <a:cubicBezTo>
                    <a:pt x="2320" y="396"/>
                    <a:pt x="2332" y="384"/>
                    <a:pt x="2347" y="384"/>
                  </a:cubicBezTo>
                  <a:close/>
                  <a:moveTo>
                    <a:pt x="2364" y="336"/>
                  </a:moveTo>
                  <a:cubicBezTo>
                    <a:pt x="2364" y="321"/>
                    <a:pt x="2375" y="309"/>
                    <a:pt x="2390" y="309"/>
                  </a:cubicBezTo>
                  <a:cubicBezTo>
                    <a:pt x="2405" y="309"/>
                    <a:pt x="2417" y="321"/>
                    <a:pt x="2417" y="336"/>
                  </a:cubicBezTo>
                  <a:cubicBezTo>
                    <a:pt x="2417" y="351"/>
                    <a:pt x="2406" y="364"/>
                    <a:pt x="2391" y="364"/>
                  </a:cubicBezTo>
                  <a:cubicBezTo>
                    <a:pt x="2376" y="364"/>
                    <a:pt x="2364" y="351"/>
                    <a:pt x="2364" y="336"/>
                  </a:cubicBezTo>
                  <a:close/>
                  <a:moveTo>
                    <a:pt x="2431" y="384"/>
                  </a:moveTo>
                  <a:cubicBezTo>
                    <a:pt x="2446" y="384"/>
                    <a:pt x="2458" y="396"/>
                    <a:pt x="2459" y="411"/>
                  </a:cubicBezTo>
                  <a:cubicBezTo>
                    <a:pt x="2459" y="426"/>
                    <a:pt x="2447" y="439"/>
                    <a:pt x="2432" y="439"/>
                  </a:cubicBezTo>
                  <a:cubicBezTo>
                    <a:pt x="2417" y="439"/>
                    <a:pt x="2405" y="427"/>
                    <a:pt x="2405" y="412"/>
                  </a:cubicBezTo>
                  <a:cubicBezTo>
                    <a:pt x="2404" y="396"/>
                    <a:pt x="2416" y="384"/>
                    <a:pt x="2431" y="384"/>
                  </a:cubicBezTo>
                  <a:close/>
                  <a:moveTo>
                    <a:pt x="2447" y="336"/>
                  </a:moveTo>
                  <a:cubicBezTo>
                    <a:pt x="2447" y="321"/>
                    <a:pt x="2458" y="309"/>
                    <a:pt x="2473" y="309"/>
                  </a:cubicBezTo>
                  <a:cubicBezTo>
                    <a:pt x="2487" y="309"/>
                    <a:pt x="2500" y="321"/>
                    <a:pt x="2500" y="336"/>
                  </a:cubicBezTo>
                  <a:cubicBezTo>
                    <a:pt x="2501" y="351"/>
                    <a:pt x="2489" y="363"/>
                    <a:pt x="2475" y="363"/>
                  </a:cubicBezTo>
                  <a:cubicBezTo>
                    <a:pt x="2460" y="364"/>
                    <a:pt x="2448" y="351"/>
                    <a:pt x="2447" y="336"/>
                  </a:cubicBezTo>
                  <a:close/>
                  <a:moveTo>
                    <a:pt x="2515" y="384"/>
                  </a:moveTo>
                  <a:cubicBezTo>
                    <a:pt x="2530" y="383"/>
                    <a:pt x="2542" y="396"/>
                    <a:pt x="2543" y="411"/>
                  </a:cubicBezTo>
                  <a:cubicBezTo>
                    <a:pt x="2544" y="426"/>
                    <a:pt x="2532" y="438"/>
                    <a:pt x="2517" y="438"/>
                  </a:cubicBezTo>
                  <a:cubicBezTo>
                    <a:pt x="2502" y="438"/>
                    <a:pt x="2490" y="426"/>
                    <a:pt x="2489" y="411"/>
                  </a:cubicBezTo>
                  <a:cubicBezTo>
                    <a:pt x="2489" y="396"/>
                    <a:pt x="2500" y="384"/>
                    <a:pt x="2515" y="384"/>
                  </a:cubicBezTo>
                  <a:close/>
                  <a:moveTo>
                    <a:pt x="2530" y="336"/>
                  </a:moveTo>
                  <a:cubicBezTo>
                    <a:pt x="2530" y="321"/>
                    <a:pt x="2541" y="308"/>
                    <a:pt x="2556" y="308"/>
                  </a:cubicBezTo>
                  <a:cubicBezTo>
                    <a:pt x="2570" y="308"/>
                    <a:pt x="2583" y="320"/>
                    <a:pt x="2584" y="335"/>
                  </a:cubicBezTo>
                  <a:cubicBezTo>
                    <a:pt x="2584" y="350"/>
                    <a:pt x="2573" y="362"/>
                    <a:pt x="2558" y="363"/>
                  </a:cubicBezTo>
                  <a:cubicBezTo>
                    <a:pt x="2544" y="363"/>
                    <a:pt x="2531" y="351"/>
                    <a:pt x="2530" y="336"/>
                  </a:cubicBezTo>
                  <a:close/>
                  <a:moveTo>
                    <a:pt x="2599" y="382"/>
                  </a:moveTo>
                  <a:cubicBezTo>
                    <a:pt x="2614" y="382"/>
                    <a:pt x="2627" y="394"/>
                    <a:pt x="2628" y="409"/>
                  </a:cubicBezTo>
                  <a:cubicBezTo>
                    <a:pt x="2629" y="424"/>
                    <a:pt x="2617" y="437"/>
                    <a:pt x="2602" y="437"/>
                  </a:cubicBezTo>
                  <a:cubicBezTo>
                    <a:pt x="2587" y="437"/>
                    <a:pt x="2574" y="425"/>
                    <a:pt x="2574" y="410"/>
                  </a:cubicBezTo>
                  <a:cubicBezTo>
                    <a:pt x="2573" y="395"/>
                    <a:pt x="2584" y="383"/>
                    <a:pt x="2599" y="382"/>
                  </a:cubicBezTo>
                  <a:close/>
                  <a:moveTo>
                    <a:pt x="2639" y="307"/>
                  </a:moveTo>
                  <a:cubicBezTo>
                    <a:pt x="2653" y="306"/>
                    <a:pt x="2666" y="318"/>
                    <a:pt x="2667" y="333"/>
                  </a:cubicBezTo>
                  <a:cubicBezTo>
                    <a:pt x="2668" y="348"/>
                    <a:pt x="2657" y="361"/>
                    <a:pt x="2642" y="361"/>
                  </a:cubicBezTo>
                  <a:cubicBezTo>
                    <a:pt x="2627" y="361"/>
                    <a:pt x="2615" y="349"/>
                    <a:pt x="2614" y="334"/>
                  </a:cubicBezTo>
                  <a:cubicBezTo>
                    <a:pt x="2613" y="319"/>
                    <a:pt x="2624" y="307"/>
                    <a:pt x="2639" y="307"/>
                  </a:cubicBezTo>
                  <a:close/>
                  <a:moveTo>
                    <a:pt x="2683" y="381"/>
                  </a:moveTo>
                  <a:cubicBezTo>
                    <a:pt x="2698" y="380"/>
                    <a:pt x="2711" y="392"/>
                    <a:pt x="2712" y="407"/>
                  </a:cubicBezTo>
                  <a:cubicBezTo>
                    <a:pt x="2713" y="422"/>
                    <a:pt x="2702" y="435"/>
                    <a:pt x="2687" y="435"/>
                  </a:cubicBezTo>
                  <a:cubicBezTo>
                    <a:pt x="2672" y="435"/>
                    <a:pt x="2659" y="423"/>
                    <a:pt x="2658" y="408"/>
                  </a:cubicBezTo>
                  <a:cubicBezTo>
                    <a:pt x="2657" y="393"/>
                    <a:pt x="2668" y="381"/>
                    <a:pt x="2683" y="381"/>
                  </a:cubicBezTo>
                  <a:close/>
                  <a:moveTo>
                    <a:pt x="2722" y="305"/>
                  </a:moveTo>
                  <a:cubicBezTo>
                    <a:pt x="2736" y="304"/>
                    <a:pt x="2749" y="316"/>
                    <a:pt x="2750" y="331"/>
                  </a:cubicBezTo>
                  <a:cubicBezTo>
                    <a:pt x="2752" y="346"/>
                    <a:pt x="2741" y="359"/>
                    <a:pt x="2726" y="359"/>
                  </a:cubicBezTo>
                  <a:cubicBezTo>
                    <a:pt x="2711" y="359"/>
                    <a:pt x="2698" y="348"/>
                    <a:pt x="2697" y="333"/>
                  </a:cubicBezTo>
                  <a:cubicBezTo>
                    <a:pt x="2696" y="318"/>
                    <a:pt x="2707" y="305"/>
                    <a:pt x="2722" y="305"/>
                  </a:cubicBezTo>
                  <a:close/>
                  <a:moveTo>
                    <a:pt x="2767" y="378"/>
                  </a:moveTo>
                  <a:cubicBezTo>
                    <a:pt x="2782" y="378"/>
                    <a:pt x="2795" y="390"/>
                    <a:pt x="2797" y="405"/>
                  </a:cubicBezTo>
                  <a:cubicBezTo>
                    <a:pt x="2798" y="419"/>
                    <a:pt x="2787" y="432"/>
                    <a:pt x="2772" y="433"/>
                  </a:cubicBezTo>
                  <a:cubicBezTo>
                    <a:pt x="2757" y="433"/>
                    <a:pt x="2744" y="421"/>
                    <a:pt x="2743" y="406"/>
                  </a:cubicBezTo>
                  <a:cubicBezTo>
                    <a:pt x="2742" y="391"/>
                    <a:pt x="2753" y="379"/>
                    <a:pt x="2767" y="378"/>
                  </a:cubicBezTo>
                  <a:close/>
                  <a:moveTo>
                    <a:pt x="2819" y="454"/>
                  </a:moveTo>
                  <a:cubicBezTo>
                    <a:pt x="2834" y="454"/>
                    <a:pt x="2847" y="465"/>
                    <a:pt x="2849" y="480"/>
                  </a:cubicBezTo>
                  <a:cubicBezTo>
                    <a:pt x="2850" y="495"/>
                    <a:pt x="2839" y="508"/>
                    <a:pt x="2824" y="508"/>
                  </a:cubicBezTo>
                  <a:cubicBezTo>
                    <a:pt x="2809" y="509"/>
                    <a:pt x="2795" y="497"/>
                    <a:pt x="2794" y="482"/>
                  </a:cubicBezTo>
                  <a:cubicBezTo>
                    <a:pt x="2793" y="467"/>
                    <a:pt x="2804" y="455"/>
                    <a:pt x="2819" y="454"/>
                  </a:cubicBezTo>
                  <a:close/>
                  <a:moveTo>
                    <a:pt x="2851" y="375"/>
                  </a:moveTo>
                  <a:cubicBezTo>
                    <a:pt x="2866" y="375"/>
                    <a:pt x="2880" y="386"/>
                    <a:pt x="2881" y="401"/>
                  </a:cubicBezTo>
                  <a:cubicBezTo>
                    <a:pt x="2883" y="416"/>
                    <a:pt x="2872" y="429"/>
                    <a:pt x="2857" y="429"/>
                  </a:cubicBezTo>
                  <a:cubicBezTo>
                    <a:pt x="2842" y="430"/>
                    <a:pt x="2829" y="418"/>
                    <a:pt x="2827" y="403"/>
                  </a:cubicBezTo>
                  <a:cubicBezTo>
                    <a:pt x="2826" y="388"/>
                    <a:pt x="2837" y="376"/>
                    <a:pt x="2851" y="375"/>
                  </a:cubicBezTo>
                  <a:close/>
                  <a:moveTo>
                    <a:pt x="2904" y="451"/>
                  </a:moveTo>
                  <a:cubicBezTo>
                    <a:pt x="2919" y="450"/>
                    <a:pt x="2933" y="461"/>
                    <a:pt x="2934" y="476"/>
                  </a:cubicBezTo>
                  <a:cubicBezTo>
                    <a:pt x="2936" y="491"/>
                    <a:pt x="2925" y="504"/>
                    <a:pt x="2910" y="505"/>
                  </a:cubicBezTo>
                  <a:cubicBezTo>
                    <a:pt x="2895" y="505"/>
                    <a:pt x="2881" y="494"/>
                    <a:pt x="2880" y="479"/>
                  </a:cubicBezTo>
                  <a:cubicBezTo>
                    <a:pt x="2878" y="464"/>
                    <a:pt x="2889" y="451"/>
                    <a:pt x="2904" y="451"/>
                  </a:cubicBezTo>
                  <a:close/>
                  <a:moveTo>
                    <a:pt x="2935" y="372"/>
                  </a:moveTo>
                  <a:cubicBezTo>
                    <a:pt x="2950" y="371"/>
                    <a:pt x="2964" y="383"/>
                    <a:pt x="2966" y="397"/>
                  </a:cubicBezTo>
                  <a:cubicBezTo>
                    <a:pt x="2967" y="412"/>
                    <a:pt x="2957" y="425"/>
                    <a:pt x="2942" y="426"/>
                  </a:cubicBezTo>
                  <a:cubicBezTo>
                    <a:pt x="2927" y="426"/>
                    <a:pt x="2913" y="415"/>
                    <a:pt x="2912" y="400"/>
                  </a:cubicBezTo>
                  <a:cubicBezTo>
                    <a:pt x="2910" y="385"/>
                    <a:pt x="2921" y="372"/>
                    <a:pt x="2935" y="372"/>
                  </a:cubicBezTo>
                  <a:close/>
                  <a:moveTo>
                    <a:pt x="2989" y="447"/>
                  </a:moveTo>
                  <a:cubicBezTo>
                    <a:pt x="3004" y="446"/>
                    <a:pt x="3018" y="457"/>
                    <a:pt x="3020" y="472"/>
                  </a:cubicBezTo>
                  <a:cubicBezTo>
                    <a:pt x="3022" y="487"/>
                    <a:pt x="3011" y="500"/>
                    <a:pt x="2996" y="501"/>
                  </a:cubicBezTo>
                  <a:cubicBezTo>
                    <a:pt x="2981" y="501"/>
                    <a:pt x="2967" y="490"/>
                    <a:pt x="2965" y="475"/>
                  </a:cubicBezTo>
                  <a:cubicBezTo>
                    <a:pt x="2964" y="460"/>
                    <a:pt x="2974" y="447"/>
                    <a:pt x="2989" y="447"/>
                  </a:cubicBezTo>
                  <a:close/>
                  <a:moveTo>
                    <a:pt x="3040" y="519"/>
                  </a:moveTo>
                  <a:cubicBezTo>
                    <a:pt x="3055" y="518"/>
                    <a:pt x="3069" y="529"/>
                    <a:pt x="3071" y="544"/>
                  </a:cubicBezTo>
                  <a:cubicBezTo>
                    <a:pt x="3073" y="559"/>
                    <a:pt x="3062" y="572"/>
                    <a:pt x="3047" y="573"/>
                  </a:cubicBezTo>
                  <a:cubicBezTo>
                    <a:pt x="3031" y="574"/>
                    <a:pt x="3017" y="562"/>
                    <a:pt x="3015" y="547"/>
                  </a:cubicBezTo>
                  <a:cubicBezTo>
                    <a:pt x="3014" y="532"/>
                    <a:pt x="3024" y="520"/>
                    <a:pt x="3040" y="519"/>
                  </a:cubicBezTo>
                  <a:close/>
                  <a:moveTo>
                    <a:pt x="3075" y="442"/>
                  </a:moveTo>
                  <a:cubicBezTo>
                    <a:pt x="3090" y="441"/>
                    <a:pt x="3104" y="452"/>
                    <a:pt x="3106" y="467"/>
                  </a:cubicBezTo>
                  <a:cubicBezTo>
                    <a:pt x="3108" y="482"/>
                    <a:pt x="3097" y="495"/>
                    <a:pt x="3082" y="496"/>
                  </a:cubicBezTo>
                  <a:cubicBezTo>
                    <a:pt x="3067" y="497"/>
                    <a:pt x="3053" y="485"/>
                    <a:pt x="3051" y="470"/>
                  </a:cubicBezTo>
                  <a:cubicBezTo>
                    <a:pt x="3049" y="456"/>
                    <a:pt x="3060" y="443"/>
                    <a:pt x="3075" y="442"/>
                  </a:cubicBezTo>
                  <a:close/>
                  <a:moveTo>
                    <a:pt x="3126" y="514"/>
                  </a:moveTo>
                  <a:cubicBezTo>
                    <a:pt x="3141" y="513"/>
                    <a:pt x="3155" y="524"/>
                    <a:pt x="3158" y="539"/>
                  </a:cubicBezTo>
                  <a:cubicBezTo>
                    <a:pt x="3160" y="554"/>
                    <a:pt x="3149" y="566"/>
                    <a:pt x="3134" y="567"/>
                  </a:cubicBezTo>
                  <a:cubicBezTo>
                    <a:pt x="3119" y="568"/>
                    <a:pt x="3104" y="557"/>
                    <a:pt x="3102" y="542"/>
                  </a:cubicBezTo>
                  <a:cubicBezTo>
                    <a:pt x="3100" y="527"/>
                    <a:pt x="3111" y="515"/>
                    <a:pt x="3126" y="514"/>
                  </a:cubicBezTo>
                  <a:close/>
                  <a:moveTo>
                    <a:pt x="3160" y="437"/>
                  </a:moveTo>
                  <a:cubicBezTo>
                    <a:pt x="3175" y="436"/>
                    <a:pt x="3189" y="447"/>
                    <a:pt x="3191" y="462"/>
                  </a:cubicBezTo>
                  <a:cubicBezTo>
                    <a:pt x="3194" y="477"/>
                    <a:pt x="3183" y="489"/>
                    <a:pt x="3168" y="490"/>
                  </a:cubicBezTo>
                  <a:cubicBezTo>
                    <a:pt x="3153" y="491"/>
                    <a:pt x="3139" y="480"/>
                    <a:pt x="3137" y="465"/>
                  </a:cubicBezTo>
                  <a:cubicBezTo>
                    <a:pt x="3134" y="450"/>
                    <a:pt x="3145" y="438"/>
                    <a:pt x="3160" y="437"/>
                  </a:cubicBezTo>
                  <a:close/>
                  <a:moveTo>
                    <a:pt x="3212" y="508"/>
                  </a:moveTo>
                  <a:cubicBezTo>
                    <a:pt x="3227" y="507"/>
                    <a:pt x="3242" y="518"/>
                    <a:pt x="3244" y="533"/>
                  </a:cubicBezTo>
                  <a:cubicBezTo>
                    <a:pt x="3247" y="548"/>
                    <a:pt x="3236" y="561"/>
                    <a:pt x="3221" y="562"/>
                  </a:cubicBezTo>
                  <a:cubicBezTo>
                    <a:pt x="3206" y="563"/>
                    <a:pt x="3191" y="552"/>
                    <a:pt x="3189" y="537"/>
                  </a:cubicBezTo>
                  <a:cubicBezTo>
                    <a:pt x="3187" y="522"/>
                    <a:pt x="3197" y="509"/>
                    <a:pt x="3212" y="508"/>
                  </a:cubicBezTo>
                  <a:close/>
                  <a:moveTo>
                    <a:pt x="3245" y="431"/>
                  </a:moveTo>
                  <a:cubicBezTo>
                    <a:pt x="3260" y="430"/>
                    <a:pt x="3274" y="441"/>
                    <a:pt x="3277" y="456"/>
                  </a:cubicBezTo>
                  <a:cubicBezTo>
                    <a:pt x="3279" y="470"/>
                    <a:pt x="3269" y="483"/>
                    <a:pt x="3254" y="484"/>
                  </a:cubicBezTo>
                  <a:cubicBezTo>
                    <a:pt x="3239" y="486"/>
                    <a:pt x="3225" y="474"/>
                    <a:pt x="3222" y="460"/>
                  </a:cubicBezTo>
                  <a:cubicBezTo>
                    <a:pt x="3220" y="445"/>
                    <a:pt x="3230" y="432"/>
                    <a:pt x="3245" y="431"/>
                  </a:cubicBezTo>
                  <a:close/>
                  <a:moveTo>
                    <a:pt x="3298" y="502"/>
                  </a:moveTo>
                  <a:cubicBezTo>
                    <a:pt x="3314" y="500"/>
                    <a:pt x="3328" y="511"/>
                    <a:pt x="3331" y="526"/>
                  </a:cubicBezTo>
                  <a:cubicBezTo>
                    <a:pt x="3334" y="541"/>
                    <a:pt x="3324" y="554"/>
                    <a:pt x="3308" y="555"/>
                  </a:cubicBezTo>
                  <a:cubicBezTo>
                    <a:pt x="3293" y="556"/>
                    <a:pt x="3278" y="545"/>
                    <a:pt x="3276" y="530"/>
                  </a:cubicBezTo>
                  <a:cubicBezTo>
                    <a:pt x="3273" y="516"/>
                    <a:pt x="3283" y="503"/>
                    <a:pt x="3298" y="502"/>
                  </a:cubicBezTo>
                  <a:close/>
                  <a:moveTo>
                    <a:pt x="3330" y="424"/>
                  </a:moveTo>
                  <a:cubicBezTo>
                    <a:pt x="3345" y="423"/>
                    <a:pt x="3359" y="434"/>
                    <a:pt x="3362" y="449"/>
                  </a:cubicBezTo>
                  <a:cubicBezTo>
                    <a:pt x="3365" y="464"/>
                    <a:pt x="3355" y="477"/>
                    <a:pt x="3340" y="478"/>
                  </a:cubicBezTo>
                  <a:cubicBezTo>
                    <a:pt x="3325" y="479"/>
                    <a:pt x="3310" y="468"/>
                    <a:pt x="3308" y="453"/>
                  </a:cubicBezTo>
                  <a:cubicBezTo>
                    <a:pt x="3305" y="438"/>
                    <a:pt x="3315" y="426"/>
                    <a:pt x="3330" y="424"/>
                  </a:cubicBezTo>
                  <a:close/>
                  <a:moveTo>
                    <a:pt x="3385" y="495"/>
                  </a:moveTo>
                  <a:cubicBezTo>
                    <a:pt x="3400" y="493"/>
                    <a:pt x="3415" y="504"/>
                    <a:pt x="3418" y="519"/>
                  </a:cubicBezTo>
                  <a:cubicBezTo>
                    <a:pt x="3421" y="534"/>
                    <a:pt x="3411" y="547"/>
                    <a:pt x="3395" y="548"/>
                  </a:cubicBezTo>
                  <a:cubicBezTo>
                    <a:pt x="3380" y="549"/>
                    <a:pt x="3365" y="538"/>
                    <a:pt x="3362" y="524"/>
                  </a:cubicBezTo>
                  <a:cubicBezTo>
                    <a:pt x="3360" y="509"/>
                    <a:pt x="3370" y="496"/>
                    <a:pt x="3385" y="495"/>
                  </a:cubicBezTo>
                  <a:close/>
                  <a:moveTo>
                    <a:pt x="3448" y="669"/>
                  </a:moveTo>
                  <a:cubicBezTo>
                    <a:pt x="3451" y="683"/>
                    <a:pt x="3440" y="697"/>
                    <a:pt x="3425" y="698"/>
                  </a:cubicBezTo>
                  <a:cubicBezTo>
                    <a:pt x="3409" y="699"/>
                    <a:pt x="3394" y="688"/>
                    <a:pt x="3391" y="674"/>
                  </a:cubicBezTo>
                  <a:cubicBezTo>
                    <a:pt x="3388" y="659"/>
                    <a:pt x="3399" y="646"/>
                    <a:pt x="3414" y="644"/>
                  </a:cubicBezTo>
                  <a:cubicBezTo>
                    <a:pt x="3430" y="643"/>
                    <a:pt x="3445" y="654"/>
                    <a:pt x="3448" y="669"/>
                  </a:cubicBezTo>
                  <a:close/>
                  <a:moveTo>
                    <a:pt x="3446" y="567"/>
                  </a:moveTo>
                  <a:cubicBezTo>
                    <a:pt x="3461" y="566"/>
                    <a:pt x="3476" y="576"/>
                    <a:pt x="3479" y="591"/>
                  </a:cubicBezTo>
                  <a:cubicBezTo>
                    <a:pt x="3482" y="606"/>
                    <a:pt x="3472" y="619"/>
                    <a:pt x="3457" y="620"/>
                  </a:cubicBezTo>
                  <a:cubicBezTo>
                    <a:pt x="3441" y="622"/>
                    <a:pt x="3426" y="611"/>
                    <a:pt x="3423" y="596"/>
                  </a:cubicBezTo>
                  <a:cubicBezTo>
                    <a:pt x="3420" y="581"/>
                    <a:pt x="3430" y="568"/>
                    <a:pt x="3446" y="567"/>
                  </a:cubicBezTo>
                  <a:close/>
                  <a:moveTo>
                    <a:pt x="3471" y="487"/>
                  </a:moveTo>
                  <a:cubicBezTo>
                    <a:pt x="3486" y="486"/>
                    <a:pt x="3501" y="496"/>
                    <a:pt x="3504" y="511"/>
                  </a:cubicBezTo>
                  <a:cubicBezTo>
                    <a:pt x="3507" y="526"/>
                    <a:pt x="3498" y="539"/>
                    <a:pt x="3482" y="540"/>
                  </a:cubicBezTo>
                  <a:cubicBezTo>
                    <a:pt x="3467" y="542"/>
                    <a:pt x="3452" y="531"/>
                    <a:pt x="3449" y="516"/>
                  </a:cubicBezTo>
                  <a:cubicBezTo>
                    <a:pt x="3446" y="502"/>
                    <a:pt x="3456" y="488"/>
                    <a:pt x="3471" y="487"/>
                  </a:cubicBezTo>
                  <a:close/>
                  <a:moveTo>
                    <a:pt x="3537" y="661"/>
                  </a:moveTo>
                  <a:cubicBezTo>
                    <a:pt x="3540" y="675"/>
                    <a:pt x="3530" y="688"/>
                    <a:pt x="3514" y="690"/>
                  </a:cubicBezTo>
                  <a:cubicBezTo>
                    <a:pt x="3498" y="691"/>
                    <a:pt x="3483" y="681"/>
                    <a:pt x="3480" y="666"/>
                  </a:cubicBezTo>
                  <a:cubicBezTo>
                    <a:pt x="3477" y="651"/>
                    <a:pt x="3487" y="638"/>
                    <a:pt x="3503" y="637"/>
                  </a:cubicBezTo>
                  <a:cubicBezTo>
                    <a:pt x="3518" y="635"/>
                    <a:pt x="3533" y="646"/>
                    <a:pt x="3537" y="661"/>
                  </a:cubicBezTo>
                  <a:close/>
                  <a:moveTo>
                    <a:pt x="3533" y="559"/>
                  </a:moveTo>
                  <a:cubicBezTo>
                    <a:pt x="3548" y="557"/>
                    <a:pt x="3564" y="568"/>
                    <a:pt x="3567" y="583"/>
                  </a:cubicBezTo>
                  <a:cubicBezTo>
                    <a:pt x="3570" y="597"/>
                    <a:pt x="3560" y="611"/>
                    <a:pt x="3545" y="612"/>
                  </a:cubicBezTo>
                  <a:cubicBezTo>
                    <a:pt x="3529" y="614"/>
                    <a:pt x="3514" y="603"/>
                    <a:pt x="3511" y="588"/>
                  </a:cubicBezTo>
                  <a:cubicBezTo>
                    <a:pt x="3508" y="573"/>
                    <a:pt x="3518" y="560"/>
                    <a:pt x="3533" y="559"/>
                  </a:cubicBezTo>
                  <a:close/>
                  <a:moveTo>
                    <a:pt x="3557" y="479"/>
                  </a:moveTo>
                  <a:cubicBezTo>
                    <a:pt x="3572" y="477"/>
                    <a:pt x="3587" y="488"/>
                    <a:pt x="3591" y="503"/>
                  </a:cubicBezTo>
                  <a:cubicBezTo>
                    <a:pt x="3594" y="517"/>
                    <a:pt x="3585" y="531"/>
                    <a:pt x="3569" y="532"/>
                  </a:cubicBezTo>
                  <a:cubicBezTo>
                    <a:pt x="3554" y="534"/>
                    <a:pt x="3539" y="523"/>
                    <a:pt x="3536" y="508"/>
                  </a:cubicBezTo>
                  <a:cubicBezTo>
                    <a:pt x="3532" y="494"/>
                    <a:pt x="3542" y="480"/>
                    <a:pt x="3557" y="479"/>
                  </a:cubicBezTo>
                  <a:close/>
                  <a:moveTo>
                    <a:pt x="3626" y="652"/>
                  </a:moveTo>
                  <a:cubicBezTo>
                    <a:pt x="3629" y="666"/>
                    <a:pt x="3619" y="680"/>
                    <a:pt x="3603" y="681"/>
                  </a:cubicBezTo>
                  <a:cubicBezTo>
                    <a:pt x="3588" y="683"/>
                    <a:pt x="3572" y="672"/>
                    <a:pt x="3569" y="657"/>
                  </a:cubicBezTo>
                  <a:cubicBezTo>
                    <a:pt x="3566" y="643"/>
                    <a:pt x="3576" y="630"/>
                    <a:pt x="3591" y="628"/>
                  </a:cubicBezTo>
                  <a:cubicBezTo>
                    <a:pt x="3607" y="626"/>
                    <a:pt x="3622" y="637"/>
                    <a:pt x="3626" y="652"/>
                  </a:cubicBezTo>
                  <a:close/>
                  <a:moveTo>
                    <a:pt x="3620" y="550"/>
                  </a:moveTo>
                  <a:cubicBezTo>
                    <a:pt x="3636" y="549"/>
                    <a:pt x="3651" y="559"/>
                    <a:pt x="3655" y="574"/>
                  </a:cubicBezTo>
                  <a:cubicBezTo>
                    <a:pt x="3658" y="588"/>
                    <a:pt x="3648" y="602"/>
                    <a:pt x="3633" y="603"/>
                  </a:cubicBezTo>
                  <a:cubicBezTo>
                    <a:pt x="3617" y="605"/>
                    <a:pt x="3602" y="594"/>
                    <a:pt x="3599" y="580"/>
                  </a:cubicBezTo>
                  <a:cubicBezTo>
                    <a:pt x="3595" y="565"/>
                    <a:pt x="3605" y="552"/>
                    <a:pt x="3620" y="550"/>
                  </a:cubicBezTo>
                  <a:close/>
                  <a:moveTo>
                    <a:pt x="3643" y="470"/>
                  </a:moveTo>
                  <a:cubicBezTo>
                    <a:pt x="3658" y="469"/>
                    <a:pt x="3674" y="479"/>
                    <a:pt x="3677" y="494"/>
                  </a:cubicBezTo>
                  <a:cubicBezTo>
                    <a:pt x="3681" y="508"/>
                    <a:pt x="3672" y="522"/>
                    <a:pt x="3656" y="523"/>
                  </a:cubicBezTo>
                  <a:cubicBezTo>
                    <a:pt x="3641" y="525"/>
                    <a:pt x="3626" y="514"/>
                    <a:pt x="3622" y="500"/>
                  </a:cubicBezTo>
                  <a:cubicBezTo>
                    <a:pt x="3619" y="485"/>
                    <a:pt x="3628" y="472"/>
                    <a:pt x="3643" y="470"/>
                  </a:cubicBezTo>
                  <a:close/>
                  <a:moveTo>
                    <a:pt x="3680" y="619"/>
                  </a:moveTo>
                  <a:cubicBezTo>
                    <a:pt x="3695" y="617"/>
                    <a:pt x="3711" y="628"/>
                    <a:pt x="3714" y="642"/>
                  </a:cubicBezTo>
                  <a:cubicBezTo>
                    <a:pt x="3718" y="657"/>
                    <a:pt x="3708" y="670"/>
                    <a:pt x="3693" y="672"/>
                  </a:cubicBezTo>
                  <a:cubicBezTo>
                    <a:pt x="3677" y="674"/>
                    <a:pt x="3661" y="663"/>
                    <a:pt x="3658" y="648"/>
                  </a:cubicBezTo>
                  <a:cubicBezTo>
                    <a:pt x="3654" y="634"/>
                    <a:pt x="3664" y="620"/>
                    <a:pt x="3680" y="619"/>
                  </a:cubicBezTo>
                  <a:close/>
                  <a:moveTo>
                    <a:pt x="3708" y="541"/>
                  </a:moveTo>
                  <a:cubicBezTo>
                    <a:pt x="3723" y="539"/>
                    <a:pt x="3739" y="550"/>
                    <a:pt x="3742" y="564"/>
                  </a:cubicBezTo>
                  <a:cubicBezTo>
                    <a:pt x="3746" y="579"/>
                    <a:pt x="3737" y="592"/>
                    <a:pt x="3721" y="594"/>
                  </a:cubicBezTo>
                  <a:cubicBezTo>
                    <a:pt x="3706" y="595"/>
                    <a:pt x="3690" y="585"/>
                    <a:pt x="3686" y="570"/>
                  </a:cubicBezTo>
                  <a:cubicBezTo>
                    <a:pt x="3683" y="556"/>
                    <a:pt x="3692" y="542"/>
                    <a:pt x="3708" y="541"/>
                  </a:cubicBezTo>
                  <a:close/>
                  <a:moveTo>
                    <a:pt x="3729" y="461"/>
                  </a:moveTo>
                  <a:cubicBezTo>
                    <a:pt x="3744" y="459"/>
                    <a:pt x="3760" y="469"/>
                    <a:pt x="3764" y="484"/>
                  </a:cubicBezTo>
                  <a:cubicBezTo>
                    <a:pt x="3768" y="499"/>
                    <a:pt x="3758" y="512"/>
                    <a:pt x="3743" y="514"/>
                  </a:cubicBezTo>
                  <a:cubicBezTo>
                    <a:pt x="3728" y="515"/>
                    <a:pt x="3712" y="505"/>
                    <a:pt x="3709" y="490"/>
                  </a:cubicBezTo>
                  <a:cubicBezTo>
                    <a:pt x="3705" y="476"/>
                    <a:pt x="3714" y="462"/>
                    <a:pt x="3729" y="461"/>
                  </a:cubicBezTo>
                  <a:close/>
                  <a:moveTo>
                    <a:pt x="3768" y="609"/>
                  </a:moveTo>
                  <a:cubicBezTo>
                    <a:pt x="3784" y="607"/>
                    <a:pt x="3799" y="618"/>
                    <a:pt x="3803" y="632"/>
                  </a:cubicBezTo>
                  <a:cubicBezTo>
                    <a:pt x="3807" y="647"/>
                    <a:pt x="3797" y="660"/>
                    <a:pt x="3782" y="662"/>
                  </a:cubicBezTo>
                  <a:cubicBezTo>
                    <a:pt x="3766" y="664"/>
                    <a:pt x="3750" y="653"/>
                    <a:pt x="3746" y="639"/>
                  </a:cubicBezTo>
                  <a:cubicBezTo>
                    <a:pt x="3743" y="624"/>
                    <a:pt x="3752" y="611"/>
                    <a:pt x="3768" y="609"/>
                  </a:cubicBezTo>
                  <a:close/>
                  <a:moveTo>
                    <a:pt x="3795" y="531"/>
                  </a:moveTo>
                  <a:cubicBezTo>
                    <a:pt x="3810" y="529"/>
                    <a:pt x="3826" y="539"/>
                    <a:pt x="3830" y="554"/>
                  </a:cubicBezTo>
                  <a:cubicBezTo>
                    <a:pt x="3834" y="568"/>
                    <a:pt x="3825" y="582"/>
                    <a:pt x="3809" y="584"/>
                  </a:cubicBezTo>
                  <a:cubicBezTo>
                    <a:pt x="3794" y="585"/>
                    <a:pt x="3778" y="575"/>
                    <a:pt x="3774" y="561"/>
                  </a:cubicBezTo>
                  <a:cubicBezTo>
                    <a:pt x="3770" y="546"/>
                    <a:pt x="3780" y="533"/>
                    <a:pt x="3795" y="531"/>
                  </a:cubicBezTo>
                  <a:close/>
                  <a:moveTo>
                    <a:pt x="3815" y="451"/>
                  </a:moveTo>
                  <a:cubicBezTo>
                    <a:pt x="3830" y="449"/>
                    <a:pt x="3846" y="459"/>
                    <a:pt x="3850" y="474"/>
                  </a:cubicBezTo>
                  <a:cubicBezTo>
                    <a:pt x="3854" y="488"/>
                    <a:pt x="3845" y="502"/>
                    <a:pt x="3830" y="503"/>
                  </a:cubicBezTo>
                  <a:cubicBezTo>
                    <a:pt x="3815" y="505"/>
                    <a:pt x="3799" y="495"/>
                    <a:pt x="3795" y="480"/>
                  </a:cubicBezTo>
                  <a:cubicBezTo>
                    <a:pt x="3791" y="466"/>
                    <a:pt x="3800" y="453"/>
                    <a:pt x="3815" y="451"/>
                  </a:cubicBezTo>
                  <a:close/>
                  <a:moveTo>
                    <a:pt x="3856" y="598"/>
                  </a:moveTo>
                  <a:cubicBezTo>
                    <a:pt x="3872" y="597"/>
                    <a:pt x="3888" y="607"/>
                    <a:pt x="3892" y="621"/>
                  </a:cubicBezTo>
                  <a:cubicBezTo>
                    <a:pt x="3896" y="636"/>
                    <a:pt x="3887" y="649"/>
                    <a:pt x="3871" y="651"/>
                  </a:cubicBezTo>
                  <a:cubicBezTo>
                    <a:pt x="3855" y="653"/>
                    <a:pt x="3839" y="643"/>
                    <a:pt x="3835" y="628"/>
                  </a:cubicBezTo>
                  <a:cubicBezTo>
                    <a:pt x="3831" y="614"/>
                    <a:pt x="3841" y="600"/>
                    <a:pt x="3856" y="598"/>
                  </a:cubicBezTo>
                  <a:close/>
                  <a:moveTo>
                    <a:pt x="3882" y="520"/>
                  </a:moveTo>
                  <a:cubicBezTo>
                    <a:pt x="3897" y="518"/>
                    <a:pt x="3913" y="529"/>
                    <a:pt x="3918" y="543"/>
                  </a:cubicBezTo>
                  <a:cubicBezTo>
                    <a:pt x="3922" y="558"/>
                    <a:pt x="3913" y="571"/>
                    <a:pt x="3897" y="573"/>
                  </a:cubicBezTo>
                  <a:cubicBezTo>
                    <a:pt x="3882" y="575"/>
                    <a:pt x="3866" y="565"/>
                    <a:pt x="3862" y="550"/>
                  </a:cubicBezTo>
                  <a:cubicBezTo>
                    <a:pt x="3858" y="535"/>
                    <a:pt x="3867" y="522"/>
                    <a:pt x="3882" y="520"/>
                  </a:cubicBezTo>
                  <a:close/>
                  <a:moveTo>
                    <a:pt x="3901" y="440"/>
                  </a:moveTo>
                  <a:cubicBezTo>
                    <a:pt x="3916" y="438"/>
                    <a:pt x="3932" y="448"/>
                    <a:pt x="3937" y="463"/>
                  </a:cubicBezTo>
                  <a:cubicBezTo>
                    <a:pt x="3941" y="477"/>
                    <a:pt x="3932" y="491"/>
                    <a:pt x="3917" y="493"/>
                  </a:cubicBezTo>
                  <a:cubicBezTo>
                    <a:pt x="3901" y="495"/>
                    <a:pt x="3886" y="484"/>
                    <a:pt x="3881" y="470"/>
                  </a:cubicBezTo>
                  <a:cubicBezTo>
                    <a:pt x="3877" y="455"/>
                    <a:pt x="3886" y="442"/>
                    <a:pt x="3901" y="440"/>
                  </a:cubicBezTo>
                  <a:close/>
                  <a:moveTo>
                    <a:pt x="3945" y="587"/>
                  </a:moveTo>
                  <a:cubicBezTo>
                    <a:pt x="3960" y="585"/>
                    <a:pt x="3976" y="595"/>
                    <a:pt x="3981" y="610"/>
                  </a:cubicBezTo>
                  <a:cubicBezTo>
                    <a:pt x="3985" y="624"/>
                    <a:pt x="3976" y="638"/>
                    <a:pt x="3960" y="640"/>
                  </a:cubicBezTo>
                  <a:cubicBezTo>
                    <a:pt x="3944" y="642"/>
                    <a:pt x="3928" y="632"/>
                    <a:pt x="3924" y="617"/>
                  </a:cubicBezTo>
                  <a:cubicBezTo>
                    <a:pt x="3920" y="603"/>
                    <a:pt x="3929" y="589"/>
                    <a:pt x="3945" y="587"/>
                  </a:cubicBezTo>
                  <a:close/>
                  <a:moveTo>
                    <a:pt x="3969" y="509"/>
                  </a:moveTo>
                  <a:cubicBezTo>
                    <a:pt x="3985" y="507"/>
                    <a:pt x="4001" y="517"/>
                    <a:pt x="4005" y="532"/>
                  </a:cubicBezTo>
                  <a:cubicBezTo>
                    <a:pt x="4009" y="546"/>
                    <a:pt x="4001" y="559"/>
                    <a:pt x="3985" y="562"/>
                  </a:cubicBezTo>
                  <a:cubicBezTo>
                    <a:pt x="3970" y="564"/>
                    <a:pt x="3953" y="553"/>
                    <a:pt x="3949" y="539"/>
                  </a:cubicBezTo>
                  <a:cubicBezTo>
                    <a:pt x="3945" y="524"/>
                    <a:pt x="3954" y="511"/>
                    <a:pt x="3969" y="509"/>
                  </a:cubicBezTo>
                  <a:close/>
                  <a:moveTo>
                    <a:pt x="3987" y="429"/>
                  </a:moveTo>
                  <a:cubicBezTo>
                    <a:pt x="4002" y="427"/>
                    <a:pt x="4018" y="437"/>
                    <a:pt x="4023" y="451"/>
                  </a:cubicBezTo>
                  <a:cubicBezTo>
                    <a:pt x="4027" y="466"/>
                    <a:pt x="4019" y="479"/>
                    <a:pt x="4003" y="481"/>
                  </a:cubicBezTo>
                  <a:cubicBezTo>
                    <a:pt x="3988" y="483"/>
                    <a:pt x="3972" y="473"/>
                    <a:pt x="3968" y="459"/>
                  </a:cubicBezTo>
                  <a:cubicBezTo>
                    <a:pt x="3963" y="444"/>
                    <a:pt x="3972" y="431"/>
                    <a:pt x="3987" y="429"/>
                  </a:cubicBezTo>
                  <a:close/>
                  <a:moveTo>
                    <a:pt x="4033" y="576"/>
                  </a:moveTo>
                  <a:cubicBezTo>
                    <a:pt x="4048" y="574"/>
                    <a:pt x="4065" y="584"/>
                    <a:pt x="4069" y="598"/>
                  </a:cubicBezTo>
                  <a:cubicBezTo>
                    <a:pt x="4074" y="612"/>
                    <a:pt x="4065" y="626"/>
                    <a:pt x="4049" y="628"/>
                  </a:cubicBezTo>
                  <a:cubicBezTo>
                    <a:pt x="4033" y="630"/>
                    <a:pt x="4017" y="620"/>
                    <a:pt x="4013" y="606"/>
                  </a:cubicBezTo>
                  <a:cubicBezTo>
                    <a:pt x="4008" y="591"/>
                    <a:pt x="4017" y="578"/>
                    <a:pt x="4033" y="576"/>
                  </a:cubicBezTo>
                  <a:close/>
                  <a:moveTo>
                    <a:pt x="4056" y="497"/>
                  </a:moveTo>
                  <a:cubicBezTo>
                    <a:pt x="4072" y="495"/>
                    <a:pt x="4088" y="505"/>
                    <a:pt x="4092" y="519"/>
                  </a:cubicBezTo>
                  <a:cubicBezTo>
                    <a:pt x="4097" y="534"/>
                    <a:pt x="4088" y="547"/>
                    <a:pt x="4073" y="550"/>
                  </a:cubicBezTo>
                  <a:cubicBezTo>
                    <a:pt x="4057" y="552"/>
                    <a:pt x="4041" y="542"/>
                    <a:pt x="4037" y="527"/>
                  </a:cubicBezTo>
                  <a:cubicBezTo>
                    <a:pt x="4032" y="513"/>
                    <a:pt x="4041" y="499"/>
                    <a:pt x="4056" y="497"/>
                  </a:cubicBezTo>
                  <a:close/>
                  <a:moveTo>
                    <a:pt x="4103" y="644"/>
                  </a:moveTo>
                  <a:cubicBezTo>
                    <a:pt x="4119" y="642"/>
                    <a:pt x="4135" y="651"/>
                    <a:pt x="4140" y="666"/>
                  </a:cubicBezTo>
                  <a:cubicBezTo>
                    <a:pt x="4145" y="680"/>
                    <a:pt x="4136" y="694"/>
                    <a:pt x="4120" y="696"/>
                  </a:cubicBezTo>
                  <a:cubicBezTo>
                    <a:pt x="4104" y="698"/>
                    <a:pt x="4087" y="688"/>
                    <a:pt x="4083" y="674"/>
                  </a:cubicBezTo>
                  <a:cubicBezTo>
                    <a:pt x="4078" y="660"/>
                    <a:pt x="4087" y="646"/>
                    <a:pt x="4103" y="644"/>
                  </a:cubicBezTo>
                  <a:close/>
                  <a:moveTo>
                    <a:pt x="4121" y="563"/>
                  </a:moveTo>
                  <a:cubicBezTo>
                    <a:pt x="4136" y="561"/>
                    <a:pt x="4153" y="571"/>
                    <a:pt x="4158" y="585"/>
                  </a:cubicBezTo>
                  <a:cubicBezTo>
                    <a:pt x="4162" y="600"/>
                    <a:pt x="4154" y="613"/>
                    <a:pt x="4138" y="616"/>
                  </a:cubicBezTo>
                  <a:cubicBezTo>
                    <a:pt x="4122" y="618"/>
                    <a:pt x="4106" y="608"/>
                    <a:pt x="4101" y="593"/>
                  </a:cubicBezTo>
                  <a:cubicBezTo>
                    <a:pt x="4097" y="579"/>
                    <a:pt x="4105" y="566"/>
                    <a:pt x="4121" y="563"/>
                  </a:cubicBezTo>
                  <a:close/>
                  <a:moveTo>
                    <a:pt x="4143" y="485"/>
                  </a:moveTo>
                  <a:cubicBezTo>
                    <a:pt x="4159" y="483"/>
                    <a:pt x="4175" y="492"/>
                    <a:pt x="4180" y="507"/>
                  </a:cubicBezTo>
                  <a:cubicBezTo>
                    <a:pt x="4185" y="521"/>
                    <a:pt x="4176" y="535"/>
                    <a:pt x="4161" y="537"/>
                  </a:cubicBezTo>
                  <a:cubicBezTo>
                    <a:pt x="4145" y="539"/>
                    <a:pt x="4129" y="529"/>
                    <a:pt x="4124" y="515"/>
                  </a:cubicBezTo>
                  <a:cubicBezTo>
                    <a:pt x="4119" y="500"/>
                    <a:pt x="4128" y="487"/>
                    <a:pt x="4143" y="485"/>
                  </a:cubicBezTo>
                  <a:close/>
                  <a:moveTo>
                    <a:pt x="4192" y="631"/>
                  </a:moveTo>
                  <a:cubicBezTo>
                    <a:pt x="4208" y="629"/>
                    <a:pt x="4225" y="638"/>
                    <a:pt x="4230" y="653"/>
                  </a:cubicBezTo>
                  <a:cubicBezTo>
                    <a:pt x="4235" y="667"/>
                    <a:pt x="4226" y="681"/>
                    <a:pt x="4210" y="683"/>
                  </a:cubicBezTo>
                  <a:cubicBezTo>
                    <a:pt x="4194" y="685"/>
                    <a:pt x="4177" y="676"/>
                    <a:pt x="4172" y="661"/>
                  </a:cubicBezTo>
                  <a:cubicBezTo>
                    <a:pt x="4168" y="647"/>
                    <a:pt x="4177" y="633"/>
                    <a:pt x="4192" y="631"/>
                  </a:cubicBezTo>
                  <a:close/>
                  <a:moveTo>
                    <a:pt x="4209" y="550"/>
                  </a:moveTo>
                  <a:cubicBezTo>
                    <a:pt x="4225" y="548"/>
                    <a:pt x="4241" y="558"/>
                    <a:pt x="4246" y="572"/>
                  </a:cubicBezTo>
                  <a:cubicBezTo>
                    <a:pt x="4251" y="586"/>
                    <a:pt x="4243" y="600"/>
                    <a:pt x="4227" y="602"/>
                  </a:cubicBezTo>
                  <a:cubicBezTo>
                    <a:pt x="4211" y="605"/>
                    <a:pt x="4195" y="595"/>
                    <a:pt x="4190" y="581"/>
                  </a:cubicBezTo>
                  <a:cubicBezTo>
                    <a:pt x="4185" y="566"/>
                    <a:pt x="4193" y="553"/>
                    <a:pt x="4209" y="550"/>
                  </a:cubicBezTo>
                  <a:close/>
                  <a:moveTo>
                    <a:pt x="4230" y="472"/>
                  </a:moveTo>
                  <a:cubicBezTo>
                    <a:pt x="4245" y="469"/>
                    <a:pt x="4262" y="479"/>
                    <a:pt x="4267" y="493"/>
                  </a:cubicBezTo>
                  <a:cubicBezTo>
                    <a:pt x="4272" y="508"/>
                    <a:pt x="4264" y="521"/>
                    <a:pt x="4248" y="524"/>
                  </a:cubicBezTo>
                  <a:cubicBezTo>
                    <a:pt x="4233" y="526"/>
                    <a:pt x="4216" y="516"/>
                    <a:pt x="4211" y="502"/>
                  </a:cubicBezTo>
                  <a:cubicBezTo>
                    <a:pt x="4206" y="488"/>
                    <a:pt x="4215" y="474"/>
                    <a:pt x="4230" y="472"/>
                  </a:cubicBezTo>
                  <a:close/>
                  <a:moveTo>
                    <a:pt x="4281" y="617"/>
                  </a:moveTo>
                  <a:cubicBezTo>
                    <a:pt x="4297" y="615"/>
                    <a:pt x="4314" y="624"/>
                    <a:pt x="4319" y="639"/>
                  </a:cubicBezTo>
                  <a:cubicBezTo>
                    <a:pt x="4324" y="653"/>
                    <a:pt x="4316" y="667"/>
                    <a:pt x="4300" y="669"/>
                  </a:cubicBezTo>
                  <a:cubicBezTo>
                    <a:pt x="4284" y="672"/>
                    <a:pt x="4267" y="662"/>
                    <a:pt x="4262" y="648"/>
                  </a:cubicBezTo>
                  <a:cubicBezTo>
                    <a:pt x="4257" y="633"/>
                    <a:pt x="4266" y="620"/>
                    <a:pt x="4281" y="617"/>
                  </a:cubicBezTo>
                  <a:close/>
                  <a:moveTo>
                    <a:pt x="4297" y="537"/>
                  </a:moveTo>
                  <a:cubicBezTo>
                    <a:pt x="4313" y="534"/>
                    <a:pt x="4329" y="544"/>
                    <a:pt x="4335" y="558"/>
                  </a:cubicBezTo>
                  <a:cubicBezTo>
                    <a:pt x="4340" y="572"/>
                    <a:pt x="4331" y="586"/>
                    <a:pt x="4316" y="589"/>
                  </a:cubicBezTo>
                  <a:cubicBezTo>
                    <a:pt x="4300" y="591"/>
                    <a:pt x="4283" y="581"/>
                    <a:pt x="4278" y="567"/>
                  </a:cubicBezTo>
                  <a:cubicBezTo>
                    <a:pt x="4273" y="553"/>
                    <a:pt x="4282" y="539"/>
                    <a:pt x="4297" y="537"/>
                  </a:cubicBezTo>
                  <a:close/>
                  <a:moveTo>
                    <a:pt x="4317" y="458"/>
                  </a:moveTo>
                  <a:cubicBezTo>
                    <a:pt x="4332" y="456"/>
                    <a:pt x="4349" y="465"/>
                    <a:pt x="4354" y="479"/>
                  </a:cubicBezTo>
                  <a:cubicBezTo>
                    <a:pt x="4360" y="494"/>
                    <a:pt x="4352" y="507"/>
                    <a:pt x="4336" y="510"/>
                  </a:cubicBezTo>
                  <a:cubicBezTo>
                    <a:pt x="4321" y="512"/>
                    <a:pt x="4304" y="503"/>
                    <a:pt x="4299" y="488"/>
                  </a:cubicBezTo>
                  <a:cubicBezTo>
                    <a:pt x="4294" y="474"/>
                    <a:pt x="4302" y="460"/>
                    <a:pt x="4317" y="458"/>
                  </a:cubicBezTo>
                  <a:close/>
                  <a:moveTo>
                    <a:pt x="4371" y="603"/>
                  </a:moveTo>
                  <a:cubicBezTo>
                    <a:pt x="4386" y="600"/>
                    <a:pt x="4403" y="610"/>
                    <a:pt x="4409" y="624"/>
                  </a:cubicBezTo>
                  <a:cubicBezTo>
                    <a:pt x="4414" y="638"/>
                    <a:pt x="4406" y="652"/>
                    <a:pt x="4390" y="655"/>
                  </a:cubicBezTo>
                  <a:cubicBezTo>
                    <a:pt x="4374" y="657"/>
                    <a:pt x="4357" y="648"/>
                    <a:pt x="4352" y="634"/>
                  </a:cubicBezTo>
                  <a:cubicBezTo>
                    <a:pt x="4346" y="619"/>
                    <a:pt x="4355" y="606"/>
                    <a:pt x="4371" y="603"/>
                  </a:cubicBezTo>
                  <a:close/>
                  <a:moveTo>
                    <a:pt x="4385" y="522"/>
                  </a:moveTo>
                  <a:cubicBezTo>
                    <a:pt x="4400" y="520"/>
                    <a:pt x="4417" y="529"/>
                    <a:pt x="4423" y="544"/>
                  </a:cubicBezTo>
                  <a:cubicBezTo>
                    <a:pt x="4428" y="558"/>
                    <a:pt x="4420" y="571"/>
                    <a:pt x="4404" y="574"/>
                  </a:cubicBezTo>
                  <a:cubicBezTo>
                    <a:pt x="4389" y="577"/>
                    <a:pt x="4372" y="567"/>
                    <a:pt x="4367" y="553"/>
                  </a:cubicBezTo>
                  <a:cubicBezTo>
                    <a:pt x="4361" y="539"/>
                    <a:pt x="4369" y="525"/>
                    <a:pt x="4385" y="522"/>
                  </a:cubicBezTo>
                  <a:close/>
                  <a:moveTo>
                    <a:pt x="4440" y="667"/>
                  </a:moveTo>
                  <a:cubicBezTo>
                    <a:pt x="4456" y="665"/>
                    <a:pt x="4473" y="674"/>
                    <a:pt x="4478" y="688"/>
                  </a:cubicBezTo>
                  <a:cubicBezTo>
                    <a:pt x="4484" y="702"/>
                    <a:pt x="4475" y="716"/>
                    <a:pt x="4459" y="719"/>
                  </a:cubicBezTo>
                  <a:cubicBezTo>
                    <a:pt x="4443" y="722"/>
                    <a:pt x="4426" y="712"/>
                    <a:pt x="4420" y="698"/>
                  </a:cubicBezTo>
                  <a:cubicBezTo>
                    <a:pt x="4415" y="684"/>
                    <a:pt x="4424" y="670"/>
                    <a:pt x="4440" y="667"/>
                  </a:cubicBezTo>
                  <a:close/>
                  <a:moveTo>
                    <a:pt x="4460" y="588"/>
                  </a:moveTo>
                  <a:cubicBezTo>
                    <a:pt x="4475" y="585"/>
                    <a:pt x="4493" y="595"/>
                    <a:pt x="4498" y="609"/>
                  </a:cubicBezTo>
                  <a:cubicBezTo>
                    <a:pt x="4504" y="623"/>
                    <a:pt x="4495" y="637"/>
                    <a:pt x="4480" y="640"/>
                  </a:cubicBezTo>
                  <a:cubicBezTo>
                    <a:pt x="4464" y="642"/>
                    <a:pt x="4447" y="633"/>
                    <a:pt x="4441" y="619"/>
                  </a:cubicBezTo>
                  <a:cubicBezTo>
                    <a:pt x="4436" y="605"/>
                    <a:pt x="4444" y="591"/>
                    <a:pt x="4460" y="588"/>
                  </a:cubicBezTo>
                  <a:close/>
                  <a:moveTo>
                    <a:pt x="4473" y="508"/>
                  </a:moveTo>
                  <a:cubicBezTo>
                    <a:pt x="4488" y="505"/>
                    <a:pt x="4505" y="514"/>
                    <a:pt x="4511" y="528"/>
                  </a:cubicBezTo>
                  <a:cubicBezTo>
                    <a:pt x="4517" y="543"/>
                    <a:pt x="4509" y="556"/>
                    <a:pt x="4493" y="559"/>
                  </a:cubicBezTo>
                  <a:cubicBezTo>
                    <a:pt x="4478" y="562"/>
                    <a:pt x="4460" y="552"/>
                    <a:pt x="4455" y="538"/>
                  </a:cubicBezTo>
                  <a:cubicBezTo>
                    <a:pt x="4449" y="524"/>
                    <a:pt x="4457" y="510"/>
                    <a:pt x="4473" y="508"/>
                  </a:cubicBezTo>
                  <a:close/>
                  <a:moveTo>
                    <a:pt x="4530" y="652"/>
                  </a:moveTo>
                  <a:cubicBezTo>
                    <a:pt x="4546" y="649"/>
                    <a:pt x="4563" y="658"/>
                    <a:pt x="4569" y="672"/>
                  </a:cubicBezTo>
                  <a:cubicBezTo>
                    <a:pt x="4575" y="687"/>
                    <a:pt x="4566" y="700"/>
                    <a:pt x="4550" y="703"/>
                  </a:cubicBezTo>
                  <a:cubicBezTo>
                    <a:pt x="4534" y="706"/>
                    <a:pt x="4517" y="697"/>
                    <a:pt x="4511" y="682"/>
                  </a:cubicBezTo>
                  <a:cubicBezTo>
                    <a:pt x="4506" y="668"/>
                    <a:pt x="4514" y="655"/>
                    <a:pt x="4530" y="652"/>
                  </a:cubicBezTo>
                  <a:close/>
                  <a:moveTo>
                    <a:pt x="4549" y="573"/>
                  </a:moveTo>
                  <a:cubicBezTo>
                    <a:pt x="4564" y="570"/>
                    <a:pt x="4582" y="579"/>
                    <a:pt x="4588" y="593"/>
                  </a:cubicBezTo>
                  <a:cubicBezTo>
                    <a:pt x="4593" y="607"/>
                    <a:pt x="4585" y="621"/>
                    <a:pt x="4569" y="624"/>
                  </a:cubicBezTo>
                  <a:cubicBezTo>
                    <a:pt x="4554" y="627"/>
                    <a:pt x="4536" y="618"/>
                    <a:pt x="4531" y="603"/>
                  </a:cubicBezTo>
                  <a:cubicBezTo>
                    <a:pt x="4525" y="589"/>
                    <a:pt x="4533" y="575"/>
                    <a:pt x="4549" y="573"/>
                  </a:cubicBezTo>
                  <a:close/>
                  <a:moveTo>
                    <a:pt x="4644" y="940"/>
                  </a:moveTo>
                  <a:cubicBezTo>
                    <a:pt x="4660" y="937"/>
                    <a:pt x="4679" y="946"/>
                    <a:pt x="4684" y="960"/>
                  </a:cubicBezTo>
                  <a:cubicBezTo>
                    <a:pt x="4690" y="975"/>
                    <a:pt x="4681" y="989"/>
                    <a:pt x="4664" y="992"/>
                  </a:cubicBezTo>
                  <a:cubicBezTo>
                    <a:pt x="4647" y="995"/>
                    <a:pt x="4629" y="986"/>
                    <a:pt x="4624" y="971"/>
                  </a:cubicBezTo>
                  <a:cubicBezTo>
                    <a:pt x="4618" y="957"/>
                    <a:pt x="4627" y="943"/>
                    <a:pt x="4644" y="940"/>
                  </a:cubicBezTo>
                  <a:close/>
                  <a:moveTo>
                    <a:pt x="4647" y="1073"/>
                  </a:moveTo>
                  <a:cubicBezTo>
                    <a:pt x="4630" y="1076"/>
                    <a:pt x="4612" y="1067"/>
                    <a:pt x="4607" y="1053"/>
                  </a:cubicBezTo>
                  <a:cubicBezTo>
                    <a:pt x="4601" y="1039"/>
                    <a:pt x="4610" y="1025"/>
                    <a:pt x="4627" y="1022"/>
                  </a:cubicBezTo>
                  <a:cubicBezTo>
                    <a:pt x="4644" y="1019"/>
                    <a:pt x="4662" y="1028"/>
                    <a:pt x="4668" y="1042"/>
                  </a:cubicBezTo>
                  <a:cubicBezTo>
                    <a:pt x="4674" y="1056"/>
                    <a:pt x="4664" y="1070"/>
                    <a:pt x="4647" y="1073"/>
                  </a:cubicBezTo>
                  <a:close/>
                  <a:moveTo>
                    <a:pt x="4658" y="1246"/>
                  </a:moveTo>
                  <a:cubicBezTo>
                    <a:pt x="4676" y="1243"/>
                    <a:pt x="4695" y="1252"/>
                    <a:pt x="4700" y="1267"/>
                  </a:cubicBezTo>
                  <a:cubicBezTo>
                    <a:pt x="4705" y="1281"/>
                    <a:pt x="4696" y="1295"/>
                    <a:pt x="4678" y="1298"/>
                  </a:cubicBezTo>
                  <a:cubicBezTo>
                    <a:pt x="4660" y="1301"/>
                    <a:pt x="4642" y="1292"/>
                    <a:pt x="4636" y="1278"/>
                  </a:cubicBezTo>
                  <a:cubicBezTo>
                    <a:pt x="4631" y="1263"/>
                    <a:pt x="4641" y="1249"/>
                    <a:pt x="4658" y="1246"/>
                  </a:cubicBezTo>
                  <a:close/>
                  <a:moveTo>
                    <a:pt x="4658" y="1380"/>
                  </a:moveTo>
                  <a:cubicBezTo>
                    <a:pt x="4640" y="1383"/>
                    <a:pt x="4621" y="1374"/>
                    <a:pt x="4616" y="1360"/>
                  </a:cubicBezTo>
                  <a:cubicBezTo>
                    <a:pt x="4611" y="1345"/>
                    <a:pt x="4621" y="1331"/>
                    <a:pt x="4639" y="1328"/>
                  </a:cubicBezTo>
                  <a:cubicBezTo>
                    <a:pt x="4656" y="1325"/>
                    <a:pt x="4675" y="1334"/>
                    <a:pt x="4680" y="1349"/>
                  </a:cubicBezTo>
                  <a:cubicBezTo>
                    <a:pt x="4686" y="1363"/>
                    <a:pt x="4676" y="1377"/>
                    <a:pt x="4658" y="1380"/>
                  </a:cubicBezTo>
                  <a:close/>
                  <a:moveTo>
                    <a:pt x="4664" y="1554"/>
                  </a:moveTo>
                  <a:cubicBezTo>
                    <a:pt x="4682" y="1551"/>
                    <a:pt x="4701" y="1560"/>
                    <a:pt x="4707" y="1574"/>
                  </a:cubicBezTo>
                  <a:cubicBezTo>
                    <a:pt x="4712" y="1588"/>
                    <a:pt x="4701" y="1603"/>
                    <a:pt x="4683" y="1606"/>
                  </a:cubicBezTo>
                  <a:cubicBezTo>
                    <a:pt x="4664" y="1609"/>
                    <a:pt x="4645" y="1600"/>
                    <a:pt x="4640" y="1585"/>
                  </a:cubicBezTo>
                  <a:cubicBezTo>
                    <a:pt x="4635" y="1571"/>
                    <a:pt x="4646" y="1557"/>
                    <a:pt x="4664" y="1554"/>
                  </a:cubicBezTo>
                  <a:close/>
                  <a:moveTo>
                    <a:pt x="4659" y="1688"/>
                  </a:moveTo>
                  <a:cubicBezTo>
                    <a:pt x="4640" y="1691"/>
                    <a:pt x="4621" y="1682"/>
                    <a:pt x="4616" y="1668"/>
                  </a:cubicBezTo>
                  <a:cubicBezTo>
                    <a:pt x="4611" y="1653"/>
                    <a:pt x="4622" y="1639"/>
                    <a:pt x="4641" y="1636"/>
                  </a:cubicBezTo>
                  <a:cubicBezTo>
                    <a:pt x="4659" y="1633"/>
                    <a:pt x="4678" y="1642"/>
                    <a:pt x="4684" y="1657"/>
                  </a:cubicBezTo>
                  <a:cubicBezTo>
                    <a:pt x="4689" y="1671"/>
                    <a:pt x="4678" y="1685"/>
                    <a:pt x="4659" y="1688"/>
                  </a:cubicBezTo>
                  <a:close/>
                  <a:moveTo>
                    <a:pt x="4660" y="1863"/>
                  </a:moveTo>
                  <a:cubicBezTo>
                    <a:pt x="4679" y="1860"/>
                    <a:pt x="4699" y="1869"/>
                    <a:pt x="4704" y="1883"/>
                  </a:cubicBezTo>
                  <a:cubicBezTo>
                    <a:pt x="4709" y="1897"/>
                    <a:pt x="4697" y="1912"/>
                    <a:pt x="4678" y="1915"/>
                  </a:cubicBezTo>
                  <a:cubicBezTo>
                    <a:pt x="4659" y="1918"/>
                    <a:pt x="4639" y="1909"/>
                    <a:pt x="4634" y="1895"/>
                  </a:cubicBezTo>
                  <a:cubicBezTo>
                    <a:pt x="4629" y="1880"/>
                    <a:pt x="4641" y="1866"/>
                    <a:pt x="4660" y="1863"/>
                  </a:cubicBezTo>
                  <a:close/>
                  <a:moveTo>
                    <a:pt x="4651" y="1998"/>
                  </a:moveTo>
                  <a:cubicBezTo>
                    <a:pt x="4632" y="2001"/>
                    <a:pt x="4612" y="1992"/>
                    <a:pt x="4607" y="1977"/>
                  </a:cubicBezTo>
                  <a:cubicBezTo>
                    <a:pt x="4602" y="1963"/>
                    <a:pt x="4614" y="1949"/>
                    <a:pt x="4634" y="1946"/>
                  </a:cubicBezTo>
                  <a:cubicBezTo>
                    <a:pt x="4653" y="1942"/>
                    <a:pt x="4673" y="1952"/>
                    <a:pt x="4678" y="1966"/>
                  </a:cubicBezTo>
                  <a:cubicBezTo>
                    <a:pt x="4682" y="1980"/>
                    <a:pt x="4671" y="1995"/>
                    <a:pt x="4651" y="1998"/>
                  </a:cubicBezTo>
                  <a:close/>
                  <a:moveTo>
                    <a:pt x="4692" y="2193"/>
                  </a:moveTo>
                  <a:cubicBezTo>
                    <a:pt x="4697" y="2208"/>
                    <a:pt x="4684" y="2222"/>
                    <a:pt x="4664" y="2225"/>
                  </a:cubicBezTo>
                  <a:cubicBezTo>
                    <a:pt x="4644" y="2229"/>
                    <a:pt x="4624" y="2219"/>
                    <a:pt x="4619" y="2205"/>
                  </a:cubicBezTo>
                  <a:cubicBezTo>
                    <a:pt x="4615" y="2191"/>
                    <a:pt x="4627" y="2176"/>
                    <a:pt x="4647" y="2173"/>
                  </a:cubicBezTo>
                  <a:cubicBezTo>
                    <a:pt x="4667" y="2170"/>
                    <a:pt x="4687" y="2179"/>
                    <a:pt x="4692" y="2193"/>
                  </a:cubicBezTo>
                  <a:close/>
                  <a:moveTo>
                    <a:pt x="4710" y="2423"/>
                  </a:moveTo>
                  <a:cubicBezTo>
                    <a:pt x="4714" y="2437"/>
                    <a:pt x="4701" y="2452"/>
                    <a:pt x="4681" y="2455"/>
                  </a:cubicBezTo>
                  <a:cubicBezTo>
                    <a:pt x="4660" y="2458"/>
                    <a:pt x="4639" y="2449"/>
                    <a:pt x="4635" y="2435"/>
                  </a:cubicBezTo>
                  <a:cubicBezTo>
                    <a:pt x="4630" y="2420"/>
                    <a:pt x="4643" y="2406"/>
                    <a:pt x="4664" y="2403"/>
                  </a:cubicBezTo>
                  <a:cubicBezTo>
                    <a:pt x="4685" y="2400"/>
                    <a:pt x="4705" y="2409"/>
                    <a:pt x="4710" y="2423"/>
                  </a:cubicBezTo>
                  <a:close/>
                  <a:moveTo>
                    <a:pt x="4717" y="2652"/>
                  </a:moveTo>
                  <a:cubicBezTo>
                    <a:pt x="4722" y="2666"/>
                    <a:pt x="4708" y="2680"/>
                    <a:pt x="4687" y="2684"/>
                  </a:cubicBezTo>
                  <a:cubicBezTo>
                    <a:pt x="4665" y="2687"/>
                    <a:pt x="4644" y="2678"/>
                    <a:pt x="4640" y="2664"/>
                  </a:cubicBezTo>
                  <a:cubicBezTo>
                    <a:pt x="4635" y="2649"/>
                    <a:pt x="4649" y="2635"/>
                    <a:pt x="4670" y="2631"/>
                  </a:cubicBezTo>
                  <a:cubicBezTo>
                    <a:pt x="4691" y="2628"/>
                    <a:pt x="4712" y="2637"/>
                    <a:pt x="4717" y="2652"/>
                  </a:cubicBezTo>
                  <a:close/>
                  <a:moveTo>
                    <a:pt x="4652" y="2768"/>
                  </a:moveTo>
                  <a:cubicBezTo>
                    <a:pt x="4630" y="2771"/>
                    <a:pt x="4609" y="2762"/>
                    <a:pt x="4605" y="2747"/>
                  </a:cubicBezTo>
                  <a:cubicBezTo>
                    <a:pt x="4601" y="2733"/>
                    <a:pt x="4614" y="2718"/>
                    <a:pt x="4636" y="2715"/>
                  </a:cubicBezTo>
                  <a:cubicBezTo>
                    <a:pt x="4657" y="2712"/>
                    <a:pt x="4678" y="2721"/>
                    <a:pt x="4683" y="2735"/>
                  </a:cubicBezTo>
                  <a:cubicBezTo>
                    <a:pt x="4687" y="2750"/>
                    <a:pt x="4673" y="2764"/>
                    <a:pt x="4652" y="2768"/>
                  </a:cubicBezTo>
                  <a:close/>
                  <a:moveTo>
                    <a:pt x="4684" y="2965"/>
                  </a:moveTo>
                  <a:cubicBezTo>
                    <a:pt x="4688" y="2979"/>
                    <a:pt x="4674" y="2994"/>
                    <a:pt x="4652" y="2997"/>
                  </a:cubicBezTo>
                  <a:cubicBezTo>
                    <a:pt x="4630" y="3000"/>
                    <a:pt x="4608" y="2991"/>
                    <a:pt x="4604" y="2977"/>
                  </a:cubicBezTo>
                  <a:cubicBezTo>
                    <a:pt x="4600" y="2962"/>
                    <a:pt x="4614" y="2948"/>
                    <a:pt x="4636" y="2944"/>
                  </a:cubicBezTo>
                  <a:cubicBezTo>
                    <a:pt x="4658" y="2941"/>
                    <a:pt x="4680" y="2950"/>
                    <a:pt x="4684" y="2965"/>
                  </a:cubicBezTo>
                  <a:close/>
                  <a:moveTo>
                    <a:pt x="4614" y="3081"/>
                  </a:moveTo>
                  <a:cubicBezTo>
                    <a:pt x="4591" y="3084"/>
                    <a:pt x="4570" y="3075"/>
                    <a:pt x="4566" y="3061"/>
                  </a:cubicBezTo>
                  <a:cubicBezTo>
                    <a:pt x="4562" y="3046"/>
                    <a:pt x="4576" y="3032"/>
                    <a:pt x="4599" y="3028"/>
                  </a:cubicBezTo>
                  <a:cubicBezTo>
                    <a:pt x="4621" y="3025"/>
                    <a:pt x="4642" y="3034"/>
                    <a:pt x="4647" y="3049"/>
                  </a:cubicBezTo>
                  <a:cubicBezTo>
                    <a:pt x="4651" y="3063"/>
                    <a:pt x="4636" y="3078"/>
                    <a:pt x="4614" y="3081"/>
                  </a:cubicBezTo>
                  <a:close/>
                  <a:moveTo>
                    <a:pt x="4567" y="3163"/>
                  </a:moveTo>
                  <a:cubicBezTo>
                    <a:pt x="4544" y="3167"/>
                    <a:pt x="4523" y="3157"/>
                    <a:pt x="4519" y="3143"/>
                  </a:cubicBezTo>
                  <a:cubicBezTo>
                    <a:pt x="4515" y="3128"/>
                    <a:pt x="4530" y="3114"/>
                    <a:pt x="4552" y="3111"/>
                  </a:cubicBezTo>
                  <a:cubicBezTo>
                    <a:pt x="4575" y="3107"/>
                    <a:pt x="4596" y="3116"/>
                    <a:pt x="4600" y="3131"/>
                  </a:cubicBezTo>
                  <a:cubicBezTo>
                    <a:pt x="4604" y="3146"/>
                    <a:pt x="4589" y="3160"/>
                    <a:pt x="4567" y="3163"/>
                  </a:cubicBezTo>
                  <a:close/>
                  <a:moveTo>
                    <a:pt x="4487" y="3099"/>
                  </a:moveTo>
                  <a:cubicBezTo>
                    <a:pt x="4464" y="3103"/>
                    <a:pt x="4443" y="3093"/>
                    <a:pt x="4439" y="3079"/>
                  </a:cubicBezTo>
                  <a:cubicBezTo>
                    <a:pt x="4435" y="3064"/>
                    <a:pt x="4450" y="3050"/>
                    <a:pt x="4472" y="3047"/>
                  </a:cubicBezTo>
                  <a:cubicBezTo>
                    <a:pt x="4495" y="3043"/>
                    <a:pt x="4516" y="3053"/>
                    <a:pt x="4520" y="3067"/>
                  </a:cubicBezTo>
                  <a:cubicBezTo>
                    <a:pt x="4524" y="3082"/>
                    <a:pt x="4509" y="3096"/>
                    <a:pt x="4487" y="3099"/>
                  </a:cubicBezTo>
                  <a:close/>
                  <a:moveTo>
                    <a:pt x="4439" y="3181"/>
                  </a:moveTo>
                  <a:cubicBezTo>
                    <a:pt x="4416" y="3185"/>
                    <a:pt x="4394" y="3175"/>
                    <a:pt x="4391" y="3161"/>
                  </a:cubicBezTo>
                  <a:cubicBezTo>
                    <a:pt x="4387" y="3146"/>
                    <a:pt x="4402" y="3132"/>
                    <a:pt x="4425" y="3129"/>
                  </a:cubicBezTo>
                  <a:cubicBezTo>
                    <a:pt x="4447" y="3125"/>
                    <a:pt x="4469" y="3135"/>
                    <a:pt x="4472" y="3149"/>
                  </a:cubicBezTo>
                  <a:cubicBezTo>
                    <a:pt x="4476" y="3164"/>
                    <a:pt x="4461" y="3178"/>
                    <a:pt x="4439" y="3181"/>
                  </a:cubicBezTo>
                  <a:close/>
                  <a:moveTo>
                    <a:pt x="4359" y="3117"/>
                  </a:moveTo>
                  <a:cubicBezTo>
                    <a:pt x="4337" y="3120"/>
                    <a:pt x="4316" y="3110"/>
                    <a:pt x="4312" y="3096"/>
                  </a:cubicBezTo>
                  <a:cubicBezTo>
                    <a:pt x="4308" y="3081"/>
                    <a:pt x="4324" y="3067"/>
                    <a:pt x="4346" y="3064"/>
                  </a:cubicBezTo>
                  <a:cubicBezTo>
                    <a:pt x="4368" y="3061"/>
                    <a:pt x="4389" y="3070"/>
                    <a:pt x="4393" y="3085"/>
                  </a:cubicBezTo>
                  <a:cubicBezTo>
                    <a:pt x="4397" y="3099"/>
                    <a:pt x="4382" y="3114"/>
                    <a:pt x="4359" y="3117"/>
                  </a:cubicBezTo>
                  <a:close/>
                  <a:moveTo>
                    <a:pt x="4310" y="3199"/>
                  </a:moveTo>
                  <a:cubicBezTo>
                    <a:pt x="4287" y="3202"/>
                    <a:pt x="4266" y="3192"/>
                    <a:pt x="4263" y="3177"/>
                  </a:cubicBezTo>
                  <a:cubicBezTo>
                    <a:pt x="4259" y="3163"/>
                    <a:pt x="4275" y="3149"/>
                    <a:pt x="4297" y="3146"/>
                  </a:cubicBezTo>
                  <a:cubicBezTo>
                    <a:pt x="4320" y="3143"/>
                    <a:pt x="4341" y="3152"/>
                    <a:pt x="4344" y="3167"/>
                  </a:cubicBezTo>
                  <a:cubicBezTo>
                    <a:pt x="4348" y="3181"/>
                    <a:pt x="4333" y="3196"/>
                    <a:pt x="4310" y="3199"/>
                  </a:cubicBezTo>
                  <a:close/>
                  <a:moveTo>
                    <a:pt x="4232" y="3133"/>
                  </a:moveTo>
                  <a:cubicBezTo>
                    <a:pt x="4209" y="3136"/>
                    <a:pt x="4189" y="3127"/>
                    <a:pt x="4185" y="3112"/>
                  </a:cubicBezTo>
                  <a:cubicBezTo>
                    <a:pt x="4182" y="3097"/>
                    <a:pt x="4197" y="3083"/>
                    <a:pt x="4219" y="3080"/>
                  </a:cubicBezTo>
                  <a:cubicBezTo>
                    <a:pt x="4242" y="3077"/>
                    <a:pt x="4263" y="3087"/>
                    <a:pt x="4266" y="3102"/>
                  </a:cubicBezTo>
                  <a:cubicBezTo>
                    <a:pt x="4270" y="3116"/>
                    <a:pt x="4254" y="3131"/>
                    <a:pt x="4232" y="3133"/>
                  </a:cubicBezTo>
                  <a:close/>
                  <a:moveTo>
                    <a:pt x="4182" y="3215"/>
                  </a:moveTo>
                  <a:cubicBezTo>
                    <a:pt x="4159" y="3218"/>
                    <a:pt x="4138" y="3208"/>
                    <a:pt x="4135" y="3193"/>
                  </a:cubicBezTo>
                  <a:cubicBezTo>
                    <a:pt x="4131" y="3179"/>
                    <a:pt x="4147" y="3165"/>
                    <a:pt x="4169" y="3162"/>
                  </a:cubicBezTo>
                  <a:cubicBezTo>
                    <a:pt x="4192" y="3159"/>
                    <a:pt x="4213" y="3169"/>
                    <a:pt x="4216" y="3183"/>
                  </a:cubicBezTo>
                  <a:cubicBezTo>
                    <a:pt x="4220" y="3198"/>
                    <a:pt x="4204" y="3212"/>
                    <a:pt x="4182" y="3215"/>
                  </a:cubicBezTo>
                  <a:close/>
                  <a:moveTo>
                    <a:pt x="4104" y="3149"/>
                  </a:moveTo>
                  <a:cubicBezTo>
                    <a:pt x="4082" y="3152"/>
                    <a:pt x="4061" y="3142"/>
                    <a:pt x="4058" y="3127"/>
                  </a:cubicBezTo>
                  <a:cubicBezTo>
                    <a:pt x="4055" y="3112"/>
                    <a:pt x="4070" y="3098"/>
                    <a:pt x="4093" y="3096"/>
                  </a:cubicBezTo>
                  <a:cubicBezTo>
                    <a:pt x="4115" y="3093"/>
                    <a:pt x="4136" y="3103"/>
                    <a:pt x="4139" y="3118"/>
                  </a:cubicBezTo>
                  <a:cubicBezTo>
                    <a:pt x="4142" y="3132"/>
                    <a:pt x="4127" y="3146"/>
                    <a:pt x="4104" y="3149"/>
                  </a:cubicBezTo>
                  <a:close/>
                  <a:moveTo>
                    <a:pt x="4026" y="2978"/>
                  </a:moveTo>
                  <a:cubicBezTo>
                    <a:pt x="4023" y="2963"/>
                    <a:pt x="4038" y="2949"/>
                    <a:pt x="4060" y="2947"/>
                  </a:cubicBezTo>
                  <a:cubicBezTo>
                    <a:pt x="4082" y="2944"/>
                    <a:pt x="4102" y="2954"/>
                    <a:pt x="4106" y="2968"/>
                  </a:cubicBezTo>
                  <a:cubicBezTo>
                    <a:pt x="4109" y="2983"/>
                    <a:pt x="4094" y="2997"/>
                    <a:pt x="4072" y="3000"/>
                  </a:cubicBezTo>
                  <a:cubicBezTo>
                    <a:pt x="4049" y="3002"/>
                    <a:pt x="4029" y="2993"/>
                    <a:pt x="4026" y="2978"/>
                  </a:cubicBezTo>
                  <a:close/>
                  <a:moveTo>
                    <a:pt x="4021" y="3081"/>
                  </a:moveTo>
                  <a:cubicBezTo>
                    <a:pt x="3999" y="3083"/>
                    <a:pt x="3978" y="3074"/>
                    <a:pt x="3975" y="3059"/>
                  </a:cubicBezTo>
                  <a:cubicBezTo>
                    <a:pt x="3972" y="3044"/>
                    <a:pt x="3988" y="3030"/>
                    <a:pt x="4010" y="3028"/>
                  </a:cubicBezTo>
                  <a:cubicBezTo>
                    <a:pt x="4032" y="3025"/>
                    <a:pt x="4053" y="3035"/>
                    <a:pt x="4056" y="3050"/>
                  </a:cubicBezTo>
                  <a:cubicBezTo>
                    <a:pt x="4059" y="3064"/>
                    <a:pt x="4043" y="3078"/>
                    <a:pt x="4021" y="3081"/>
                  </a:cubicBezTo>
                  <a:close/>
                  <a:moveTo>
                    <a:pt x="3977" y="3164"/>
                  </a:moveTo>
                  <a:cubicBezTo>
                    <a:pt x="3954" y="3166"/>
                    <a:pt x="3934" y="3156"/>
                    <a:pt x="3931" y="3142"/>
                  </a:cubicBezTo>
                  <a:cubicBezTo>
                    <a:pt x="3928" y="3127"/>
                    <a:pt x="3944" y="3113"/>
                    <a:pt x="3966" y="3110"/>
                  </a:cubicBezTo>
                  <a:cubicBezTo>
                    <a:pt x="3988" y="3108"/>
                    <a:pt x="4009" y="3118"/>
                    <a:pt x="4012" y="3132"/>
                  </a:cubicBezTo>
                  <a:cubicBezTo>
                    <a:pt x="4015" y="3147"/>
                    <a:pt x="3999" y="3161"/>
                    <a:pt x="3977" y="3164"/>
                  </a:cubicBezTo>
                  <a:close/>
                  <a:moveTo>
                    <a:pt x="3901" y="2992"/>
                  </a:moveTo>
                  <a:cubicBezTo>
                    <a:pt x="3898" y="2977"/>
                    <a:pt x="3913" y="2963"/>
                    <a:pt x="3935" y="2961"/>
                  </a:cubicBezTo>
                  <a:cubicBezTo>
                    <a:pt x="3957" y="2958"/>
                    <a:pt x="3978" y="2968"/>
                    <a:pt x="3981" y="2983"/>
                  </a:cubicBezTo>
                  <a:cubicBezTo>
                    <a:pt x="3984" y="2998"/>
                    <a:pt x="3968" y="3012"/>
                    <a:pt x="3946" y="3014"/>
                  </a:cubicBezTo>
                  <a:cubicBezTo>
                    <a:pt x="3924" y="3017"/>
                    <a:pt x="3904" y="3007"/>
                    <a:pt x="3901" y="2992"/>
                  </a:cubicBezTo>
                  <a:close/>
                  <a:moveTo>
                    <a:pt x="3895" y="3095"/>
                  </a:moveTo>
                  <a:cubicBezTo>
                    <a:pt x="3873" y="3097"/>
                    <a:pt x="3852" y="3087"/>
                    <a:pt x="3849" y="3073"/>
                  </a:cubicBezTo>
                  <a:cubicBezTo>
                    <a:pt x="3847" y="3058"/>
                    <a:pt x="3862" y="3044"/>
                    <a:pt x="3884" y="3041"/>
                  </a:cubicBezTo>
                  <a:cubicBezTo>
                    <a:pt x="3906" y="3039"/>
                    <a:pt x="3927" y="3049"/>
                    <a:pt x="3930" y="3064"/>
                  </a:cubicBezTo>
                  <a:cubicBezTo>
                    <a:pt x="3933" y="3079"/>
                    <a:pt x="3917" y="3093"/>
                    <a:pt x="3895" y="3095"/>
                  </a:cubicBezTo>
                  <a:close/>
                  <a:moveTo>
                    <a:pt x="3849" y="3178"/>
                  </a:moveTo>
                  <a:cubicBezTo>
                    <a:pt x="3827" y="3180"/>
                    <a:pt x="3806" y="3170"/>
                    <a:pt x="3804" y="3155"/>
                  </a:cubicBezTo>
                  <a:cubicBezTo>
                    <a:pt x="3801" y="3140"/>
                    <a:pt x="3817" y="3126"/>
                    <a:pt x="3839" y="3124"/>
                  </a:cubicBezTo>
                  <a:cubicBezTo>
                    <a:pt x="3862" y="3122"/>
                    <a:pt x="3882" y="3132"/>
                    <a:pt x="3885" y="3147"/>
                  </a:cubicBezTo>
                  <a:cubicBezTo>
                    <a:pt x="3888" y="3161"/>
                    <a:pt x="3872" y="3175"/>
                    <a:pt x="3849" y="3178"/>
                  </a:cubicBezTo>
                  <a:close/>
                  <a:moveTo>
                    <a:pt x="3768" y="3108"/>
                  </a:moveTo>
                  <a:cubicBezTo>
                    <a:pt x="3746" y="3110"/>
                    <a:pt x="3726" y="3100"/>
                    <a:pt x="3723" y="3085"/>
                  </a:cubicBezTo>
                  <a:cubicBezTo>
                    <a:pt x="3721" y="3070"/>
                    <a:pt x="3737" y="3057"/>
                    <a:pt x="3759" y="3055"/>
                  </a:cubicBezTo>
                  <a:cubicBezTo>
                    <a:pt x="3781" y="3052"/>
                    <a:pt x="3801" y="3062"/>
                    <a:pt x="3804" y="3077"/>
                  </a:cubicBezTo>
                  <a:cubicBezTo>
                    <a:pt x="3806" y="3092"/>
                    <a:pt x="3791" y="3106"/>
                    <a:pt x="3768" y="3108"/>
                  </a:cubicBezTo>
                  <a:close/>
                  <a:moveTo>
                    <a:pt x="3722" y="3191"/>
                  </a:moveTo>
                  <a:cubicBezTo>
                    <a:pt x="3699" y="3193"/>
                    <a:pt x="3679" y="3182"/>
                    <a:pt x="3676" y="3168"/>
                  </a:cubicBezTo>
                  <a:cubicBezTo>
                    <a:pt x="3674" y="3153"/>
                    <a:pt x="3690" y="3139"/>
                    <a:pt x="3712" y="3137"/>
                  </a:cubicBezTo>
                  <a:cubicBezTo>
                    <a:pt x="3735" y="3135"/>
                    <a:pt x="3755" y="3145"/>
                    <a:pt x="3758" y="3160"/>
                  </a:cubicBezTo>
                  <a:cubicBezTo>
                    <a:pt x="3760" y="3174"/>
                    <a:pt x="3744" y="3188"/>
                    <a:pt x="3722" y="3191"/>
                  </a:cubicBezTo>
                  <a:close/>
                  <a:moveTo>
                    <a:pt x="3642" y="3120"/>
                  </a:moveTo>
                  <a:cubicBezTo>
                    <a:pt x="3619" y="3122"/>
                    <a:pt x="3599" y="3112"/>
                    <a:pt x="3597" y="3097"/>
                  </a:cubicBezTo>
                  <a:cubicBezTo>
                    <a:pt x="3595" y="3082"/>
                    <a:pt x="3611" y="3069"/>
                    <a:pt x="3633" y="3067"/>
                  </a:cubicBezTo>
                  <a:cubicBezTo>
                    <a:pt x="3655" y="3065"/>
                    <a:pt x="3675" y="3075"/>
                    <a:pt x="3678" y="3090"/>
                  </a:cubicBezTo>
                  <a:cubicBezTo>
                    <a:pt x="3680" y="3105"/>
                    <a:pt x="3664" y="3118"/>
                    <a:pt x="3642" y="3120"/>
                  </a:cubicBezTo>
                  <a:close/>
                  <a:moveTo>
                    <a:pt x="3594" y="3203"/>
                  </a:moveTo>
                  <a:cubicBezTo>
                    <a:pt x="3571" y="3205"/>
                    <a:pt x="3551" y="3194"/>
                    <a:pt x="3549" y="3179"/>
                  </a:cubicBezTo>
                  <a:cubicBezTo>
                    <a:pt x="3547" y="3164"/>
                    <a:pt x="3563" y="3151"/>
                    <a:pt x="3585" y="3149"/>
                  </a:cubicBezTo>
                  <a:cubicBezTo>
                    <a:pt x="3608" y="3147"/>
                    <a:pt x="3628" y="3157"/>
                    <a:pt x="3630" y="3172"/>
                  </a:cubicBezTo>
                  <a:cubicBezTo>
                    <a:pt x="3633" y="3187"/>
                    <a:pt x="3616" y="3200"/>
                    <a:pt x="3594" y="3203"/>
                  </a:cubicBezTo>
                  <a:close/>
                  <a:moveTo>
                    <a:pt x="3515" y="3132"/>
                  </a:moveTo>
                  <a:cubicBezTo>
                    <a:pt x="3493" y="3134"/>
                    <a:pt x="3473" y="3123"/>
                    <a:pt x="3471" y="3108"/>
                  </a:cubicBezTo>
                  <a:cubicBezTo>
                    <a:pt x="3469" y="3093"/>
                    <a:pt x="3485" y="3080"/>
                    <a:pt x="3507" y="3078"/>
                  </a:cubicBezTo>
                  <a:cubicBezTo>
                    <a:pt x="3529" y="3076"/>
                    <a:pt x="3549" y="3086"/>
                    <a:pt x="3551" y="3101"/>
                  </a:cubicBezTo>
                  <a:cubicBezTo>
                    <a:pt x="3554" y="3116"/>
                    <a:pt x="3537" y="3130"/>
                    <a:pt x="3515" y="3132"/>
                  </a:cubicBezTo>
                  <a:close/>
                  <a:moveTo>
                    <a:pt x="3466" y="3214"/>
                  </a:moveTo>
                  <a:cubicBezTo>
                    <a:pt x="3443" y="3215"/>
                    <a:pt x="3424" y="3205"/>
                    <a:pt x="3422" y="3190"/>
                  </a:cubicBezTo>
                  <a:cubicBezTo>
                    <a:pt x="3419" y="3175"/>
                    <a:pt x="3436" y="3162"/>
                    <a:pt x="3458" y="3160"/>
                  </a:cubicBezTo>
                  <a:cubicBezTo>
                    <a:pt x="3481" y="3158"/>
                    <a:pt x="3501" y="3168"/>
                    <a:pt x="3503" y="3183"/>
                  </a:cubicBezTo>
                  <a:cubicBezTo>
                    <a:pt x="3505" y="3198"/>
                    <a:pt x="3489" y="3212"/>
                    <a:pt x="3466" y="3214"/>
                  </a:cubicBezTo>
                  <a:close/>
                  <a:moveTo>
                    <a:pt x="3388" y="3142"/>
                  </a:moveTo>
                  <a:cubicBezTo>
                    <a:pt x="3366" y="3144"/>
                    <a:pt x="3346" y="3133"/>
                    <a:pt x="3345" y="3118"/>
                  </a:cubicBezTo>
                  <a:cubicBezTo>
                    <a:pt x="3343" y="3103"/>
                    <a:pt x="3359" y="3090"/>
                    <a:pt x="3381" y="3088"/>
                  </a:cubicBezTo>
                  <a:cubicBezTo>
                    <a:pt x="3403" y="3086"/>
                    <a:pt x="3423" y="3097"/>
                    <a:pt x="3425" y="3112"/>
                  </a:cubicBezTo>
                  <a:cubicBezTo>
                    <a:pt x="3427" y="3127"/>
                    <a:pt x="3411" y="3140"/>
                    <a:pt x="3388" y="3142"/>
                  </a:cubicBezTo>
                  <a:close/>
                  <a:moveTo>
                    <a:pt x="3319" y="3072"/>
                  </a:moveTo>
                  <a:cubicBezTo>
                    <a:pt x="3297" y="3074"/>
                    <a:pt x="3278" y="3063"/>
                    <a:pt x="3276" y="3048"/>
                  </a:cubicBezTo>
                  <a:cubicBezTo>
                    <a:pt x="3274" y="3033"/>
                    <a:pt x="3290" y="3020"/>
                    <a:pt x="3312" y="3018"/>
                  </a:cubicBezTo>
                  <a:cubicBezTo>
                    <a:pt x="3334" y="3017"/>
                    <a:pt x="3354" y="3028"/>
                    <a:pt x="3356" y="3042"/>
                  </a:cubicBezTo>
                  <a:cubicBezTo>
                    <a:pt x="3358" y="3057"/>
                    <a:pt x="3341" y="3071"/>
                    <a:pt x="3319" y="3072"/>
                  </a:cubicBezTo>
                  <a:close/>
                  <a:moveTo>
                    <a:pt x="3262" y="3152"/>
                  </a:moveTo>
                  <a:cubicBezTo>
                    <a:pt x="3239" y="3153"/>
                    <a:pt x="3220" y="3142"/>
                    <a:pt x="3218" y="3128"/>
                  </a:cubicBezTo>
                  <a:cubicBezTo>
                    <a:pt x="3217" y="3113"/>
                    <a:pt x="3233" y="3099"/>
                    <a:pt x="3255" y="3098"/>
                  </a:cubicBezTo>
                  <a:cubicBezTo>
                    <a:pt x="3278" y="3096"/>
                    <a:pt x="3297" y="3107"/>
                    <a:pt x="3299" y="3122"/>
                  </a:cubicBezTo>
                  <a:cubicBezTo>
                    <a:pt x="3301" y="3137"/>
                    <a:pt x="3284" y="3150"/>
                    <a:pt x="3262" y="3152"/>
                  </a:cubicBezTo>
                  <a:close/>
                  <a:moveTo>
                    <a:pt x="3193" y="3081"/>
                  </a:moveTo>
                  <a:cubicBezTo>
                    <a:pt x="3171" y="3083"/>
                    <a:pt x="3152" y="3072"/>
                    <a:pt x="3151" y="3057"/>
                  </a:cubicBezTo>
                  <a:cubicBezTo>
                    <a:pt x="3149" y="3042"/>
                    <a:pt x="3166" y="3029"/>
                    <a:pt x="3188" y="3027"/>
                  </a:cubicBezTo>
                  <a:cubicBezTo>
                    <a:pt x="3210" y="3026"/>
                    <a:pt x="3229" y="3037"/>
                    <a:pt x="3230" y="3052"/>
                  </a:cubicBezTo>
                  <a:cubicBezTo>
                    <a:pt x="3232" y="3067"/>
                    <a:pt x="3216" y="3080"/>
                    <a:pt x="3193" y="3081"/>
                  </a:cubicBezTo>
                  <a:close/>
                  <a:moveTo>
                    <a:pt x="3135" y="3160"/>
                  </a:moveTo>
                  <a:cubicBezTo>
                    <a:pt x="3113" y="3162"/>
                    <a:pt x="3093" y="3151"/>
                    <a:pt x="3092" y="3136"/>
                  </a:cubicBezTo>
                  <a:cubicBezTo>
                    <a:pt x="3090" y="3121"/>
                    <a:pt x="3107" y="3108"/>
                    <a:pt x="3129" y="3106"/>
                  </a:cubicBezTo>
                  <a:cubicBezTo>
                    <a:pt x="3152" y="3105"/>
                    <a:pt x="3171" y="3116"/>
                    <a:pt x="3172" y="3131"/>
                  </a:cubicBezTo>
                  <a:cubicBezTo>
                    <a:pt x="3174" y="3146"/>
                    <a:pt x="3157" y="3159"/>
                    <a:pt x="3135" y="3160"/>
                  </a:cubicBezTo>
                  <a:close/>
                  <a:moveTo>
                    <a:pt x="3068" y="3090"/>
                  </a:moveTo>
                  <a:cubicBezTo>
                    <a:pt x="3046" y="3091"/>
                    <a:pt x="3027" y="3080"/>
                    <a:pt x="3025" y="3065"/>
                  </a:cubicBezTo>
                  <a:cubicBezTo>
                    <a:pt x="3024" y="3050"/>
                    <a:pt x="3041" y="3037"/>
                    <a:pt x="3063" y="3035"/>
                  </a:cubicBezTo>
                  <a:cubicBezTo>
                    <a:pt x="3085" y="3034"/>
                    <a:pt x="3104" y="3045"/>
                    <a:pt x="3105" y="3060"/>
                  </a:cubicBezTo>
                  <a:cubicBezTo>
                    <a:pt x="3107" y="3075"/>
                    <a:pt x="3090" y="3088"/>
                    <a:pt x="3068" y="3090"/>
                  </a:cubicBezTo>
                  <a:close/>
                  <a:moveTo>
                    <a:pt x="3008" y="3168"/>
                  </a:moveTo>
                  <a:cubicBezTo>
                    <a:pt x="2986" y="3169"/>
                    <a:pt x="2967" y="3158"/>
                    <a:pt x="2965" y="3143"/>
                  </a:cubicBezTo>
                  <a:cubicBezTo>
                    <a:pt x="2964" y="3128"/>
                    <a:pt x="2981" y="3115"/>
                    <a:pt x="3003" y="3114"/>
                  </a:cubicBezTo>
                  <a:cubicBezTo>
                    <a:pt x="3026" y="3113"/>
                    <a:pt x="3045" y="3124"/>
                    <a:pt x="3046" y="3139"/>
                  </a:cubicBezTo>
                  <a:cubicBezTo>
                    <a:pt x="3047" y="3154"/>
                    <a:pt x="3030" y="3167"/>
                    <a:pt x="3008" y="3168"/>
                  </a:cubicBezTo>
                  <a:close/>
                  <a:moveTo>
                    <a:pt x="2942" y="3097"/>
                  </a:moveTo>
                  <a:cubicBezTo>
                    <a:pt x="2920" y="3098"/>
                    <a:pt x="2901" y="3087"/>
                    <a:pt x="2900" y="3072"/>
                  </a:cubicBezTo>
                  <a:cubicBezTo>
                    <a:pt x="2899" y="3057"/>
                    <a:pt x="2916" y="3044"/>
                    <a:pt x="2938" y="3042"/>
                  </a:cubicBezTo>
                  <a:cubicBezTo>
                    <a:pt x="2960" y="3041"/>
                    <a:pt x="2979" y="3052"/>
                    <a:pt x="2980" y="3067"/>
                  </a:cubicBezTo>
                  <a:cubicBezTo>
                    <a:pt x="2981" y="3082"/>
                    <a:pt x="2964" y="3096"/>
                    <a:pt x="2942" y="3097"/>
                  </a:cubicBezTo>
                  <a:close/>
                  <a:moveTo>
                    <a:pt x="2881" y="3175"/>
                  </a:moveTo>
                  <a:cubicBezTo>
                    <a:pt x="2859" y="3176"/>
                    <a:pt x="2840" y="3165"/>
                    <a:pt x="2839" y="3150"/>
                  </a:cubicBezTo>
                  <a:cubicBezTo>
                    <a:pt x="2838" y="3135"/>
                    <a:pt x="2855" y="3122"/>
                    <a:pt x="2877" y="3121"/>
                  </a:cubicBezTo>
                  <a:cubicBezTo>
                    <a:pt x="2899" y="3119"/>
                    <a:pt x="2918" y="3131"/>
                    <a:pt x="2920" y="3146"/>
                  </a:cubicBezTo>
                  <a:cubicBezTo>
                    <a:pt x="2921" y="3161"/>
                    <a:pt x="2903" y="3174"/>
                    <a:pt x="2881" y="3175"/>
                  </a:cubicBezTo>
                  <a:close/>
                  <a:moveTo>
                    <a:pt x="2816" y="3103"/>
                  </a:moveTo>
                  <a:cubicBezTo>
                    <a:pt x="2794" y="3104"/>
                    <a:pt x="2775" y="3093"/>
                    <a:pt x="2774" y="3078"/>
                  </a:cubicBezTo>
                  <a:cubicBezTo>
                    <a:pt x="2774" y="3063"/>
                    <a:pt x="2791" y="3050"/>
                    <a:pt x="2813" y="3049"/>
                  </a:cubicBezTo>
                  <a:cubicBezTo>
                    <a:pt x="2835" y="3048"/>
                    <a:pt x="2853" y="3059"/>
                    <a:pt x="2855" y="3074"/>
                  </a:cubicBezTo>
                  <a:cubicBezTo>
                    <a:pt x="2856" y="3089"/>
                    <a:pt x="2838" y="3102"/>
                    <a:pt x="2816" y="3103"/>
                  </a:cubicBezTo>
                  <a:close/>
                  <a:moveTo>
                    <a:pt x="2793" y="3152"/>
                  </a:moveTo>
                  <a:cubicBezTo>
                    <a:pt x="2794" y="3167"/>
                    <a:pt x="2777" y="3180"/>
                    <a:pt x="2754" y="3181"/>
                  </a:cubicBezTo>
                  <a:cubicBezTo>
                    <a:pt x="2732" y="3182"/>
                    <a:pt x="2713" y="3170"/>
                    <a:pt x="2712" y="3155"/>
                  </a:cubicBezTo>
                  <a:cubicBezTo>
                    <a:pt x="2711" y="3140"/>
                    <a:pt x="2729" y="3127"/>
                    <a:pt x="2751" y="3126"/>
                  </a:cubicBezTo>
                  <a:cubicBezTo>
                    <a:pt x="2773" y="3125"/>
                    <a:pt x="2792" y="3137"/>
                    <a:pt x="2793" y="3152"/>
                  </a:cubicBezTo>
                  <a:close/>
                  <a:moveTo>
                    <a:pt x="2690" y="3108"/>
                  </a:moveTo>
                  <a:cubicBezTo>
                    <a:pt x="2668" y="3109"/>
                    <a:pt x="2650" y="3098"/>
                    <a:pt x="2649" y="3083"/>
                  </a:cubicBezTo>
                  <a:cubicBezTo>
                    <a:pt x="2648" y="3068"/>
                    <a:pt x="2666" y="3055"/>
                    <a:pt x="2688" y="3054"/>
                  </a:cubicBezTo>
                  <a:cubicBezTo>
                    <a:pt x="2710" y="3053"/>
                    <a:pt x="2728" y="3064"/>
                    <a:pt x="2729" y="3080"/>
                  </a:cubicBezTo>
                  <a:cubicBezTo>
                    <a:pt x="2730" y="3095"/>
                    <a:pt x="2713" y="3107"/>
                    <a:pt x="2690" y="3108"/>
                  </a:cubicBezTo>
                  <a:close/>
                  <a:moveTo>
                    <a:pt x="2666" y="3157"/>
                  </a:moveTo>
                  <a:cubicBezTo>
                    <a:pt x="2667" y="3172"/>
                    <a:pt x="2650" y="3185"/>
                    <a:pt x="2627" y="3186"/>
                  </a:cubicBezTo>
                  <a:cubicBezTo>
                    <a:pt x="2605" y="3187"/>
                    <a:pt x="2586" y="3175"/>
                    <a:pt x="2586" y="3160"/>
                  </a:cubicBezTo>
                  <a:cubicBezTo>
                    <a:pt x="2585" y="3145"/>
                    <a:pt x="2603" y="3132"/>
                    <a:pt x="2625" y="3131"/>
                  </a:cubicBezTo>
                  <a:cubicBezTo>
                    <a:pt x="2647" y="3131"/>
                    <a:pt x="2666" y="3142"/>
                    <a:pt x="2666" y="3157"/>
                  </a:cubicBezTo>
                  <a:close/>
                  <a:moveTo>
                    <a:pt x="2565" y="3113"/>
                  </a:moveTo>
                  <a:cubicBezTo>
                    <a:pt x="2542" y="3114"/>
                    <a:pt x="2524" y="3102"/>
                    <a:pt x="2524" y="3087"/>
                  </a:cubicBezTo>
                  <a:cubicBezTo>
                    <a:pt x="2523" y="3072"/>
                    <a:pt x="2541" y="3059"/>
                    <a:pt x="2563" y="3058"/>
                  </a:cubicBezTo>
                  <a:cubicBezTo>
                    <a:pt x="2585" y="3058"/>
                    <a:pt x="2603" y="3069"/>
                    <a:pt x="2604" y="3084"/>
                  </a:cubicBezTo>
                  <a:cubicBezTo>
                    <a:pt x="2604" y="3099"/>
                    <a:pt x="2587" y="3112"/>
                    <a:pt x="2565" y="3113"/>
                  </a:cubicBezTo>
                  <a:close/>
                  <a:moveTo>
                    <a:pt x="2540" y="3161"/>
                  </a:moveTo>
                  <a:cubicBezTo>
                    <a:pt x="2540" y="3176"/>
                    <a:pt x="2523" y="3189"/>
                    <a:pt x="2500" y="3190"/>
                  </a:cubicBezTo>
                  <a:cubicBezTo>
                    <a:pt x="2478" y="3191"/>
                    <a:pt x="2459" y="3179"/>
                    <a:pt x="2459" y="3164"/>
                  </a:cubicBezTo>
                  <a:cubicBezTo>
                    <a:pt x="2459" y="3149"/>
                    <a:pt x="2477" y="3136"/>
                    <a:pt x="2499" y="3135"/>
                  </a:cubicBezTo>
                  <a:cubicBezTo>
                    <a:pt x="2521" y="3135"/>
                    <a:pt x="2539" y="3146"/>
                    <a:pt x="2540" y="3161"/>
                  </a:cubicBezTo>
                  <a:close/>
                  <a:moveTo>
                    <a:pt x="2439" y="3116"/>
                  </a:moveTo>
                  <a:cubicBezTo>
                    <a:pt x="2416" y="3117"/>
                    <a:pt x="2398" y="3105"/>
                    <a:pt x="2398" y="3090"/>
                  </a:cubicBezTo>
                  <a:cubicBezTo>
                    <a:pt x="2398" y="3075"/>
                    <a:pt x="2416" y="3062"/>
                    <a:pt x="2438" y="3062"/>
                  </a:cubicBezTo>
                  <a:cubicBezTo>
                    <a:pt x="2460" y="3061"/>
                    <a:pt x="2478" y="3073"/>
                    <a:pt x="2478" y="3088"/>
                  </a:cubicBezTo>
                  <a:cubicBezTo>
                    <a:pt x="2479" y="3103"/>
                    <a:pt x="2461" y="3116"/>
                    <a:pt x="2439" y="3116"/>
                  </a:cubicBezTo>
                  <a:close/>
                  <a:moveTo>
                    <a:pt x="2413" y="3165"/>
                  </a:moveTo>
                  <a:cubicBezTo>
                    <a:pt x="2413" y="3180"/>
                    <a:pt x="2395" y="3193"/>
                    <a:pt x="2373" y="3193"/>
                  </a:cubicBezTo>
                  <a:cubicBezTo>
                    <a:pt x="2351" y="3194"/>
                    <a:pt x="2332" y="3182"/>
                    <a:pt x="2332" y="3167"/>
                  </a:cubicBezTo>
                  <a:cubicBezTo>
                    <a:pt x="2332" y="3152"/>
                    <a:pt x="2350" y="3139"/>
                    <a:pt x="2373" y="3138"/>
                  </a:cubicBezTo>
                  <a:cubicBezTo>
                    <a:pt x="2395" y="3138"/>
                    <a:pt x="2413" y="3150"/>
                    <a:pt x="2413" y="3165"/>
                  </a:cubicBezTo>
                  <a:close/>
                  <a:moveTo>
                    <a:pt x="2313" y="3119"/>
                  </a:moveTo>
                  <a:cubicBezTo>
                    <a:pt x="2291" y="3119"/>
                    <a:pt x="2273" y="3108"/>
                    <a:pt x="2273" y="3092"/>
                  </a:cubicBezTo>
                  <a:cubicBezTo>
                    <a:pt x="2273" y="3077"/>
                    <a:pt x="2291" y="3065"/>
                    <a:pt x="2313" y="3064"/>
                  </a:cubicBezTo>
                  <a:cubicBezTo>
                    <a:pt x="2335" y="3064"/>
                    <a:pt x="2353" y="3076"/>
                    <a:pt x="2353" y="3091"/>
                  </a:cubicBezTo>
                  <a:cubicBezTo>
                    <a:pt x="2353" y="3106"/>
                    <a:pt x="2335" y="3119"/>
                    <a:pt x="2313" y="3119"/>
                  </a:cubicBezTo>
                  <a:close/>
                  <a:moveTo>
                    <a:pt x="2287" y="3167"/>
                  </a:moveTo>
                  <a:cubicBezTo>
                    <a:pt x="2287" y="3183"/>
                    <a:pt x="2268" y="3195"/>
                    <a:pt x="2246" y="3195"/>
                  </a:cubicBezTo>
                  <a:cubicBezTo>
                    <a:pt x="2224" y="3196"/>
                    <a:pt x="2206" y="3184"/>
                    <a:pt x="2206" y="3169"/>
                  </a:cubicBezTo>
                  <a:cubicBezTo>
                    <a:pt x="2206" y="3153"/>
                    <a:pt x="2224" y="3141"/>
                    <a:pt x="2246" y="3141"/>
                  </a:cubicBezTo>
                  <a:cubicBezTo>
                    <a:pt x="2269" y="3140"/>
                    <a:pt x="2287" y="3152"/>
                    <a:pt x="2287" y="3167"/>
                  </a:cubicBezTo>
                  <a:close/>
                  <a:moveTo>
                    <a:pt x="2187" y="3121"/>
                  </a:moveTo>
                  <a:cubicBezTo>
                    <a:pt x="2165" y="3121"/>
                    <a:pt x="2147" y="3109"/>
                    <a:pt x="2147" y="3094"/>
                  </a:cubicBezTo>
                  <a:cubicBezTo>
                    <a:pt x="2147" y="3079"/>
                    <a:pt x="2165" y="3066"/>
                    <a:pt x="2187" y="3066"/>
                  </a:cubicBezTo>
                  <a:cubicBezTo>
                    <a:pt x="2210" y="3066"/>
                    <a:pt x="2227" y="3078"/>
                    <a:pt x="2227" y="3093"/>
                  </a:cubicBezTo>
                  <a:cubicBezTo>
                    <a:pt x="2227" y="3108"/>
                    <a:pt x="2209" y="3121"/>
                    <a:pt x="2187" y="3121"/>
                  </a:cubicBezTo>
                  <a:close/>
                  <a:moveTo>
                    <a:pt x="2160" y="3169"/>
                  </a:moveTo>
                  <a:cubicBezTo>
                    <a:pt x="2160" y="3184"/>
                    <a:pt x="2141" y="3197"/>
                    <a:pt x="2119" y="3197"/>
                  </a:cubicBezTo>
                  <a:cubicBezTo>
                    <a:pt x="2096" y="3197"/>
                    <a:pt x="2079" y="3185"/>
                    <a:pt x="2079" y="3170"/>
                  </a:cubicBezTo>
                  <a:cubicBezTo>
                    <a:pt x="2079" y="3155"/>
                    <a:pt x="2098" y="3142"/>
                    <a:pt x="2120" y="3142"/>
                  </a:cubicBezTo>
                  <a:cubicBezTo>
                    <a:pt x="2142" y="3142"/>
                    <a:pt x="2160" y="3154"/>
                    <a:pt x="2160" y="3169"/>
                  </a:cubicBezTo>
                  <a:close/>
                  <a:moveTo>
                    <a:pt x="2061" y="3122"/>
                  </a:moveTo>
                  <a:cubicBezTo>
                    <a:pt x="2039" y="3122"/>
                    <a:pt x="2021" y="3110"/>
                    <a:pt x="2022" y="3094"/>
                  </a:cubicBezTo>
                  <a:cubicBezTo>
                    <a:pt x="2022" y="3079"/>
                    <a:pt x="2040" y="3067"/>
                    <a:pt x="2062" y="3067"/>
                  </a:cubicBezTo>
                  <a:cubicBezTo>
                    <a:pt x="2084" y="3067"/>
                    <a:pt x="2102" y="3079"/>
                    <a:pt x="2102" y="3094"/>
                  </a:cubicBezTo>
                  <a:cubicBezTo>
                    <a:pt x="2101" y="3109"/>
                    <a:pt x="2083" y="3122"/>
                    <a:pt x="2061" y="3122"/>
                  </a:cubicBezTo>
                  <a:close/>
                  <a:moveTo>
                    <a:pt x="2033" y="3170"/>
                  </a:moveTo>
                  <a:cubicBezTo>
                    <a:pt x="2033" y="3185"/>
                    <a:pt x="2014" y="3197"/>
                    <a:pt x="1992" y="3197"/>
                  </a:cubicBezTo>
                  <a:cubicBezTo>
                    <a:pt x="1969" y="3197"/>
                    <a:pt x="1952" y="3185"/>
                    <a:pt x="1952" y="3170"/>
                  </a:cubicBezTo>
                  <a:cubicBezTo>
                    <a:pt x="1953" y="3155"/>
                    <a:pt x="1971" y="3142"/>
                    <a:pt x="1994" y="3142"/>
                  </a:cubicBezTo>
                  <a:cubicBezTo>
                    <a:pt x="2016" y="3143"/>
                    <a:pt x="2034" y="3155"/>
                    <a:pt x="2033" y="3170"/>
                  </a:cubicBezTo>
                  <a:close/>
                  <a:moveTo>
                    <a:pt x="1935" y="3122"/>
                  </a:moveTo>
                  <a:cubicBezTo>
                    <a:pt x="1913" y="3122"/>
                    <a:pt x="1895" y="3109"/>
                    <a:pt x="1896" y="3094"/>
                  </a:cubicBezTo>
                  <a:cubicBezTo>
                    <a:pt x="1897" y="3079"/>
                    <a:pt x="1915" y="3067"/>
                    <a:pt x="1937" y="3067"/>
                  </a:cubicBezTo>
                  <a:cubicBezTo>
                    <a:pt x="1959" y="3067"/>
                    <a:pt x="1977" y="3079"/>
                    <a:pt x="1976" y="3094"/>
                  </a:cubicBezTo>
                  <a:cubicBezTo>
                    <a:pt x="1976" y="3110"/>
                    <a:pt x="1957" y="3122"/>
                    <a:pt x="1935" y="3122"/>
                  </a:cubicBezTo>
                  <a:close/>
                  <a:moveTo>
                    <a:pt x="1906" y="3170"/>
                  </a:moveTo>
                  <a:cubicBezTo>
                    <a:pt x="1906" y="3185"/>
                    <a:pt x="1887" y="3197"/>
                    <a:pt x="1865" y="3197"/>
                  </a:cubicBezTo>
                  <a:cubicBezTo>
                    <a:pt x="1842" y="3197"/>
                    <a:pt x="1825" y="3184"/>
                    <a:pt x="1826" y="3169"/>
                  </a:cubicBezTo>
                  <a:cubicBezTo>
                    <a:pt x="1826" y="3154"/>
                    <a:pt x="1845" y="3142"/>
                    <a:pt x="1867" y="3142"/>
                  </a:cubicBezTo>
                  <a:cubicBezTo>
                    <a:pt x="1890" y="3142"/>
                    <a:pt x="1907" y="3155"/>
                    <a:pt x="1906" y="3170"/>
                  </a:cubicBezTo>
                  <a:close/>
                  <a:moveTo>
                    <a:pt x="1809" y="3121"/>
                  </a:moveTo>
                  <a:cubicBezTo>
                    <a:pt x="1787" y="3121"/>
                    <a:pt x="1769" y="3108"/>
                    <a:pt x="1770" y="3093"/>
                  </a:cubicBezTo>
                  <a:cubicBezTo>
                    <a:pt x="1771" y="3078"/>
                    <a:pt x="1790" y="3066"/>
                    <a:pt x="1812" y="3066"/>
                  </a:cubicBezTo>
                  <a:cubicBezTo>
                    <a:pt x="1834" y="3066"/>
                    <a:pt x="1851" y="3079"/>
                    <a:pt x="1851" y="3094"/>
                  </a:cubicBezTo>
                  <a:cubicBezTo>
                    <a:pt x="1850" y="3109"/>
                    <a:pt x="1831" y="3121"/>
                    <a:pt x="1809" y="3121"/>
                  </a:cubicBezTo>
                  <a:close/>
                  <a:moveTo>
                    <a:pt x="1780" y="3169"/>
                  </a:moveTo>
                  <a:cubicBezTo>
                    <a:pt x="1779" y="3184"/>
                    <a:pt x="1760" y="3196"/>
                    <a:pt x="1737" y="3195"/>
                  </a:cubicBezTo>
                  <a:cubicBezTo>
                    <a:pt x="1715" y="3195"/>
                    <a:pt x="1698" y="3183"/>
                    <a:pt x="1699" y="3167"/>
                  </a:cubicBezTo>
                  <a:cubicBezTo>
                    <a:pt x="1700" y="3152"/>
                    <a:pt x="1719" y="3140"/>
                    <a:pt x="1741" y="3141"/>
                  </a:cubicBezTo>
                  <a:cubicBezTo>
                    <a:pt x="1763" y="3141"/>
                    <a:pt x="1781" y="3153"/>
                    <a:pt x="1780" y="3169"/>
                  </a:cubicBezTo>
                  <a:close/>
                  <a:moveTo>
                    <a:pt x="1683" y="3119"/>
                  </a:moveTo>
                  <a:cubicBezTo>
                    <a:pt x="1661" y="3119"/>
                    <a:pt x="1644" y="3106"/>
                    <a:pt x="1645" y="3091"/>
                  </a:cubicBezTo>
                  <a:cubicBezTo>
                    <a:pt x="1646" y="3076"/>
                    <a:pt x="1665" y="3064"/>
                    <a:pt x="1687" y="3064"/>
                  </a:cubicBezTo>
                  <a:cubicBezTo>
                    <a:pt x="1709" y="3065"/>
                    <a:pt x="1726" y="3077"/>
                    <a:pt x="1725" y="3092"/>
                  </a:cubicBezTo>
                  <a:cubicBezTo>
                    <a:pt x="1724" y="3107"/>
                    <a:pt x="1705" y="3119"/>
                    <a:pt x="1683" y="3119"/>
                  </a:cubicBezTo>
                  <a:close/>
                  <a:moveTo>
                    <a:pt x="1653" y="3167"/>
                  </a:moveTo>
                  <a:cubicBezTo>
                    <a:pt x="1652" y="3182"/>
                    <a:pt x="1633" y="3194"/>
                    <a:pt x="1610" y="3193"/>
                  </a:cubicBezTo>
                  <a:cubicBezTo>
                    <a:pt x="1588" y="3193"/>
                    <a:pt x="1571" y="3180"/>
                    <a:pt x="1572" y="3165"/>
                  </a:cubicBezTo>
                  <a:cubicBezTo>
                    <a:pt x="1574" y="3150"/>
                    <a:pt x="1593" y="3138"/>
                    <a:pt x="1615" y="3138"/>
                  </a:cubicBezTo>
                  <a:cubicBezTo>
                    <a:pt x="1637" y="3139"/>
                    <a:pt x="1654" y="3151"/>
                    <a:pt x="1653" y="3167"/>
                  </a:cubicBezTo>
                  <a:close/>
                  <a:moveTo>
                    <a:pt x="1557" y="3116"/>
                  </a:moveTo>
                  <a:cubicBezTo>
                    <a:pt x="1535" y="3116"/>
                    <a:pt x="1518" y="3103"/>
                    <a:pt x="1519" y="3088"/>
                  </a:cubicBezTo>
                  <a:cubicBezTo>
                    <a:pt x="1521" y="3073"/>
                    <a:pt x="1540" y="3061"/>
                    <a:pt x="1562" y="3061"/>
                  </a:cubicBezTo>
                  <a:cubicBezTo>
                    <a:pt x="1584" y="3062"/>
                    <a:pt x="1601" y="3075"/>
                    <a:pt x="1599" y="3090"/>
                  </a:cubicBezTo>
                  <a:cubicBezTo>
                    <a:pt x="1598" y="3105"/>
                    <a:pt x="1579" y="3117"/>
                    <a:pt x="1557" y="3116"/>
                  </a:cubicBezTo>
                  <a:close/>
                  <a:moveTo>
                    <a:pt x="1526" y="3164"/>
                  </a:moveTo>
                  <a:cubicBezTo>
                    <a:pt x="1525" y="3179"/>
                    <a:pt x="1506" y="3191"/>
                    <a:pt x="1483" y="3190"/>
                  </a:cubicBezTo>
                  <a:cubicBezTo>
                    <a:pt x="1461" y="3189"/>
                    <a:pt x="1444" y="3177"/>
                    <a:pt x="1445" y="3161"/>
                  </a:cubicBezTo>
                  <a:cubicBezTo>
                    <a:pt x="1447" y="3146"/>
                    <a:pt x="1466" y="3135"/>
                    <a:pt x="1489" y="3135"/>
                  </a:cubicBezTo>
                  <a:cubicBezTo>
                    <a:pt x="1511" y="3136"/>
                    <a:pt x="1528" y="3149"/>
                    <a:pt x="1526" y="3164"/>
                  </a:cubicBezTo>
                  <a:close/>
                  <a:moveTo>
                    <a:pt x="1431" y="3113"/>
                  </a:moveTo>
                  <a:cubicBezTo>
                    <a:pt x="1409" y="3112"/>
                    <a:pt x="1392" y="3099"/>
                    <a:pt x="1394" y="3084"/>
                  </a:cubicBezTo>
                  <a:cubicBezTo>
                    <a:pt x="1395" y="3069"/>
                    <a:pt x="1415" y="3057"/>
                    <a:pt x="1437" y="3058"/>
                  </a:cubicBezTo>
                  <a:cubicBezTo>
                    <a:pt x="1459" y="3059"/>
                    <a:pt x="1475" y="3071"/>
                    <a:pt x="1474" y="3087"/>
                  </a:cubicBezTo>
                  <a:cubicBezTo>
                    <a:pt x="1472" y="3102"/>
                    <a:pt x="1453" y="3113"/>
                    <a:pt x="1431" y="3113"/>
                  </a:cubicBezTo>
                  <a:close/>
                  <a:moveTo>
                    <a:pt x="1400" y="3160"/>
                  </a:moveTo>
                  <a:cubicBezTo>
                    <a:pt x="1398" y="3175"/>
                    <a:pt x="1379" y="3187"/>
                    <a:pt x="1356" y="3186"/>
                  </a:cubicBezTo>
                  <a:cubicBezTo>
                    <a:pt x="1334" y="3185"/>
                    <a:pt x="1317" y="3172"/>
                    <a:pt x="1319" y="3157"/>
                  </a:cubicBezTo>
                  <a:cubicBezTo>
                    <a:pt x="1321" y="3142"/>
                    <a:pt x="1340" y="3130"/>
                    <a:pt x="1362" y="3131"/>
                  </a:cubicBezTo>
                  <a:cubicBezTo>
                    <a:pt x="1385" y="3132"/>
                    <a:pt x="1401" y="3145"/>
                    <a:pt x="1400" y="3160"/>
                  </a:cubicBezTo>
                  <a:close/>
                  <a:moveTo>
                    <a:pt x="1305" y="3108"/>
                  </a:moveTo>
                  <a:cubicBezTo>
                    <a:pt x="1283" y="3107"/>
                    <a:pt x="1266" y="3094"/>
                    <a:pt x="1268" y="3079"/>
                  </a:cubicBezTo>
                  <a:cubicBezTo>
                    <a:pt x="1270" y="3064"/>
                    <a:pt x="1290" y="3052"/>
                    <a:pt x="1312" y="3053"/>
                  </a:cubicBezTo>
                  <a:cubicBezTo>
                    <a:pt x="1334" y="3054"/>
                    <a:pt x="1350" y="3067"/>
                    <a:pt x="1348" y="3082"/>
                  </a:cubicBezTo>
                  <a:cubicBezTo>
                    <a:pt x="1347" y="3097"/>
                    <a:pt x="1327" y="3109"/>
                    <a:pt x="1305" y="3108"/>
                  </a:cubicBezTo>
                  <a:close/>
                  <a:moveTo>
                    <a:pt x="1273" y="3155"/>
                  </a:moveTo>
                  <a:cubicBezTo>
                    <a:pt x="1271" y="3170"/>
                    <a:pt x="1251" y="3182"/>
                    <a:pt x="1229" y="3181"/>
                  </a:cubicBezTo>
                  <a:cubicBezTo>
                    <a:pt x="1207" y="3180"/>
                    <a:pt x="1190" y="3167"/>
                    <a:pt x="1192" y="3152"/>
                  </a:cubicBezTo>
                  <a:cubicBezTo>
                    <a:pt x="1194" y="3137"/>
                    <a:pt x="1214" y="3125"/>
                    <a:pt x="1236" y="3126"/>
                  </a:cubicBezTo>
                  <a:cubicBezTo>
                    <a:pt x="1258" y="3127"/>
                    <a:pt x="1275" y="3140"/>
                    <a:pt x="1273" y="3155"/>
                  </a:cubicBezTo>
                  <a:close/>
                  <a:moveTo>
                    <a:pt x="1179" y="3103"/>
                  </a:moveTo>
                  <a:cubicBezTo>
                    <a:pt x="1157" y="3102"/>
                    <a:pt x="1141" y="3089"/>
                    <a:pt x="1143" y="3073"/>
                  </a:cubicBezTo>
                  <a:cubicBezTo>
                    <a:pt x="1145" y="3058"/>
                    <a:pt x="1164" y="3047"/>
                    <a:pt x="1187" y="3048"/>
                  </a:cubicBezTo>
                  <a:cubicBezTo>
                    <a:pt x="1209" y="3049"/>
                    <a:pt x="1225" y="3062"/>
                    <a:pt x="1223" y="3077"/>
                  </a:cubicBezTo>
                  <a:cubicBezTo>
                    <a:pt x="1221" y="3092"/>
                    <a:pt x="1201" y="3104"/>
                    <a:pt x="1179" y="3103"/>
                  </a:cubicBezTo>
                  <a:close/>
                  <a:moveTo>
                    <a:pt x="1146" y="3150"/>
                  </a:moveTo>
                  <a:cubicBezTo>
                    <a:pt x="1144" y="3165"/>
                    <a:pt x="1124" y="3176"/>
                    <a:pt x="1102" y="3175"/>
                  </a:cubicBezTo>
                  <a:cubicBezTo>
                    <a:pt x="1080" y="3174"/>
                    <a:pt x="1063" y="3161"/>
                    <a:pt x="1065" y="3146"/>
                  </a:cubicBezTo>
                  <a:cubicBezTo>
                    <a:pt x="1068" y="3131"/>
                    <a:pt x="1088" y="3119"/>
                    <a:pt x="1110" y="3120"/>
                  </a:cubicBezTo>
                  <a:cubicBezTo>
                    <a:pt x="1132" y="3121"/>
                    <a:pt x="1148" y="3135"/>
                    <a:pt x="1146" y="3150"/>
                  </a:cubicBezTo>
                  <a:close/>
                  <a:moveTo>
                    <a:pt x="1053" y="3097"/>
                  </a:moveTo>
                  <a:cubicBezTo>
                    <a:pt x="1031" y="3095"/>
                    <a:pt x="1015" y="3082"/>
                    <a:pt x="1017" y="3067"/>
                  </a:cubicBezTo>
                  <a:cubicBezTo>
                    <a:pt x="1020" y="3052"/>
                    <a:pt x="1039" y="3040"/>
                    <a:pt x="1061" y="3042"/>
                  </a:cubicBezTo>
                  <a:cubicBezTo>
                    <a:pt x="1083" y="3043"/>
                    <a:pt x="1100" y="3056"/>
                    <a:pt x="1097" y="3071"/>
                  </a:cubicBezTo>
                  <a:cubicBezTo>
                    <a:pt x="1095" y="3086"/>
                    <a:pt x="1075" y="3098"/>
                    <a:pt x="1053" y="3097"/>
                  </a:cubicBezTo>
                  <a:close/>
                  <a:moveTo>
                    <a:pt x="1020" y="3143"/>
                  </a:moveTo>
                  <a:cubicBezTo>
                    <a:pt x="1017" y="3158"/>
                    <a:pt x="997" y="3170"/>
                    <a:pt x="975" y="3168"/>
                  </a:cubicBezTo>
                  <a:cubicBezTo>
                    <a:pt x="953" y="3167"/>
                    <a:pt x="936" y="3154"/>
                    <a:pt x="939" y="3139"/>
                  </a:cubicBezTo>
                  <a:cubicBezTo>
                    <a:pt x="941" y="3123"/>
                    <a:pt x="961" y="3112"/>
                    <a:pt x="984" y="3114"/>
                  </a:cubicBezTo>
                  <a:cubicBezTo>
                    <a:pt x="1006" y="3115"/>
                    <a:pt x="1022" y="3128"/>
                    <a:pt x="1020" y="3143"/>
                  </a:cubicBezTo>
                  <a:close/>
                  <a:moveTo>
                    <a:pt x="927" y="3089"/>
                  </a:moveTo>
                  <a:cubicBezTo>
                    <a:pt x="905" y="3088"/>
                    <a:pt x="889" y="3075"/>
                    <a:pt x="892" y="3059"/>
                  </a:cubicBezTo>
                  <a:cubicBezTo>
                    <a:pt x="894" y="3044"/>
                    <a:pt x="914" y="3033"/>
                    <a:pt x="936" y="3034"/>
                  </a:cubicBezTo>
                  <a:cubicBezTo>
                    <a:pt x="958" y="3036"/>
                    <a:pt x="974" y="3049"/>
                    <a:pt x="972" y="3064"/>
                  </a:cubicBezTo>
                  <a:cubicBezTo>
                    <a:pt x="969" y="3079"/>
                    <a:pt x="949" y="3091"/>
                    <a:pt x="927" y="3089"/>
                  </a:cubicBezTo>
                  <a:close/>
                  <a:moveTo>
                    <a:pt x="893" y="3136"/>
                  </a:moveTo>
                  <a:cubicBezTo>
                    <a:pt x="891" y="3151"/>
                    <a:pt x="870" y="3162"/>
                    <a:pt x="848" y="3161"/>
                  </a:cubicBezTo>
                  <a:cubicBezTo>
                    <a:pt x="826" y="3159"/>
                    <a:pt x="810" y="3146"/>
                    <a:pt x="812" y="3131"/>
                  </a:cubicBezTo>
                  <a:cubicBezTo>
                    <a:pt x="815" y="3116"/>
                    <a:pt x="835" y="3104"/>
                    <a:pt x="857" y="3106"/>
                  </a:cubicBezTo>
                  <a:cubicBezTo>
                    <a:pt x="880" y="3107"/>
                    <a:pt x="896" y="3121"/>
                    <a:pt x="893" y="3136"/>
                  </a:cubicBezTo>
                  <a:close/>
                  <a:moveTo>
                    <a:pt x="801" y="3081"/>
                  </a:moveTo>
                  <a:cubicBezTo>
                    <a:pt x="779" y="3080"/>
                    <a:pt x="764" y="3066"/>
                    <a:pt x="766" y="3051"/>
                  </a:cubicBezTo>
                  <a:cubicBezTo>
                    <a:pt x="769" y="3036"/>
                    <a:pt x="789" y="3025"/>
                    <a:pt x="811" y="3026"/>
                  </a:cubicBezTo>
                  <a:cubicBezTo>
                    <a:pt x="833" y="3028"/>
                    <a:pt x="849" y="3041"/>
                    <a:pt x="846" y="3056"/>
                  </a:cubicBezTo>
                  <a:cubicBezTo>
                    <a:pt x="844" y="3072"/>
                    <a:pt x="824" y="3083"/>
                    <a:pt x="801" y="3081"/>
                  </a:cubicBezTo>
                  <a:close/>
                  <a:moveTo>
                    <a:pt x="766" y="3128"/>
                  </a:moveTo>
                  <a:cubicBezTo>
                    <a:pt x="764" y="3143"/>
                    <a:pt x="743" y="3154"/>
                    <a:pt x="721" y="3152"/>
                  </a:cubicBezTo>
                  <a:cubicBezTo>
                    <a:pt x="699" y="3151"/>
                    <a:pt x="683" y="3137"/>
                    <a:pt x="686" y="3122"/>
                  </a:cubicBezTo>
                  <a:cubicBezTo>
                    <a:pt x="689" y="3107"/>
                    <a:pt x="709" y="3096"/>
                    <a:pt x="731" y="3097"/>
                  </a:cubicBezTo>
                  <a:cubicBezTo>
                    <a:pt x="754" y="3099"/>
                    <a:pt x="769" y="3112"/>
                    <a:pt x="766" y="3128"/>
                  </a:cubicBezTo>
                  <a:close/>
                  <a:moveTo>
                    <a:pt x="676" y="3072"/>
                  </a:moveTo>
                  <a:cubicBezTo>
                    <a:pt x="653" y="3071"/>
                    <a:pt x="638" y="3057"/>
                    <a:pt x="641" y="3042"/>
                  </a:cubicBezTo>
                  <a:cubicBezTo>
                    <a:pt x="644" y="3027"/>
                    <a:pt x="664" y="3016"/>
                    <a:pt x="686" y="3017"/>
                  </a:cubicBezTo>
                  <a:cubicBezTo>
                    <a:pt x="708" y="3019"/>
                    <a:pt x="724" y="3033"/>
                    <a:pt x="721" y="3048"/>
                  </a:cubicBezTo>
                  <a:cubicBezTo>
                    <a:pt x="718" y="3063"/>
                    <a:pt x="698" y="3074"/>
                    <a:pt x="676" y="3072"/>
                  </a:cubicBezTo>
                  <a:close/>
                  <a:moveTo>
                    <a:pt x="625" y="2989"/>
                  </a:moveTo>
                  <a:cubicBezTo>
                    <a:pt x="603" y="2987"/>
                    <a:pt x="588" y="2973"/>
                    <a:pt x="591" y="2958"/>
                  </a:cubicBezTo>
                  <a:cubicBezTo>
                    <a:pt x="595" y="2943"/>
                    <a:pt x="615" y="2932"/>
                    <a:pt x="637" y="2934"/>
                  </a:cubicBezTo>
                  <a:cubicBezTo>
                    <a:pt x="658" y="2936"/>
                    <a:pt x="674" y="2949"/>
                    <a:pt x="671" y="2965"/>
                  </a:cubicBezTo>
                  <a:cubicBezTo>
                    <a:pt x="668" y="2980"/>
                    <a:pt x="647" y="2991"/>
                    <a:pt x="625" y="2989"/>
                  </a:cubicBezTo>
                  <a:close/>
                  <a:moveTo>
                    <a:pt x="640" y="3118"/>
                  </a:moveTo>
                  <a:cubicBezTo>
                    <a:pt x="637" y="3134"/>
                    <a:pt x="616" y="3144"/>
                    <a:pt x="594" y="3143"/>
                  </a:cubicBezTo>
                  <a:cubicBezTo>
                    <a:pt x="572" y="3141"/>
                    <a:pt x="556" y="3127"/>
                    <a:pt x="559" y="3112"/>
                  </a:cubicBezTo>
                  <a:cubicBezTo>
                    <a:pt x="562" y="3097"/>
                    <a:pt x="583" y="3086"/>
                    <a:pt x="605" y="3088"/>
                  </a:cubicBezTo>
                  <a:cubicBezTo>
                    <a:pt x="627" y="3090"/>
                    <a:pt x="643" y="3103"/>
                    <a:pt x="640" y="3118"/>
                  </a:cubicBezTo>
                  <a:close/>
                  <a:moveTo>
                    <a:pt x="550" y="3062"/>
                  </a:moveTo>
                  <a:cubicBezTo>
                    <a:pt x="528" y="3061"/>
                    <a:pt x="512" y="3047"/>
                    <a:pt x="516" y="3032"/>
                  </a:cubicBezTo>
                  <a:cubicBezTo>
                    <a:pt x="519" y="3016"/>
                    <a:pt x="539" y="3006"/>
                    <a:pt x="561" y="3008"/>
                  </a:cubicBezTo>
                  <a:cubicBezTo>
                    <a:pt x="584" y="3009"/>
                    <a:pt x="599" y="3023"/>
                    <a:pt x="596" y="3038"/>
                  </a:cubicBezTo>
                  <a:cubicBezTo>
                    <a:pt x="593" y="3053"/>
                    <a:pt x="572" y="3064"/>
                    <a:pt x="550" y="3062"/>
                  </a:cubicBezTo>
                  <a:close/>
                  <a:moveTo>
                    <a:pt x="501" y="2979"/>
                  </a:moveTo>
                  <a:cubicBezTo>
                    <a:pt x="479" y="2977"/>
                    <a:pt x="464" y="2963"/>
                    <a:pt x="467" y="2948"/>
                  </a:cubicBezTo>
                  <a:cubicBezTo>
                    <a:pt x="471" y="2933"/>
                    <a:pt x="491" y="2922"/>
                    <a:pt x="513" y="2924"/>
                  </a:cubicBezTo>
                  <a:cubicBezTo>
                    <a:pt x="535" y="2926"/>
                    <a:pt x="550" y="2939"/>
                    <a:pt x="547" y="2955"/>
                  </a:cubicBezTo>
                  <a:cubicBezTo>
                    <a:pt x="543" y="2970"/>
                    <a:pt x="523" y="2981"/>
                    <a:pt x="501" y="2979"/>
                  </a:cubicBezTo>
                  <a:close/>
                  <a:moveTo>
                    <a:pt x="513" y="3108"/>
                  </a:moveTo>
                  <a:cubicBezTo>
                    <a:pt x="510" y="3123"/>
                    <a:pt x="489" y="3134"/>
                    <a:pt x="467" y="3132"/>
                  </a:cubicBezTo>
                  <a:cubicBezTo>
                    <a:pt x="445" y="3130"/>
                    <a:pt x="429" y="3116"/>
                    <a:pt x="433" y="3101"/>
                  </a:cubicBezTo>
                  <a:cubicBezTo>
                    <a:pt x="436" y="3086"/>
                    <a:pt x="457" y="3076"/>
                    <a:pt x="479" y="3077"/>
                  </a:cubicBezTo>
                  <a:cubicBezTo>
                    <a:pt x="501" y="3079"/>
                    <a:pt x="517" y="3093"/>
                    <a:pt x="513" y="3108"/>
                  </a:cubicBezTo>
                  <a:close/>
                  <a:moveTo>
                    <a:pt x="436" y="3181"/>
                  </a:moveTo>
                  <a:cubicBezTo>
                    <a:pt x="433" y="3196"/>
                    <a:pt x="412" y="3207"/>
                    <a:pt x="389" y="3205"/>
                  </a:cubicBezTo>
                  <a:cubicBezTo>
                    <a:pt x="367" y="3203"/>
                    <a:pt x="351" y="3189"/>
                    <a:pt x="355" y="3174"/>
                  </a:cubicBezTo>
                  <a:cubicBezTo>
                    <a:pt x="358" y="3159"/>
                    <a:pt x="379" y="3148"/>
                    <a:pt x="402" y="3150"/>
                  </a:cubicBezTo>
                  <a:cubicBezTo>
                    <a:pt x="424" y="3152"/>
                    <a:pt x="440" y="3166"/>
                    <a:pt x="436" y="3181"/>
                  </a:cubicBezTo>
                  <a:close/>
                  <a:moveTo>
                    <a:pt x="340" y="3121"/>
                  </a:moveTo>
                  <a:cubicBezTo>
                    <a:pt x="318" y="3119"/>
                    <a:pt x="303" y="3105"/>
                    <a:pt x="306" y="3090"/>
                  </a:cubicBezTo>
                  <a:cubicBezTo>
                    <a:pt x="310" y="3075"/>
                    <a:pt x="331" y="3064"/>
                    <a:pt x="353" y="3066"/>
                  </a:cubicBezTo>
                  <a:cubicBezTo>
                    <a:pt x="375" y="3068"/>
                    <a:pt x="390" y="3082"/>
                    <a:pt x="387" y="3097"/>
                  </a:cubicBezTo>
                  <a:cubicBezTo>
                    <a:pt x="384" y="3112"/>
                    <a:pt x="363" y="3123"/>
                    <a:pt x="340" y="3121"/>
                  </a:cubicBezTo>
                  <a:close/>
                  <a:moveTo>
                    <a:pt x="309" y="3170"/>
                  </a:moveTo>
                  <a:cubicBezTo>
                    <a:pt x="305" y="3185"/>
                    <a:pt x="284" y="3196"/>
                    <a:pt x="261" y="3193"/>
                  </a:cubicBezTo>
                  <a:cubicBezTo>
                    <a:pt x="239" y="3191"/>
                    <a:pt x="223" y="3177"/>
                    <a:pt x="227" y="3162"/>
                  </a:cubicBezTo>
                  <a:cubicBezTo>
                    <a:pt x="231" y="3147"/>
                    <a:pt x="252" y="3136"/>
                    <a:pt x="274" y="3139"/>
                  </a:cubicBezTo>
                  <a:cubicBezTo>
                    <a:pt x="297" y="3141"/>
                    <a:pt x="312" y="3155"/>
                    <a:pt x="309" y="3170"/>
                  </a:cubicBezTo>
                  <a:close/>
                  <a:moveTo>
                    <a:pt x="213" y="3109"/>
                  </a:moveTo>
                  <a:cubicBezTo>
                    <a:pt x="191" y="3106"/>
                    <a:pt x="176" y="3092"/>
                    <a:pt x="180" y="3077"/>
                  </a:cubicBezTo>
                  <a:cubicBezTo>
                    <a:pt x="184" y="3062"/>
                    <a:pt x="205" y="3052"/>
                    <a:pt x="227" y="3054"/>
                  </a:cubicBezTo>
                  <a:cubicBezTo>
                    <a:pt x="249" y="3056"/>
                    <a:pt x="264" y="3070"/>
                    <a:pt x="261" y="3085"/>
                  </a:cubicBezTo>
                  <a:cubicBezTo>
                    <a:pt x="257" y="3100"/>
                    <a:pt x="236" y="3111"/>
                    <a:pt x="213" y="3109"/>
                  </a:cubicBezTo>
                  <a:close/>
                  <a:moveTo>
                    <a:pt x="181" y="3157"/>
                  </a:moveTo>
                  <a:cubicBezTo>
                    <a:pt x="177" y="3173"/>
                    <a:pt x="156" y="3183"/>
                    <a:pt x="133" y="3181"/>
                  </a:cubicBezTo>
                  <a:cubicBezTo>
                    <a:pt x="111" y="3178"/>
                    <a:pt x="96" y="3164"/>
                    <a:pt x="100" y="3149"/>
                  </a:cubicBezTo>
                  <a:cubicBezTo>
                    <a:pt x="104" y="3134"/>
                    <a:pt x="125" y="3124"/>
                    <a:pt x="147" y="3126"/>
                  </a:cubicBezTo>
                  <a:cubicBezTo>
                    <a:pt x="170" y="3128"/>
                    <a:pt x="185" y="3142"/>
                    <a:pt x="181" y="3157"/>
                  </a:cubicBezTo>
                  <a:close/>
                  <a:moveTo>
                    <a:pt x="128" y="2942"/>
                  </a:moveTo>
                  <a:cubicBezTo>
                    <a:pt x="106" y="2940"/>
                    <a:pt x="91" y="2926"/>
                    <a:pt x="95" y="2911"/>
                  </a:cubicBezTo>
                  <a:cubicBezTo>
                    <a:pt x="99" y="2895"/>
                    <a:pt x="120" y="2885"/>
                    <a:pt x="142" y="2888"/>
                  </a:cubicBezTo>
                  <a:cubicBezTo>
                    <a:pt x="164" y="2890"/>
                    <a:pt x="178" y="2904"/>
                    <a:pt x="174" y="2919"/>
                  </a:cubicBezTo>
                  <a:cubicBezTo>
                    <a:pt x="170" y="2934"/>
                    <a:pt x="149" y="2945"/>
                    <a:pt x="128" y="2942"/>
                  </a:cubicBezTo>
                  <a:close/>
                  <a:moveTo>
                    <a:pt x="89" y="2861"/>
                  </a:moveTo>
                  <a:cubicBezTo>
                    <a:pt x="68" y="2858"/>
                    <a:pt x="53" y="2844"/>
                    <a:pt x="58" y="2829"/>
                  </a:cubicBezTo>
                  <a:cubicBezTo>
                    <a:pt x="62" y="2814"/>
                    <a:pt x="83" y="2803"/>
                    <a:pt x="104" y="2806"/>
                  </a:cubicBezTo>
                  <a:cubicBezTo>
                    <a:pt x="126" y="2808"/>
                    <a:pt x="140" y="2822"/>
                    <a:pt x="136" y="2838"/>
                  </a:cubicBezTo>
                  <a:cubicBezTo>
                    <a:pt x="132" y="2853"/>
                    <a:pt x="111" y="2863"/>
                    <a:pt x="89" y="2861"/>
                  </a:cubicBezTo>
                  <a:close/>
                  <a:moveTo>
                    <a:pt x="90" y="2622"/>
                  </a:moveTo>
                  <a:cubicBezTo>
                    <a:pt x="69" y="2620"/>
                    <a:pt x="55" y="2605"/>
                    <a:pt x="59" y="2590"/>
                  </a:cubicBezTo>
                  <a:cubicBezTo>
                    <a:pt x="64" y="2575"/>
                    <a:pt x="84" y="2565"/>
                    <a:pt x="105" y="2567"/>
                  </a:cubicBezTo>
                  <a:cubicBezTo>
                    <a:pt x="126" y="2570"/>
                    <a:pt x="140" y="2584"/>
                    <a:pt x="136" y="2599"/>
                  </a:cubicBezTo>
                  <a:cubicBezTo>
                    <a:pt x="131" y="2614"/>
                    <a:pt x="111" y="2625"/>
                    <a:pt x="90" y="2622"/>
                  </a:cubicBezTo>
                  <a:close/>
                  <a:moveTo>
                    <a:pt x="103" y="2437"/>
                  </a:moveTo>
                  <a:cubicBezTo>
                    <a:pt x="108" y="2422"/>
                    <a:pt x="128" y="2412"/>
                    <a:pt x="148" y="2414"/>
                  </a:cubicBezTo>
                  <a:cubicBezTo>
                    <a:pt x="169" y="2417"/>
                    <a:pt x="182" y="2431"/>
                    <a:pt x="178" y="2446"/>
                  </a:cubicBezTo>
                  <a:cubicBezTo>
                    <a:pt x="174" y="2461"/>
                    <a:pt x="154" y="2471"/>
                    <a:pt x="133" y="2469"/>
                  </a:cubicBezTo>
                  <a:cubicBezTo>
                    <a:pt x="112" y="2466"/>
                    <a:pt x="99" y="2452"/>
                    <a:pt x="103" y="2437"/>
                  </a:cubicBezTo>
                  <a:close/>
                  <a:moveTo>
                    <a:pt x="99" y="2387"/>
                  </a:moveTo>
                  <a:cubicBezTo>
                    <a:pt x="79" y="2385"/>
                    <a:pt x="66" y="2370"/>
                    <a:pt x="70" y="2355"/>
                  </a:cubicBezTo>
                  <a:cubicBezTo>
                    <a:pt x="75" y="2340"/>
                    <a:pt x="95" y="2330"/>
                    <a:pt x="115" y="2332"/>
                  </a:cubicBezTo>
                  <a:cubicBezTo>
                    <a:pt x="135" y="2335"/>
                    <a:pt x="148" y="2349"/>
                    <a:pt x="144" y="2364"/>
                  </a:cubicBezTo>
                  <a:cubicBezTo>
                    <a:pt x="140" y="2379"/>
                    <a:pt x="120" y="2390"/>
                    <a:pt x="99" y="2387"/>
                  </a:cubicBezTo>
                  <a:close/>
                  <a:moveTo>
                    <a:pt x="107" y="2149"/>
                  </a:moveTo>
                  <a:cubicBezTo>
                    <a:pt x="87" y="2146"/>
                    <a:pt x="75" y="2132"/>
                    <a:pt x="79" y="2117"/>
                  </a:cubicBezTo>
                  <a:cubicBezTo>
                    <a:pt x="84" y="2102"/>
                    <a:pt x="104" y="2091"/>
                    <a:pt x="123" y="2094"/>
                  </a:cubicBezTo>
                  <a:cubicBezTo>
                    <a:pt x="143" y="2096"/>
                    <a:pt x="155" y="2111"/>
                    <a:pt x="151" y="2126"/>
                  </a:cubicBezTo>
                  <a:cubicBezTo>
                    <a:pt x="147" y="2141"/>
                    <a:pt x="127" y="2151"/>
                    <a:pt x="107" y="2149"/>
                  </a:cubicBezTo>
                  <a:close/>
                  <a:moveTo>
                    <a:pt x="97" y="1882"/>
                  </a:moveTo>
                  <a:cubicBezTo>
                    <a:pt x="102" y="1867"/>
                    <a:pt x="121" y="1856"/>
                    <a:pt x="140" y="1859"/>
                  </a:cubicBezTo>
                  <a:cubicBezTo>
                    <a:pt x="159" y="1862"/>
                    <a:pt x="171" y="1876"/>
                    <a:pt x="166" y="1891"/>
                  </a:cubicBezTo>
                  <a:cubicBezTo>
                    <a:pt x="162" y="1906"/>
                    <a:pt x="143" y="1916"/>
                    <a:pt x="123" y="1914"/>
                  </a:cubicBezTo>
                  <a:cubicBezTo>
                    <a:pt x="104" y="1911"/>
                    <a:pt x="93" y="1897"/>
                    <a:pt x="97" y="1882"/>
                  </a:cubicBezTo>
                  <a:close/>
                  <a:moveTo>
                    <a:pt x="91" y="1828"/>
                  </a:moveTo>
                  <a:cubicBezTo>
                    <a:pt x="72" y="1826"/>
                    <a:pt x="60" y="1811"/>
                    <a:pt x="65" y="1796"/>
                  </a:cubicBezTo>
                  <a:cubicBezTo>
                    <a:pt x="70" y="1781"/>
                    <a:pt x="89" y="1771"/>
                    <a:pt x="108" y="1774"/>
                  </a:cubicBezTo>
                  <a:cubicBezTo>
                    <a:pt x="127" y="1776"/>
                    <a:pt x="138" y="1790"/>
                    <a:pt x="133" y="1806"/>
                  </a:cubicBezTo>
                  <a:cubicBezTo>
                    <a:pt x="129" y="1821"/>
                    <a:pt x="110" y="1831"/>
                    <a:pt x="91" y="1828"/>
                  </a:cubicBezTo>
                  <a:close/>
                  <a:moveTo>
                    <a:pt x="88" y="1561"/>
                  </a:moveTo>
                  <a:cubicBezTo>
                    <a:pt x="93" y="1546"/>
                    <a:pt x="112" y="1536"/>
                    <a:pt x="130" y="1539"/>
                  </a:cubicBezTo>
                  <a:cubicBezTo>
                    <a:pt x="149" y="1541"/>
                    <a:pt x="159" y="1556"/>
                    <a:pt x="155" y="1571"/>
                  </a:cubicBezTo>
                  <a:cubicBezTo>
                    <a:pt x="150" y="1586"/>
                    <a:pt x="131" y="1596"/>
                    <a:pt x="113" y="1593"/>
                  </a:cubicBezTo>
                  <a:cubicBezTo>
                    <a:pt x="94" y="1591"/>
                    <a:pt x="84" y="1576"/>
                    <a:pt x="88" y="1561"/>
                  </a:cubicBezTo>
                  <a:close/>
                  <a:moveTo>
                    <a:pt x="84" y="1508"/>
                  </a:moveTo>
                  <a:cubicBezTo>
                    <a:pt x="65" y="1505"/>
                    <a:pt x="55" y="1491"/>
                    <a:pt x="60" y="1476"/>
                  </a:cubicBezTo>
                  <a:cubicBezTo>
                    <a:pt x="65" y="1460"/>
                    <a:pt x="84" y="1451"/>
                    <a:pt x="102" y="1453"/>
                  </a:cubicBezTo>
                  <a:cubicBezTo>
                    <a:pt x="120" y="1456"/>
                    <a:pt x="130" y="1470"/>
                    <a:pt x="125" y="1485"/>
                  </a:cubicBezTo>
                  <a:cubicBezTo>
                    <a:pt x="120" y="1500"/>
                    <a:pt x="102" y="1510"/>
                    <a:pt x="84" y="1508"/>
                  </a:cubicBezTo>
                  <a:close/>
                  <a:moveTo>
                    <a:pt x="111" y="1323"/>
                  </a:moveTo>
                  <a:cubicBezTo>
                    <a:pt x="116" y="1308"/>
                    <a:pt x="134" y="1298"/>
                    <a:pt x="152" y="1301"/>
                  </a:cubicBezTo>
                  <a:cubicBezTo>
                    <a:pt x="169" y="1303"/>
                    <a:pt x="180" y="1317"/>
                    <a:pt x="175" y="1333"/>
                  </a:cubicBezTo>
                  <a:cubicBezTo>
                    <a:pt x="170" y="1348"/>
                    <a:pt x="152" y="1358"/>
                    <a:pt x="134" y="1355"/>
                  </a:cubicBezTo>
                  <a:cubicBezTo>
                    <a:pt x="116" y="1352"/>
                    <a:pt x="106" y="1338"/>
                    <a:pt x="111" y="1323"/>
                  </a:cubicBezTo>
                  <a:close/>
                  <a:moveTo>
                    <a:pt x="89" y="1241"/>
                  </a:moveTo>
                  <a:cubicBezTo>
                    <a:pt x="94" y="1226"/>
                    <a:pt x="113" y="1216"/>
                    <a:pt x="130" y="1218"/>
                  </a:cubicBezTo>
                  <a:cubicBezTo>
                    <a:pt x="147" y="1221"/>
                    <a:pt x="157" y="1235"/>
                    <a:pt x="152" y="1250"/>
                  </a:cubicBezTo>
                  <a:cubicBezTo>
                    <a:pt x="147" y="1266"/>
                    <a:pt x="129" y="1276"/>
                    <a:pt x="112" y="1273"/>
                  </a:cubicBezTo>
                  <a:cubicBezTo>
                    <a:pt x="94" y="1270"/>
                    <a:pt x="84" y="1256"/>
                    <a:pt x="89" y="1241"/>
                  </a:cubicBezTo>
                  <a:close/>
                  <a:moveTo>
                    <a:pt x="86" y="1187"/>
                  </a:moveTo>
                  <a:cubicBezTo>
                    <a:pt x="69" y="1184"/>
                    <a:pt x="59" y="1170"/>
                    <a:pt x="64" y="1155"/>
                  </a:cubicBezTo>
                  <a:cubicBezTo>
                    <a:pt x="70" y="1140"/>
                    <a:pt x="88" y="1130"/>
                    <a:pt x="105" y="1133"/>
                  </a:cubicBezTo>
                  <a:cubicBezTo>
                    <a:pt x="122" y="1136"/>
                    <a:pt x="132" y="1150"/>
                    <a:pt x="127" y="1165"/>
                  </a:cubicBezTo>
                  <a:cubicBezTo>
                    <a:pt x="122" y="1180"/>
                    <a:pt x="103" y="1190"/>
                    <a:pt x="86" y="1187"/>
                  </a:cubicBezTo>
                  <a:close/>
                  <a:moveTo>
                    <a:pt x="118" y="1003"/>
                  </a:moveTo>
                  <a:cubicBezTo>
                    <a:pt x="123" y="988"/>
                    <a:pt x="141" y="978"/>
                    <a:pt x="158" y="980"/>
                  </a:cubicBezTo>
                  <a:cubicBezTo>
                    <a:pt x="174" y="983"/>
                    <a:pt x="184" y="997"/>
                    <a:pt x="179" y="1012"/>
                  </a:cubicBezTo>
                  <a:cubicBezTo>
                    <a:pt x="173" y="1027"/>
                    <a:pt x="156" y="1037"/>
                    <a:pt x="139" y="1035"/>
                  </a:cubicBezTo>
                  <a:cubicBezTo>
                    <a:pt x="122" y="1032"/>
                    <a:pt x="113" y="1018"/>
                    <a:pt x="118" y="1003"/>
                  </a:cubicBezTo>
                  <a:close/>
                  <a:moveTo>
                    <a:pt x="99" y="921"/>
                  </a:moveTo>
                  <a:cubicBezTo>
                    <a:pt x="105" y="906"/>
                    <a:pt x="123" y="896"/>
                    <a:pt x="139" y="898"/>
                  </a:cubicBezTo>
                  <a:cubicBezTo>
                    <a:pt x="156" y="901"/>
                    <a:pt x="165" y="915"/>
                    <a:pt x="160" y="930"/>
                  </a:cubicBezTo>
                  <a:cubicBezTo>
                    <a:pt x="154" y="945"/>
                    <a:pt x="137" y="955"/>
                    <a:pt x="120" y="953"/>
                  </a:cubicBezTo>
                  <a:cubicBezTo>
                    <a:pt x="103" y="950"/>
                    <a:pt x="94" y="936"/>
                    <a:pt x="99" y="921"/>
                  </a:cubicBezTo>
                  <a:close/>
                  <a:moveTo>
                    <a:pt x="78" y="835"/>
                  </a:moveTo>
                  <a:cubicBezTo>
                    <a:pt x="84" y="820"/>
                    <a:pt x="101" y="810"/>
                    <a:pt x="118" y="813"/>
                  </a:cubicBezTo>
                  <a:cubicBezTo>
                    <a:pt x="134" y="815"/>
                    <a:pt x="143" y="830"/>
                    <a:pt x="138" y="845"/>
                  </a:cubicBezTo>
                  <a:cubicBezTo>
                    <a:pt x="132" y="860"/>
                    <a:pt x="115" y="870"/>
                    <a:pt x="98" y="867"/>
                  </a:cubicBezTo>
                  <a:cubicBezTo>
                    <a:pt x="82" y="864"/>
                    <a:pt x="73" y="850"/>
                    <a:pt x="78" y="835"/>
                  </a:cubicBezTo>
                  <a:close/>
                  <a:moveTo>
                    <a:pt x="62" y="753"/>
                  </a:moveTo>
                  <a:cubicBezTo>
                    <a:pt x="68" y="738"/>
                    <a:pt x="85" y="728"/>
                    <a:pt x="102" y="730"/>
                  </a:cubicBezTo>
                  <a:cubicBezTo>
                    <a:pt x="118" y="733"/>
                    <a:pt x="126" y="748"/>
                    <a:pt x="121" y="763"/>
                  </a:cubicBezTo>
                  <a:cubicBezTo>
                    <a:pt x="115" y="778"/>
                    <a:pt x="98" y="788"/>
                    <a:pt x="82" y="785"/>
                  </a:cubicBezTo>
                  <a:cubicBezTo>
                    <a:pt x="65" y="782"/>
                    <a:pt x="57" y="767"/>
                    <a:pt x="62" y="753"/>
                  </a:cubicBezTo>
                  <a:close/>
                  <a:moveTo>
                    <a:pt x="102" y="515"/>
                  </a:moveTo>
                  <a:cubicBezTo>
                    <a:pt x="107" y="500"/>
                    <a:pt x="125" y="490"/>
                    <a:pt x="140" y="493"/>
                  </a:cubicBezTo>
                  <a:cubicBezTo>
                    <a:pt x="156" y="496"/>
                    <a:pt x="164" y="510"/>
                    <a:pt x="158" y="525"/>
                  </a:cubicBezTo>
                  <a:cubicBezTo>
                    <a:pt x="152" y="540"/>
                    <a:pt x="135" y="550"/>
                    <a:pt x="120" y="547"/>
                  </a:cubicBezTo>
                  <a:cubicBezTo>
                    <a:pt x="104" y="544"/>
                    <a:pt x="96" y="530"/>
                    <a:pt x="102" y="515"/>
                  </a:cubicBezTo>
                  <a:close/>
                  <a:moveTo>
                    <a:pt x="148" y="281"/>
                  </a:moveTo>
                  <a:cubicBezTo>
                    <a:pt x="154" y="266"/>
                    <a:pt x="171" y="256"/>
                    <a:pt x="186" y="259"/>
                  </a:cubicBezTo>
                  <a:cubicBezTo>
                    <a:pt x="201" y="262"/>
                    <a:pt x="208" y="276"/>
                    <a:pt x="202" y="291"/>
                  </a:cubicBezTo>
                  <a:cubicBezTo>
                    <a:pt x="197" y="306"/>
                    <a:pt x="180" y="316"/>
                    <a:pt x="165" y="313"/>
                  </a:cubicBezTo>
                  <a:cubicBezTo>
                    <a:pt x="150" y="310"/>
                    <a:pt x="143" y="296"/>
                    <a:pt x="148" y="281"/>
                  </a:cubicBezTo>
                  <a:close/>
                  <a:moveTo>
                    <a:pt x="215" y="373"/>
                  </a:moveTo>
                  <a:cubicBezTo>
                    <a:pt x="209" y="388"/>
                    <a:pt x="192" y="398"/>
                    <a:pt x="177" y="395"/>
                  </a:cubicBezTo>
                  <a:cubicBezTo>
                    <a:pt x="162" y="392"/>
                    <a:pt x="154" y="378"/>
                    <a:pt x="160" y="363"/>
                  </a:cubicBezTo>
                  <a:cubicBezTo>
                    <a:pt x="166" y="348"/>
                    <a:pt x="182" y="338"/>
                    <a:pt x="197" y="341"/>
                  </a:cubicBezTo>
                  <a:cubicBezTo>
                    <a:pt x="213" y="344"/>
                    <a:pt x="220" y="358"/>
                    <a:pt x="215" y="373"/>
                  </a:cubicBezTo>
                  <a:close/>
                  <a:moveTo>
                    <a:pt x="232" y="458"/>
                  </a:moveTo>
                  <a:cubicBezTo>
                    <a:pt x="226" y="473"/>
                    <a:pt x="209" y="483"/>
                    <a:pt x="194" y="481"/>
                  </a:cubicBezTo>
                  <a:cubicBezTo>
                    <a:pt x="178" y="478"/>
                    <a:pt x="170" y="464"/>
                    <a:pt x="176" y="449"/>
                  </a:cubicBezTo>
                  <a:cubicBezTo>
                    <a:pt x="182" y="434"/>
                    <a:pt x="199" y="424"/>
                    <a:pt x="214" y="426"/>
                  </a:cubicBezTo>
                  <a:cubicBezTo>
                    <a:pt x="229" y="429"/>
                    <a:pt x="237" y="443"/>
                    <a:pt x="232" y="458"/>
                  </a:cubicBezTo>
                  <a:close/>
                  <a:moveTo>
                    <a:pt x="233" y="297"/>
                  </a:moveTo>
                  <a:cubicBezTo>
                    <a:pt x="239" y="282"/>
                    <a:pt x="255" y="272"/>
                    <a:pt x="270" y="274"/>
                  </a:cubicBezTo>
                  <a:cubicBezTo>
                    <a:pt x="285" y="277"/>
                    <a:pt x="292" y="291"/>
                    <a:pt x="287" y="306"/>
                  </a:cubicBezTo>
                  <a:cubicBezTo>
                    <a:pt x="282" y="321"/>
                    <a:pt x="265" y="331"/>
                    <a:pt x="250" y="329"/>
                  </a:cubicBezTo>
                  <a:cubicBezTo>
                    <a:pt x="235" y="326"/>
                    <a:pt x="227" y="311"/>
                    <a:pt x="233" y="297"/>
                  </a:cubicBezTo>
                  <a:close/>
                  <a:moveTo>
                    <a:pt x="300" y="388"/>
                  </a:moveTo>
                  <a:cubicBezTo>
                    <a:pt x="295" y="403"/>
                    <a:pt x="278" y="413"/>
                    <a:pt x="263" y="410"/>
                  </a:cubicBezTo>
                  <a:cubicBezTo>
                    <a:pt x="248" y="408"/>
                    <a:pt x="240" y="393"/>
                    <a:pt x="246" y="378"/>
                  </a:cubicBezTo>
                  <a:cubicBezTo>
                    <a:pt x="251" y="363"/>
                    <a:pt x="268" y="353"/>
                    <a:pt x="283" y="356"/>
                  </a:cubicBezTo>
                  <a:cubicBezTo>
                    <a:pt x="298" y="359"/>
                    <a:pt x="306" y="373"/>
                    <a:pt x="300" y="388"/>
                  </a:cubicBezTo>
                  <a:close/>
                  <a:moveTo>
                    <a:pt x="319" y="473"/>
                  </a:moveTo>
                  <a:cubicBezTo>
                    <a:pt x="313" y="488"/>
                    <a:pt x="297" y="498"/>
                    <a:pt x="281" y="496"/>
                  </a:cubicBezTo>
                  <a:cubicBezTo>
                    <a:pt x="266" y="493"/>
                    <a:pt x="258" y="479"/>
                    <a:pt x="263" y="464"/>
                  </a:cubicBezTo>
                  <a:cubicBezTo>
                    <a:pt x="268" y="449"/>
                    <a:pt x="285" y="439"/>
                    <a:pt x="300" y="441"/>
                  </a:cubicBezTo>
                  <a:cubicBezTo>
                    <a:pt x="316" y="444"/>
                    <a:pt x="324" y="458"/>
                    <a:pt x="319" y="473"/>
                  </a:cubicBezTo>
                  <a:close/>
                  <a:moveTo>
                    <a:pt x="318" y="312"/>
                  </a:moveTo>
                  <a:cubicBezTo>
                    <a:pt x="323" y="297"/>
                    <a:pt x="339" y="286"/>
                    <a:pt x="354" y="289"/>
                  </a:cubicBezTo>
                  <a:cubicBezTo>
                    <a:pt x="369" y="292"/>
                    <a:pt x="377" y="306"/>
                    <a:pt x="372" y="321"/>
                  </a:cubicBezTo>
                  <a:cubicBezTo>
                    <a:pt x="366" y="336"/>
                    <a:pt x="350" y="346"/>
                    <a:pt x="335" y="343"/>
                  </a:cubicBezTo>
                  <a:cubicBezTo>
                    <a:pt x="320" y="341"/>
                    <a:pt x="312" y="327"/>
                    <a:pt x="318" y="312"/>
                  </a:cubicBezTo>
                  <a:close/>
                  <a:moveTo>
                    <a:pt x="386" y="402"/>
                  </a:moveTo>
                  <a:cubicBezTo>
                    <a:pt x="381" y="417"/>
                    <a:pt x="365" y="428"/>
                    <a:pt x="349" y="425"/>
                  </a:cubicBezTo>
                  <a:cubicBezTo>
                    <a:pt x="334" y="423"/>
                    <a:pt x="326" y="408"/>
                    <a:pt x="331" y="393"/>
                  </a:cubicBezTo>
                  <a:cubicBezTo>
                    <a:pt x="337" y="378"/>
                    <a:pt x="353" y="368"/>
                    <a:pt x="368" y="371"/>
                  </a:cubicBezTo>
                  <a:cubicBezTo>
                    <a:pt x="383" y="373"/>
                    <a:pt x="391" y="387"/>
                    <a:pt x="386" y="402"/>
                  </a:cubicBezTo>
                  <a:close/>
                  <a:moveTo>
                    <a:pt x="406" y="487"/>
                  </a:moveTo>
                  <a:cubicBezTo>
                    <a:pt x="401" y="503"/>
                    <a:pt x="384" y="513"/>
                    <a:pt x="369" y="510"/>
                  </a:cubicBezTo>
                  <a:cubicBezTo>
                    <a:pt x="353" y="508"/>
                    <a:pt x="345" y="493"/>
                    <a:pt x="350" y="478"/>
                  </a:cubicBezTo>
                  <a:cubicBezTo>
                    <a:pt x="355" y="463"/>
                    <a:pt x="372" y="453"/>
                    <a:pt x="387" y="456"/>
                  </a:cubicBezTo>
                  <a:cubicBezTo>
                    <a:pt x="402" y="458"/>
                    <a:pt x="411" y="472"/>
                    <a:pt x="406" y="487"/>
                  </a:cubicBezTo>
                  <a:close/>
                  <a:moveTo>
                    <a:pt x="402" y="326"/>
                  </a:moveTo>
                  <a:cubicBezTo>
                    <a:pt x="407" y="311"/>
                    <a:pt x="424" y="301"/>
                    <a:pt x="439" y="303"/>
                  </a:cubicBezTo>
                  <a:cubicBezTo>
                    <a:pt x="453" y="306"/>
                    <a:pt x="461" y="320"/>
                    <a:pt x="456" y="335"/>
                  </a:cubicBezTo>
                  <a:cubicBezTo>
                    <a:pt x="451" y="350"/>
                    <a:pt x="435" y="360"/>
                    <a:pt x="420" y="358"/>
                  </a:cubicBezTo>
                  <a:cubicBezTo>
                    <a:pt x="405" y="355"/>
                    <a:pt x="397" y="341"/>
                    <a:pt x="402" y="326"/>
                  </a:cubicBezTo>
                  <a:close/>
                  <a:moveTo>
                    <a:pt x="472" y="416"/>
                  </a:moveTo>
                  <a:cubicBezTo>
                    <a:pt x="467" y="431"/>
                    <a:pt x="451" y="442"/>
                    <a:pt x="436" y="439"/>
                  </a:cubicBezTo>
                  <a:cubicBezTo>
                    <a:pt x="421" y="437"/>
                    <a:pt x="412" y="423"/>
                    <a:pt x="417" y="408"/>
                  </a:cubicBezTo>
                  <a:cubicBezTo>
                    <a:pt x="422" y="393"/>
                    <a:pt x="439" y="382"/>
                    <a:pt x="454" y="385"/>
                  </a:cubicBezTo>
                  <a:cubicBezTo>
                    <a:pt x="469" y="387"/>
                    <a:pt x="477" y="401"/>
                    <a:pt x="472" y="416"/>
                  </a:cubicBezTo>
                  <a:close/>
                  <a:moveTo>
                    <a:pt x="474" y="470"/>
                  </a:moveTo>
                  <a:cubicBezTo>
                    <a:pt x="489" y="472"/>
                    <a:pt x="498" y="486"/>
                    <a:pt x="493" y="501"/>
                  </a:cubicBezTo>
                  <a:cubicBezTo>
                    <a:pt x="488" y="516"/>
                    <a:pt x="472" y="526"/>
                    <a:pt x="456" y="524"/>
                  </a:cubicBezTo>
                  <a:cubicBezTo>
                    <a:pt x="441" y="522"/>
                    <a:pt x="432" y="508"/>
                    <a:pt x="437" y="492"/>
                  </a:cubicBezTo>
                  <a:cubicBezTo>
                    <a:pt x="442" y="477"/>
                    <a:pt x="459" y="467"/>
                    <a:pt x="474" y="470"/>
                  </a:cubicBezTo>
                  <a:close/>
                  <a:moveTo>
                    <a:pt x="487" y="340"/>
                  </a:moveTo>
                  <a:cubicBezTo>
                    <a:pt x="492" y="325"/>
                    <a:pt x="508" y="314"/>
                    <a:pt x="523" y="317"/>
                  </a:cubicBezTo>
                  <a:cubicBezTo>
                    <a:pt x="538" y="319"/>
                    <a:pt x="546" y="333"/>
                    <a:pt x="541" y="348"/>
                  </a:cubicBezTo>
                  <a:cubicBezTo>
                    <a:pt x="536" y="363"/>
                    <a:pt x="520" y="374"/>
                    <a:pt x="505" y="371"/>
                  </a:cubicBezTo>
                  <a:cubicBezTo>
                    <a:pt x="490" y="369"/>
                    <a:pt x="482" y="355"/>
                    <a:pt x="487" y="340"/>
                  </a:cubicBezTo>
                  <a:close/>
                  <a:moveTo>
                    <a:pt x="558" y="430"/>
                  </a:moveTo>
                  <a:cubicBezTo>
                    <a:pt x="554" y="445"/>
                    <a:pt x="537" y="455"/>
                    <a:pt x="522" y="453"/>
                  </a:cubicBezTo>
                  <a:cubicBezTo>
                    <a:pt x="507" y="450"/>
                    <a:pt x="499" y="436"/>
                    <a:pt x="503" y="421"/>
                  </a:cubicBezTo>
                  <a:cubicBezTo>
                    <a:pt x="508" y="406"/>
                    <a:pt x="524" y="396"/>
                    <a:pt x="539" y="398"/>
                  </a:cubicBezTo>
                  <a:cubicBezTo>
                    <a:pt x="554" y="400"/>
                    <a:pt x="563" y="414"/>
                    <a:pt x="558" y="430"/>
                  </a:cubicBezTo>
                  <a:close/>
                  <a:moveTo>
                    <a:pt x="552" y="268"/>
                  </a:moveTo>
                  <a:cubicBezTo>
                    <a:pt x="557" y="253"/>
                    <a:pt x="573" y="243"/>
                    <a:pt x="587" y="245"/>
                  </a:cubicBezTo>
                  <a:cubicBezTo>
                    <a:pt x="602" y="248"/>
                    <a:pt x="610" y="262"/>
                    <a:pt x="605" y="277"/>
                  </a:cubicBezTo>
                  <a:cubicBezTo>
                    <a:pt x="601" y="292"/>
                    <a:pt x="585" y="302"/>
                    <a:pt x="570" y="300"/>
                  </a:cubicBezTo>
                  <a:cubicBezTo>
                    <a:pt x="555" y="298"/>
                    <a:pt x="547" y="283"/>
                    <a:pt x="552" y="268"/>
                  </a:cubicBezTo>
                  <a:close/>
                  <a:moveTo>
                    <a:pt x="607" y="330"/>
                  </a:moveTo>
                  <a:cubicBezTo>
                    <a:pt x="622" y="332"/>
                    <a:pt x="631" y="346"/>
                    <a:pt x="626" y="361"/>
                  </a:cubicBezTo>
                  <a:cubicBezTo>
                    <a:pt x="622" y="376"/>
                    <a:pt x="606" y="387"/>
                    <a:pt x="591" y="384"/>
                  </a:cubicBezTo>
                  <a:cubicBezTo>
                    <a:pt x="576" y="382"/>
                    <a:pt x="567" y="368"/>
                    <a:pt x="572" y="353"/>
                  </a:cubicBezTo>
                  <a:cubicBezTo>
                    <a:pt x="577" y="338"/>
                    <a:pt x="593" y="328"/>
                    <a:pt x="607" y="330"/>
                  </a:cubicBezTo>
                  <a:close/>
                  <a:moveTo>
                    <a:pt x="644" y="442"/>
                  </a:moveTo>
                  <a:cubicBezTo>
                    <a:pt x="640" y="457"/>
                    <a:pt x="624" y="468"/>
                    <a:pt x="609" y="466"/>
                  </a:cubicBezTo>
                  <a:cubicBezTo>
                    <a:pt x="593" y="463"/>
                    <a:pt x="585" y="449"/>
                    <a:pt x="589" y="434"/>
                  </a:cubicBezTo>
                  <a:cubicBezTo>
                    <a:pt x="594" y="419"/>
                    <a:pt x="610" y="409"/>
                    <a:pt x="625" y="411"/>
                  </a:cubicBezTo>
                  <a:cubicBezTo>
                    <a:pt x="640" y="413"/>
                    <a:pt x="649" y="427"/>
                    <a:pt x="644" y="442"/>
                  </a:cubicBezTo>
                  <a:close/>
                  <a:moveTo>
                    <a:pt x="636" y="281"/>
                  </a:moveTo>
                  <a:cubicBezTo>
                    <a:pt x="640" y="266"/>
                    <a:pt x="656" y="256"/>
                    <a:pt x="671" y="258"/>
                  </a:cubicBezTo>
                  <a:cubicBezTo>
                    <a:pt x="685" y="260"/>
                    <a:pt x="694" y="274"/>
                    <a:pt x="689" y="289"/>
                  </a:cubicBezTo>
                  <a:cubicBezTo>
                    <a:pt x="685" y="304"/>
                    <a:pt x="669" y="315"/>
                    <a:pt x="654" y="313"/>
                  </a:cubicBezTo>
                  <a:cubicBezTo>
                    <a:pt x="640" y="310"/>
                    <a:pt x="631" y="296"/>
                    <a:pt x="636" y="281"/>
                  </a:cubicBezTo>
                  <a:close/>
                  <a:moveTo>
                    <a:pt x="692" y="342"/>
                  </a:moveTo>
                  <a:cubicBezTo>
                    <a:pt x="707" y="344"/>
                    <a:pt x="715" y="358"/>
                    <a:pt x="711" y="373"/>
                  </a:cubicBezTo>
                  <a:cubicBezTo>
                    <a:pt x="707" y="388"/>
                    <a:pt x="691" y="399"/>
                    <a:pt x="676" y="397"/>
                  </a:cubicBezTo>
                  <a:cubicBezTo>
                    <a:pt x="661" y="395"/>
                    <a:pt x="652" y="381"/>
                    <a:pt x="657" y="366"/>
                  </a:cubicBezTo>
                  <a:cubicBezTo>
                    <a:pt x="661" y="351"/>
                    <a:pt x="677" y="340"/>
                    <a:pt x="692" y="342"/>
                  </a:cubicBezTo>
                  <a:close/>
                  <a:moveTo>
                    <a:pt x="731" y="454"/>
                  </a:moveTo>
                  <a:cubicBezTo>
                    <a:pt x="726" y="469"/>
                    <a:pt x="711" y="480"/>
                    <a:pt x="695" y="478"/>
                  </a:cubicBezTo>
                  <a:cubicBezTo>
                    <a:pt x="680" y="476"/>
                    <a:pt x="671" y="462"/>
                    <a:pt x="676" y="447"/>
                  </a:cubicBezTo>
                  <a:cubicBezTo>
                    <a:pt x="680" y="431"/>
                    <a:pt x="696" y="421"/>
                    <a:pt x="711" y="423"/>
                  </a:cubicBezTo>
                  <a:cubicBezTo>
                    <a:pt x="726" y="425"/>
                    <a:pt x="735" y="439"/>
                    <a:pt x="731" y="454"/>
                  </a:cubicBezTo>
                  <a:close/>
                  <a:moveTo>
                    <a:pt x="720" y="293"/>
                  </a:moveTo>
                  <a:cubicBezTo>
                    <a:pt x="724" y="278"/>
                    <a:pt x="739" y="268"/>
                    <a:pt x="754" y="270"/>
                  </a:cubicBezTo>
                  <a:cubicBezTo>
                    <a:pt x="769" y="272"/>
                    <a:pt x="777" y="286"/>
                    <a:pt x="773" y="301"/>
                  </a:cubicBezTo>
                  <a:cubicBezTo>
                    <a:pt x="769" y="316"/>
                    <a:pt x="753" y="327"/>
                    <a:pt x="739" y="325"/>
                  </a:cubicBezTo>
                  <a:cubicBezTo>
                    <a:pt x="724" y="323"/>
                    <a:pt x="715" y="309"/>
                    <a:pt x="720" y="293"/>
                  </a:cubicBezTo>
                  <a:close/>
                  <a:moveTo>
                    <a:pt x="777" y="354"/>
                  </a:moveTo>
                  <a:cubicBezTo>
                    <a:pt x="791" y="356"/>
                    <a:pt x="800" y="370"/>
                    <a:pt x="796" y="385"/>
                  </a:cubicBezTo>
                  <a:cubicBezTo>
                    <a:pt x="792" y="400"/>
                    <a:pt x="777" y="411"/>
                    <a:pt x="762" y="409"/>
                  </a:cubicBezTo>
                  <a:cubicBezTo>
                    <a:pt x="746" y="407"/>
                    <a:pt x="738" y="393"/>
                    <a:pt x="742" y="378"/>
                  </a:cubicBezTo>
                  <a:cubicBezTo>
                    <a:pt x="746" y="363"/>
                    <a:pt x="762" y="352"/>
                    <a:pt x="777" y="354"/>
                  </a:cubicBezTo>
                  <a:close/>
                  <a:moveTo>
                    <a:pt x="817" y="466"/>
                  </a:moveTo>
                  <a:cubicBezTo>
                    <a:pt x="813" y="481"/>
                    <a:pt x="797" y="491"/>
                    <a:pt x="782" y="489"/>
                  </a:cubicBezTo>
                  <a:cubicBezTo>
                    <a:pt x="767" y="487"/>
                    <a:pt x="758" y="473"/>
                    <a:pt x="762" y="458"/>
                  </a:cubicBezTo>
                  <a:cubicBezTo>
                    <a:pt x="766" y="443"/>
                    <a:pt x="781" y="433"/>
                    <a:pt x="797" y="435"/>
                  </a:cubicBezTo>
                  <a:cubicBezTo>
                    <a:pt x="812" y="437"/>
                    <a:pt x="821" y="450"/>
                    <a:pt x="817" y="466"/>
                  </a:cubicBezTo>
                  <a:close/>
                  <a:moveTo>
                    <a:pt x="803" y="305"/>
                  </a:moveTo>
                  <a:cubicBezTo>
                    <a:pt x="807" y="290"/>
                    <a:pt x="823" y="279"/>
                    <a:pt x="837" y="281"/>
                  </a:cubicBezTo>
                  <a:cubicBezTo>
                    <a:pt x="852" y="283"/>
                    <a:pt x="861" y="297"/>
                    <a:pt x="857" y="312"/>
                  </a:cubicBezTo>
                  <a:cubicBezTo>
                    <a:pt x="853" y="327"/>
                    <a:pt x="838" y="338"/>
                    <a:pt x="823" y="336"/>
                  </a:cubicBezTo>
                  <a:cubicBezTo>
                    <a:pt x="808" y="334"/>
                    <a:pt x="799" y="320"/>
                    <a:pt x="803" y="305"/>
                  </a:cubicBezTo>
                  <a:close/>
                  <a:moveTo>
                    <a:pt x="861" y="365"/>
                  </a:moveTo>
                  <a:cubicBezTo>
                    <a:pt x="876" y="367"/>
                    <a:pt x="885" y="381"/>
                    <a:pt x="881" y="396"/>
                  </a:cubicBezTo>
                  <a:cubicBezTo>
                    <a:pt x="877" y="411"/>
                    <a:pt x="862" y="422"/>
                    <a:pt x="847" y="420"/>
                  </a:cubicBezTo>
                  <a:cubicBezTo>
                    <a:pt x="832" y="418"/>
                    <a:pt x="823" y="404"/>
                    <a:pt x="827" y="389"/>
                  </a:cubicBezTo>
                  <a:cubicBezTo>
                    <a:pt x="831" y="374"/>
                    <a:pt x="846" y="363"/>
                    <a:pt x="861" y="365"/>
                  </a:cubicBezTo>
                  <a:close/>
                  <a:moveTo>
                    <a:pt x="882" y="446"/>
                  </a:moveTo>
                  <a:cubicBezTo>
                    <a:pt x="898" y="447"/>
                    <a:pt x="907" y="461"/>
                    <a:pt x="903" y="476"/>
                  </a:cubicBezTo>
                  <a:cubicBezTo>
                    <a:pt x="899" y="491"/>
                    <a:pt x="884" y="502"/>
                    <a:pt x="869" y="500"/>
                  </a:cubicBezTo>
                  <a:cubicBezTo>
                    <a:pt x="853" y="498"/>
                    <a:pt x="844" y="485"/>
                    <a:pt x="848" y="470"/>
                  </a:cubicBezTo>
                  <a:cubicBezTo>
                    <a:pt x="852" y="454"/>
                    <a:pt x="867" y="444"/>
                    <a:pt x="882" y="446"/>
                  </a:cubicBezTo>
                  <a:close/>
                  <a:moveTo>
                    <a:pt x="887" y="316"/>
                  </a:moveTo>
                  <a:cubicBezTo>
                    <a:pt x="891" y="301"/>
                    <a:pt x="906" y="290"/>
                    <a:pt x="921" y="292"/>
                  </a:cubicBezTo>
                  <a:cubicBezTo>
                    <a:pt x="936" y="294"/>
                    <a:pt x="945" y="308"/>
                    <a:pt x="941" y="323"/>
                  </a:cubicBezTo>
                  <a:cubicBezTo>
                    <a:pt x="937" y="338"/>
                    <a:pt x="922" y="349"/>
                    <a:pt x="907" y="347"/>
                  </a:cubicBezTo>
                  <a:cubicBezTo>
                    <a:pt x="892" y="345"/>
                    <a:pt x="883" y="331"/>
                    <a:pt x="887" y="316"/>
                  </a:cubicBezTo>
                  <a:close/>
                  <a:moveTo>
                    <a:pt x="946" y="376"/>
                  </a:moveTo>
                  <a:cubicBezTo>
                    <a:pt x="961" y="377"/>
                    <a:pt x="970" y="391"/>
                    <a:pt x="966" y="406"/>
                  </a:cubicBezTo>
                  <a:cubicBezTo>
                    <a:pt x="963" y="421"/>
                    <a:pt x="948" y="432"/>
                    <a:pt x="933" y="430"/>
                  </a:cubicBezTo>
                  <a:cubicBezTo>
                    <a:pt x="918" y="429"/>
                    <a:pt x="908" y="415"/>
                    <a:pt x="912" y="400"/>
                  </a:cubicBezTo>
                  <a:cubicBezTo>
                    <a:pt x="916" y="385"/>
                    <a:pt x="931" y="374"/>
                    <a:pt x="946" y="376"/>
                  </a:cubicBezTo>
                  <a:close/>
                  <a:moveTo>
                    <a:pt x="968" y="456"/>
                  </a:moveTo>
                  <a:cubicBezTo>
                    <a:pt x="983" y="458"/>
                    <a:pt x="993" y="471"/>
                    <a:pt x="989" y="486"/>
                  </a:cubicBezTo>
                  <a:cubicBezTo>
                    <a:pt x="986" y="502"/>
                    <a:pt x="971" y="512"/>
                    <a:pt x="955" y="511"/>
                  </a:cubicBezTo>
                  <a:cubicBezTo>
                    <a:pt x="940" y="509"/>
                    <a:pt x="931" y="495"/>
                    <a:pt x="934" y="480"/>
                  </a:cubicBezTo>
                  <a:cubicBezTo>
                    <a:pt x="938" y="465"/>
                    <a:pt x="953" y="454"/>
                    <a:pt x="968" y="456"/>
                  </a:cubicBezTo>
                  <a:close/>
                  <a:moveTo>
                    <a:pt x="971" y="327"/>
                  </a:moveTo>
                  <a:cubicBezTo>
                    <a:pt x="975" y="311"/>
                    <a:pt x="990" y="301"/>
                    <a:pt x="1004" y="302"/>
                  </a:cubicBezTo>
                  <a:cubicBezTo>
                    <a:pt x="1019" y="304"/>
                    <a:pt x="1028" y="318"/>
                    <a:pt x="1025" y="333"/>
                  </a:cubicBezTo>
                  <a:cubicBezTo>
                    <a:pt x="1021" y="348"/>
                    <a:pt x="1006" y="359"/>
                    <a:pt x="992" y="357"/>
                  </a:cubicBezTo>
                  <a:cubicBezTo>
                    <a:pt x="977" y="355"/>
                    <a:pt x="968" y="342"/>
                    <a:pt x="971" y="327"/>
                  </a:cubicBezTo>
                  <a:close/>
                  <a:moveTo>
                    <a:pt x="1031" y="386"/>
                  </a:moveTo>
                  <a:cubicBezTo>
                    <a:pt x="1046" y="387"/>
                    <a:pt x="1055" y="401"/>
                    <a:pt x="1052" y="416"/>
                  </a:cubicBezTo>
                  <a:cubicBezTo>
                    <a:pt x="1048" y="431"/>
                    <a:pt x="1033" y="442"/>
                    <a:pt x="1018" y="440"/>
                  </a:cubicBezTo>
                  <a:cubicBezTo>
                    <a:pt x="1003" y="439"/>
                    <a:pt x="994" y="425"/>
                    <a:pt x="997" y="410"/>
                  </a:cubicBezTo>
                  <a:cubicBezTo>
                    <a:pt x="1001" y="395"/>
                    <a:pt x="1016" y="384"/>
                    <a:pt x="1031" y="386"/>
                  </a:cubicBezTo>
                  <a:close/>
                  <a:moveTo>
                    <a:pt x="1054" y="466"/>
                  </a:moveTo>
                  <a:cubicBezTo>
                    <a:pt x="1069" y="467"/>
                    <a:pt x="1079" y="481"/>
                    <a:pt x="1076" y="496"/>
                  </a:cubicBezTo>
                  <a:cubicBezTo>
                    <a:pt x="1073" y="511"/>
                    <a:pt x="1058" y="522"/>
                    <a:pt x="1042" y="520"/>
                  </a:cubicBezTo>
                  <a:cubicBezTo>
                    <a:pt x="1027" y="519"/>
                    <a:pt x="1017" y="505"/>
                    <a:pt x="1021" y="490"/>
                  </a:cubicBezTo>
                  <a:cubicBezTo>
                    <a:pt x="1024" y="475"/>
                    <a:pt x="1039" y="464"/>
                    <a:pt x="1054" y="466"/>
                  </a:cubicBezTo>
                  <a:close/>
                  <a:moveTo>
                    <a:pt x="1055" y="336"/>
                  </a:moveTo>
                  <a:cubicBezTo>
                    <a:pt x="1059" y="321"/>
                    <a:pt x="1073" y="310"/>
                    <a:pt x="1088" y="312"/>
                  </a:cubicBezTo>
                  <a:cubicBezTo>
                    <a:pt x="1103" y="314"/>
                    <a:pt x="1112" y="327"/>
                    <a:pt x="1109" y="342"/>
                  </a:cubicBezTo>
                  <a:cubicBezTo>
                    <a:pt x="1106" y="357"/>
                    <a:pt x="1091" y="368"/>
                    <a:pt x="1076" y="367"/>
                  </a:cubicBezTo>
                  <a:cubicBezTo>
                    <a:pt x="1061" y="365"/>
                    <a:pt x="1052" y="351"/>
                    <a:pt x="1055" y="336"/>
                  </a:cubicBezTo>
                  <a:close/>
                  <a:moveTo>
                    <a:pt x="1116" y="395"/>
                  </a:moveTo>
                  <a:cubicBezTo>
                    <a:pt x="1131" y="397"/>
                    <a:pt x="1140" y="410"/>
                    <a:pt x="1137" y="425"/>
                  </a:cubicBezTo>
                  <a:cubicBezTo>
                    <a:pt x="1134" y="440"/>
                    <a:pt x="1119" y="451"/>
                    <a:pt x="1104" y="450"/>
                  </a:cubicBezTo>
                  <a:cubicBezTo>
                    <a:pt x="1089" y="448"/>
                    <a:pt x="1079" y="435"/>
                    <a:pt x="1083" y="419"/>
                  </a:cubicBezTo>
                  <a:cubicBezTo>
                    <a:pt x="1086" y="404"/>
                    <a:pt x="1101" y="393"/>
                    <a:pt x="1116" y="395"/>
                  </a:cubicBezTo>
                  <a:close/>
                  <a:moveTo>
                    <a:pt x="1116" y="266"/>
                  </a:moveTo>
                  <a:cubicBezTo>
                    <a:pt x="1119" y="251"/>
                    <a:pt x="1134" y="240"/>
                    <a:pt x="1148" y="241"/>
                  </a:cubicBezTo>
                  <a:cubicBezTo>
                    <a:pt x="1163" y="243"/>
                    <a:pt x="1172" y="256"/>
                    <a:pt x="1169" y="272"/>
                  </a:cubicBezTo>
                  <a:cubicBezTo>
                    <a:pt x="1166" y="287"/>
                    <a:pt x="1151" y="298"/>
                    <a:pt x="1137" y="296"/>
                  </a:cubicBezTo>
                  <a:cubicBezTo>
                    <a:pt x="1122" y="295"/>
                    <a:pt x="1113" y="281"/>
                    <a:pt x="1116" y="266"/>
                  </a:cubicBezTo>
                  <a:close/>
                  <a:moveTo>
                    <a:pt x="1172" y="321"/>
                  </a:moveTo>
                  <a:cubicBezTo>
                    <a:pt x="1187" y="322"/>
                    <a:pt x="1196" y="336"/>
                    <a:pt x="1193" y="351"/>
                  </a:cubicBezTo>
                  <a:cubicBezTo>
                    <a:pt x="1190" y="366"/>
                    <a:pt x="1175" y="377"/>
                    <a:pt x="1161" y="376"/>
                  </a:cubicBezTo>
                  <a:cubicBezTo>
                    <a:pt x="1146" y="374"/>
                    <a:pt x="1136" y="361"/>
                    <a:pt x="1139" y="346"/>
                  </a:cubicBezTo>
                  <a:cubicBezTo>
                    <a:pt x="1142" y="330"/>
                    <a:pt x="1157" y="319"/>
                    <a:pt x="1172" y="321"/>
                  </a:cubicBezTo>
                  <a:close/>
                  <a:moveTo>
                    <a:pt x="1172" y="192"/>
                  </a:moveTo>
                  <a:cubicBezTo>
                    <a:pt x="1175" y="177"/>
                    <a:pt x="1189" y="166"/>
                    <a:pt x="1203" y="167"/>
                  </a:cubicBezTo>
                  <a:cubicBezTo>
                    <a:pt x="1218" y="169"/>
                    <a:pt x="1227" y="182"/>
                    <a:pt x="1224" y="197"/>
                  </a:cubicBezTo>
                  <a:cubicBezTo>
                    <a:pt x="1221" y="213"/>
                    <a:pt x="1207" y="224"/>
                    <a:pt x="1192" y="222"/>
                  </a:cubicBezTo>
                  <a:cubicBezTo>
                    <a:pt x="1178" y="221"/>
                    <a:pt x="1168" y="207"/>
                    <a:pt x="1172" y="192"/>
                  </a:cubicBezTo>
                  <a:close/>
                  <a:moveTo>
                    <a:pt x="1231" y="250"/>
                  </a:moveTo>
                  <a:cubicBezTo>
                    <a:pt x="1245" y="251"/>
                    <a:pt x="1255" y="265"/>
                    <a:pt x="1252" y="280"/>
                  </a:cubicBezTo>
                  <a:cubicBezTo>
                    <a:pt x="1249" y="295"/>
                    <a:pt x="1235" y="306"/>
                    <a:pt x="1220" y="305"/>
                  </a:cubicBezTo>
                  <a:cubicBezTo>
                    <a:pt x="1205" y="303"/>
                    <a:pt x="1196" y="290"/>
                    <a:pt x="1199" y="275"/>
                  </a:cubicBezTo>
                  <a:cubicBezTo>
                    <a:pt x="1202" y="260"/>
                    <a:pt x="1216" y="248"/>
                    <a:pt x="1231" y="250"/>
                  </a:cubicBezTo>
                  <a:close/>
                  <a:moveTo>
                    <a:pt x="1256" y="329"/>
                  </a:moveTo>
                  <a:cubicBezTo>
                    <a:pt x="1270" y="331"/>
                    <a:pt x="1280" y="344"/>
                    <a:pt x="1277" y="359"/>
                  </a:cubicBezTo>
                  <a:cubicBezTo>
                    <a:pt x="1274" y="375"/>
                    <a:pt x="1260" y="386"/>
                    <a:pt x="1245" y="384"/>
                  </a:cubicBezTo>
                  <a:cubicBezTo>
                    <a:pt x="1230" y="383"/>
                    <a:pt x="1221" y="369"/>
                    <a:pt x="1223" y="354"/>
                  </a:cubicBezTo>
                  <a:cubicBezTo>
                    <a:pt x="1226" y="339"/>
                    <a:pt x="1241" y="328"/>
                    <a:pt x="1256" y="329"/>
                  </a:cubicBezTo>
                  <a:close/>
                  <a:moveTo>
                    <a:pt x="1285" y="412"/>
                  </a:moveTo>
                  <a:cubicBezTo>
                    <a:pt x="1300" y="413"/>
                    <a:pt x="1310" y="427"/>
                    <a:pt x="1308" y="442"/>
                  </a:cubicBezTo>
                  <a:cubicBezTo>
                    <a:pt x="1305" y="457"/>
                    <a:pt x="1291" y="468"/>
                    <a:pt x="1275" y="467"/>
                  </a:cubicBezTo>
                  <a:cubicBezTo>
                    <a:pt x="1260" y="465"/>
                    <a:pt x="1250" y="452"/>
                    <a:pt x="1253" y="437"/>
                  </a:cubicBezTo>
                  <a:cubicBezTo>
                    <a:pt x="1256" y="422"/>
                    <a:pt x="1270" y="410"/>
                    <a:pt x="1285" y="412"/>
                  </a:cubicBezTo>
                  <a:close/>
                  <a:moveTo>
                    <a:pt x="1282" y="283"/>
                  </a:moveTo>
                  <a:cubicBezTo>
                    <a:pt x="1285" y="268"/>
                    <a:pt x="1299" y="257"/>
                    <a:pt x="1313" y="258"/>
                  </a:cubicBezTo>
                  <a:cubicBezTo>
                    <a:pt x="1328" y="259"/>
                    <a:pt x="1337" y="273"/>
                    <a:pt x="1335" y="288"/>
                  </a:cubicBezTo>
                  <a:cubicBezTo>
                    <a:pt x="1332" y="303"/>
                    <a:pt x="1318" y="314"/>
                    <a:pt x="1303" y="313"/>
                  </a:cubicBezTo>
                  <a:cubicBezTo>
                    <a:pt x="1289" y="312"/>
                    <a:pt x="1279" y="298"/>
                    <a:pt x="1282" y="283"/>
                  </a:cubicBezTo>
                  <a:close/>
                  <a:moveTo>
                    <a:pt x="1335" y="208"/>
                  </a:moveTo>
                  <a:cubicBezTo>
                    <a:pt x="1338" y="193"/>
                    <a:pt x="1352" y="182"/>
                    <a:pt x="1366" y="183"/>
                  </a:cubicBezTo>
                  <a:cubicBezTo>
                    <a:pt x="1380" y="185"/>
                    <a:pt x="1390" y="198"/>
                    <a:pt x="1387" y="213"/>
                  </a:cubicBezTo>
                  <a:cubicBezTo>
                    <a:pt x="1385" y="228"/>
                    <a:pt x="1371" y="240"/>
                    <a:pt x="1356" y="238"/>
                  </a:cubicBezTo>
                  <a:cubicBezTo>
                    <a:pt x="1342" y="237"/>
                    <a:pt x="1332" y="224"/>
                    <a:pt x="1335" y="208"/>
                  </a:cubicBezTo>
                  <a:close/>
                  <a:moveTo>
                    <a:pt x="1396" y="265"/>
                  </a:moveTo>
                  <a:cubicBezTo>
                    <a:pt x="1411" y="267"/>
                    <a:pt x="1420" y="280"/>
                    <a:pt x="1418" y="295"/>
                  </a:cubicBezTo>
                  <a:cubicBezTo>
                    <a:pt x="1415" y="310"/>
                    <a:pt x="1402" y="322"/>
                    <a:pt x="1387" y="320"/>
                  </a:cubicBezTo>
                  <a:cubicBezTo>
                    <a:pt x="1372" y="319"/>
                    <a:pt x="1362" y="306"/>
                    <a:pt x="1365" y="291"/>
                  </a:cubicBezTo>
                  <a:cubicBezTo>
                    <a:pt x="1367" y="275"/>
                    <a:pt x="1381" y="264"/>
                    <a:pt x="1396" y="265"/>
                  </a:cubicBezTo>
                  <a:close/>
                  <a:moveTo>
                    <a:pt x="1417" y="216"/>
                  </a:moveTo>
                  <a:cubicBezTo>
                    <a:pt x="1419" y="201"/>
                    <a:pt x="1433" y="189"/>
                    <a:pt x="1447" y="191"/>
                  </a:cubicBezTo>
                  <a:cubicBezTo>
                    <a:pt x="1462" y="192"/>
                    <a:pt x="1472" y="205"/>
                    <a:pt x="1469" y="220"/>
                  </a:cubicBezTo>
                  <a:cubicBezTo>
                    <a:pt x="1467" y="235"/>
                    <a:pt x="1453" y="247"/>
                    <a:pt x="1439" y="245"/>
                  </a:cubicBezTo>
                  <a:cubicBezTo>
                    <a:pt x="1424" y="244"/>
                    <a:pt x="1415" y="231"/>
                    <a:pt x="1417" y="216"/>
                  </a:cubicBezTo>
                  <a:close/>
                  <a:moveTo>
                    <a:pt x="1479" y="272"/>
                  </a:moveTo>
                  <a:cubicBezTo>
                    <a:pt x="1493" y="274"/>
                    <a:pt x="1503" y="287"/>
                    <a:pt x="1501" y="302"/>
                  </a:cubicBezTo>
                  <a:cubicBezTo>
                    <a:pt x="1499" y="317"/>
                    <a:pt x="1485" y="328"/>
                    <a:pt x="1470" y="327"/>
                  </a:cubicBezTo>
                  <a:cubicBezTo>
                    <a:pt x="1456" y="326"/>
                    <a:pt x="1446" y="313"/>
                    <a:pt x="1448" y="298"/>
                  </a:cubicBezTo>
                  <a:cubicBezTo>
                    <a:pt x="1450" y="283"/>
                    <a:pt x="1464" y="271"/>
                    <a:pt x="1479" y="272"/>
                  </a:cubicBezTo>
                  <a:close/>
                  <a:moveTo>
                    <a:pt x="1499" y="223"/>
                  </a:moveTo>
                  <a:cubicBezTo>
                    <a:pt x="1501" y="207"/>
                    <a:pt x="1515" y="196"/>
                    <a:pt x="1529" y="197"/>
                  </a:cubicBezTo>
                  <a:cubicBezTo>
                    <a:pt x="1543" y="198"/>
                    <a:pt x="1553" y="211"/>
                    <a:pt x="1551" y="227"/>
                  </a:cubicBezTo>
                  <a:cubicBezTo>
                    <a:pt x="1549" y="242"/>
                    <a:pt x="1536" y="253"/>
                    <a:pt x="1521" y="252"/>
                  </a:cubicBezTo>
                  <a:cubicBezTo>
                    <a:pt x="1507" y="251"/>
                    <a:pt x="1497" y="238"/>
                    <a:pt x="1499" y="223"/>
                  </a:cubicBezTo>
                  <a:close/>
                  <a:moveTo>
                    <a:pt x="1561" y="279"/>
                  </a:moveTo>
                  <a:cubicBezTo>
                    <a:pt x="1576" y="280"/>
                    <a:pt x="1586" y="293"/>
                    <a:pt x="1584" y="308"/>
                  </a:cubicBezTo>
                  <a:cubicBezTo>
                    <a:pt x="1582" y="323"/>
                    <a:pt x="1569" y="335"/>
                    <a:pt x="1554" y="334"/>
                  </a:cubicBezTo>
                  <a:cubicBezTo>
                    <a:pt x="1539" y="333"/>
                    <a:pt x="1529" y="319"/>
                    <a:pt x="1531" y="304"/>
                  </a:cubicBezTo>
                  <a:cubicBezTo>
                    <a:pt x="1533" y="289"/>
                    <a:pt x="1547" y="278"/>
                    <a:pt x="1561" y="279"/>
                  </a:cubicBezTo>
                  <a:close/>
                  <a:moveTo>
                    <a:pt x="1581" y="229"/>
                  </a:moveTo>
                  <a:cubicBezTo>
                    <a:pt x="1583" y="214"/>
                    <a:pt x="1596" y="202"/>
                    <a:pt x="1611" y="203"/>
                  </a:cubicBezTo>
                  <a:cubicBezTo>
                    <a:pt x="1625" y="204"/>
                    <a:pt x="1635" y="217"/>
                    <a:pt x="1633" y="232"/>
                  </a:cubicBezTo>
                  <a:cubicBezTo>
                    <a:pt x="1631" y="248"/>
                    <a:pt x="1618" y="259"/>
                    <a:pt x="1603" y="258"/>
                  </a:cubicBezTo>
                  <a:cubicBezTo>
                    <a:pt x="1589" y="257"/>
                    <a:pt x="1579" y="244"/>
                    <a:pt x="1581" y="229"/>
                  </a:cubicBezTo>
                  <a:close/>
                  <a:moveTo>
                    <a:pt x="1644" y="284"/>
                  </a:moveTo>
                  <a:cubicBezTo>
                    <a:pt x="1659" y="285"/>
                    <a:pt x="1669" y="298"/>
                    <a:pt x="1667" y="314"/>
                  </a:cubicBezTo>
                  <a:cubicBezTo>
                    <a:pt x="1666" y="329"/>
                    <a:pt x="1652" y="340"/>
                    <a:pt x="1637" y="339"/>
                  </a:cubicBezTo>
                  <a:cubicBezTo>
                    <a:pt x="1623" y="338"/>
                    <a:pt x="1612" y="325"/>
                    <a:pt x="1614" y="310"/>
                  </a:cubicBezTo>
                  <a:cubicBezTo>
                    <a:pt x="1616" y="295"/>
                    <a:pt x="1629" y="283"/>
                    <a:pt x="1644" y="284"/>
                  </a:cubicBezTo>
                  <a:close/>
                  <a:moveTo>
                    <a:pt x="1663" y="234"/>
                  </a:moveTo>
                  <a:cubicBezTo>
                    <a:pt x="1665" y="219"/>
                    <a:pt x="1678" y="208"/>
                    <a:pt x="1692" y="209"/>
                  </a:cubicBezTo>
                  <a:cubicBezTo>
                    <a:pt x="1706" y="210"/>
                    <a:pt x="1717" y="223"/>
                    <a:pt x="1715" y="238"/>
                  </a:cubicBezTo>
                  <a:cubicBezTo>
                    <a:pt x="1714" y="253"/>
                    <a:pt x="1700" y="264"/>
                    <a:pt x="1686" y="264"/>
                  </a:cubicBezTo>
                  <a:cubicBezTo>
                    <a:pt x="1671" y="263"/>
                    <a:pt x="1661" y="250"/>
                    <a:pt x="1663" y="234"/>
                  </a:cubicBezTo>
                  <a:close/>
                  <a:moveTo>
                    <a:pt x="1727" y="290"/>
                  </a:moveTo>
                  <a:cubicBezTo>
                    <a:pt x="1741" y="290"/>
                    <a:pt x="1752" y="303"/>
                    <a:pt x="1751" y="318"/>
                  </a:cubicBezTo>
                  <a:cubicBezTo>
                    <a:pt x="1749" y="334"/>
                    <a:pt x="1736" y="345"/>
                    <a:pt x="1721" y="344"/>
                  </a:cubicBezTo>
                  <a:cubicBezTo>
                    <a:pt x="1706" y="344"/>
                    <a:pt x="1696" y="331"/>
                    <a:pt x="1697" y="315"/>
                  </a:cubicBezTo>
                  <a:cubicBezTo>
                    <a:pt x="1699" y="300"/>
                    <a:pt x="1712" y="289"/>
                    <a:pt x="1727" y="290"/>
                  </a:cubicBezTo>
                  <a:close/>
                  <a:moveTo>
                    <a:pt x="1745" y="239"/>
                  </a:moveTo>
                  <a:cubicBezTo>
                    <a:pt x="1746" y="224"/>
                    <a:pt x="1759" y="213"/>
                    <a:pt x="1774" y="213"/>
                  </a:cubicBezTo>
                  <a:cubicBezTo>
                    <a:pt x="1788" y="214"/>
                    <a:pt x="1799" y="227"/>
                    <a:pt x="1797" y="242"/>
                  </a:cubicBezTo>
                  <a:cubicBezTo>
                    <a:pt x="1796" y="258"/>
                    <a:pt x="1783" y="269"/>
                    <a:pt x="1768" y="268"/>
                  </a:cubicBezTo>
                  <a:cubicBezTo>
                    <a:pt x="1754" y="268"/>
                    <a:pt x="1743" y="255"/>
                    <a:pt x="1745" y="239"/>
                  </a:cubicBezTo>
                  <a:close/>
                  <a:moveTo>
                    <a:pt x="1810" y="294"/>
                  </a:moveTo>
                  <a:cubicBezTo>
                    <a:pt x="1824" y="295"/>
                    <a:pt x="1835" y="308"/>
                    <a:pt x="1834" y="323"/>
                  </a:cubicBezTo>
                  <a:cubicBezTo>
                    <a:pt x="1833" y="338"/>
                    <a:pt x="1819" y="350"/>
                    <a:pt x="1805" y="349"/>
                  </a:cubicBezTo>
                  <a:cubicBezTo>
                    <a:pt x="1790" y="348"/>
                    <a:pt x="1779" y="335"/>
                    <a:pt x="1781" y="320"/>
                  </a:cubicBezTo>
                  <a:cubicBezTo>
                    <a:pt x="1782" y="305"/>
                    <a:pt x="1795" y="293"/>
                    <a:pt x="1810" y="294"/>
                  </a:cubicBezTo>
                  <a:close/>
                  <a:moveTo>
                    <a:pt x="1827" y="244"/>
                  </a:moveTo>
                  <a:cubicBezTo>
                    <a:pt x="1828" y="229"/>
                    <a:pt x="1841" y="217"/>
                    <a:pt x="1855" y="218"/>
                  </a:cubicBezTo>
                  <a:cubicBezTo>
                    <a:pt x="1870" y="218"/>
                    <a:pt x="1880" y="231"/>
                    <a:pt x="1879" y="246"/>
                  </a:cubicBezTo>
                  <a:cubicBezTo>
                    <a:pt x="1878" y="262"/>
                    <a:pt x="1865" y="273"/>
                    <a:pt x="1851" y="273"/>
                  </a:cubicBezTo>
                  <a:cubicBezTo>
                    <a:pt x="1836" y="272"/>
                    <a:pt x="1826" y="259"/>
                    <a:pt x="1827" y="244"/>
                  </a:cubicBezTo>
                  <a:close/>
                  <a:moveTo>
                    <a:pt x="1893" y="298"/>
                  </a:moveTo>
                  <a:cubicBezTo>
                    <a:pt x="1907" y="299"/>
                    <a:pt x="1918" y="311"/>
                    <a:pt x="1917" y="327"/>
                  </a:cubicBezTo>
                  <a:cubicBezTo>
                    <a:pt x="1916" y="342"/>
                    <a:pt x="1903" y="353"/>
                    <a:pt x="1888" y="353"/>
                  </a:cubicBezTo>
                  <a:cubicBezTo>
                    <a:pt x="1874" y="352"/>
                    <a:pt x="1863" y="339"/>
                    <a:pt x="1864" y="324"/>
                  </a:cubicBezTo>
                  <a:cubicBezTo>
                    <a:pt x="1865" y="309"/>
                    <a:pt x="1878" y="297"/>
                    <a:pt x="1893" y="298"/>
                  </a:cubicBezTo>
                  <a:close/>
                  <a:moveTo>
                    <a:pt x="1909" y="248"/>
                  </a:moveTo>
                  <a:cubicBezTo>
                    <a:pt x="1910" y="233"/>
                    <a:pt x="1923" y="221"/>
                    <a:pt x="1937" y="221"/>
                  </a:cubicBezTo>
                  <a:cubicBezTo>
                    <a:pt x="1951" y="222"/>
                    <a:pt x="1962" y="235"/>
                    <a:pt x="1961" y="250"/>
                  </a:cubicBezTo>
                  <a:cubicBezTo>
                    <a:pt x="1960" y="265"/>
                    <a:pt x="1948" y="277"/>
                    <a:pt x="1933" y="276"/>
                  </a:cubicBezTo>
                  <a:cubicBezTo>
                    <a:pt x="1919" y="276"/>
                    <a:pt x="1908" y="263"/>
                    <a:pt x="1909" y="248"/>
                  </a:cubicBezTo>
                  <a:close/>
                  <a:moveTo>
                    <a:pt x="1975" y="301"/>
                  </a:moveTo>
                  <a:cubicBezTo>
                    <a:pt x="1990" y="302"/>
                    <a:pt x="2001" y="315"/>
                    <a:pt x="2000" y="330"/>
                  </a:cubicBezTo>
                  <a:cubicBezTo>
                    <a:pt x="2000" y="345"/>
                    <a:pt x="1987" y="357"/>
                    <a:pt x="1972" y="356"/>
                  </a:cubicBezTo>
                  <a:cubicBezTo>
                    <a:pt x="1957" y="356"/>
                    <a:pt x="1946" y="343"/>
                    <a:pt x="1947" y="328"/>
                  </a:cubicBezTo>
                  <a:cubicBezTo>
                    <a:pt x="1948" y="313"/>
                    <a:pt x="1961" y="301"/>
                    <a:pt x="1975" y="301"/>
                  </a:cubicBezTo>
                  <a:close/>
                  <a:moveTo>
                    <a:pt x="1991" y="251"/>
                  </a:moveTo>
                  <a:cubicBezTo>
                    <a:pt x="1992" y="236"/>
                    <a:pt x="2004" y="224"/>
                    <a:pt x="2019" y="225"/>
                  </a:cubicBezTo>
                  <a:cubicBezTo>
                    <a:pt x="2033" y="225"/>
                    <a:pt x="2044" y="238"/>
                    <a:pt x="2043" y="253"/>
                  </a:cubicBezTo>
                  <a:cubicBezTo>
                    <a:pt x="2043" y="268"/>
                    <a:pt x="2030" y="280"/>
                    <a:pt x="2016" y="279"/>
                  </a:cubicBezTo>
                  <a:cubicBezTo>
                    <a:pt x="2001" y="279"/>
                    <a:pt x="1990" y="266"/>
                    <a:pt x="1991" y="251"/>
                  </a:cubicBezTo>
                  <a:close/>
                  <a:moveTo>
                    <a:pt x="2058" y="304"/>
                  </a:moveTo>
                  <a:cubicBezTo>
                    <a:pt x="2073" y="304"/>
                    <a:pt x="2084" y="317"/>
                    <a:pt x="2084" y="332"/>
                  </a:cubicBezTo>
                  <a:cubicBezTo>
                    <a:pt x="2083" y="347"/>
                    <a:pt x="2071" y="359"/>
                    <a:pt x="2056" y="359"/>
                  </a:cubicBezTo>
                  <a:cubicBezTo>
                    <a:pt x="2041" y="358"/>
                    <a:pt x="2030" y="346"/>
                    <a:pt x="2030" y="331"/>
                  </a:cubicBezTo>
                  <a:cubicBezTo>
                    <a:pt x="2031" y="316"/>
                    <a:pt x="2044" y="304"/>
                    <a:pt x="2058" y="304"/>
                  </a:cubicBezTo>
                  <a:close/>
                  <a:moveTo>
                    <a:pt x="2073" y="254"/>
                  </a:moveTo>
                  <a:cubicBezTo>
                    <a:pt x="2074" y="239"/>
                    <a:pt x="2086" y="227"/>
                    <a:pt x="2100" y="227"/>
                  </a:cubicBezTo>
                  <a:cubicBezTo>
                    <a:pt x="2115" y="227"/>
                    <a:pt x="2126" y="240"/>
                    <a:pt x="2126" y="255"/>
                  </a:cubicBezTo>
                  <a:cubicBezTo>
                    <a:pt x="2125" y="270"/>
                    <a:pt x="2113" y="282"/>
                    <a:pt x="2098" y="282"/>
                  </a:cubicBezTo>
                  <a:cubicBezTo>
                    <a:pt x="2084" y="281"/>
                    <a:pt x="2073" y="269"/>
                    <a:pt x="2073" y="254"/>
                  </a:cubicBezTo>
                  <a:close/>
                  <a:moveTo>
                    <a:pt x="2141" y="306"/>
                  </a:moveTo>
                  <a:cubicBezTo>
                    <a:pt x="2156" y="307"/>
                    <a:pt x="2167" y="319"/>
                    <a:pt x="2167" y="334"/>
                  </a:cubicBezTo>
                  <a:cubicBezTo>
                    <a:pt x="2167" y="349"/>
                    <a:pt x="2154" y="361"/>
                    <a:pt x="2140" y="361"/>
                  </a:cubicBezTo>
                  <a:cubicBezTo>
                    <a:pt x="2125" y="361"/>
                    <a:pt x="2113" y="348"/>
                    <a:pt x="2114" y="333"/>
                  </a:cubicBezTo>
                  <a:cubicBezTo>
                    <a:pt x="2114" y="318"/>
                    <a:pt x="2127" y="306"/>
                    <a:pt x="2141" y="306"/>
                  </a:cubicBezTo>
                  <a:close/>
                  <a:moveTo>
                    <a:pt x="2155" y="256"/>
                  </a:moveTo>
                  <a:cubicBezTo>
                    <a:pt x="2156" y="241"/>
                    <a:pt x="2168" y="229"/>
                    <a:pt x="2182" y="229"/>
                  </a:cubicBezTo>
                  <a:cubicBezTo>
                    <a:pt x="2196" y="229"/>
                    <a:pt x="2208" y="242"/>
                    <a:pt x="2208" y="257"/>
                  </a:cubicBezTo>
                  <a:cubicBezTo>
                    <a:pt x="2207" y="272"/>
                    <a:pt x="2195" y="284"/>
                    <a:pt x="2181" y="284"/>
                  </a:cubicBezTo>
                  <a:cubicBezTo>
                    <a:pt x="2166" y="283"/>
                    <a:pt x="2155" y="271"/>
                    <a:pt x="2155" y="256"/>
                  </a:cubicBezTo>
                  <a:close/>
                  <a:moveTo>
                    <a:pt x="2200" y="181"/>
                  </a:moveTo>
                  <a:cubicBezTo>
                    <a:pt x="2200" y="166"/>
                    <a:pt x="2212" y="154"/>
                    <a:pt x="2226" y="155"/>
                  </a:cubicBezTo>
                  <a:cubicBezTo>
                    <a:pt x="2240" y="155"/>
                    <a:pt x="2252" y="167"/>
                    <a:pt x="2252" y="182"/>
                  </a:cubicBezTo>
                  <a:cubicBezTo>
                    <a:pt x="2251" y="197"/>
                    <a:pt x="2240" y="209"/>
                    <a:pt x="2225" y="209"/>
                  </a:cubicBezTo>
                  <a:cubicBezTo>
                    <a:pt x="2211" y="209"/>
                    <a:pt x="2200" y="197"/>
                    <a:pt x="2200" y="181"/>
                  </a:cubicBezTo>
                  <a:close/>
                  <a:moveTo>
                    <a:pt x="2264" y="230"/>
                  </a:moveTo>
                  <a:cubicBezTo>
                    <a:pt x="2278" y="231"/>
                    <a:pt x="2290" y="243"/>
                    <a:pt x="2290" y="258"/>
                  </a:cubicBezTo>
                  <a:cubicBezTo>
                    <a:pt x="2290" y="273"/>
                    <a:pt x="2278" y="285"/>
                    <a:pt x="2263" y="285"/>
                  </a:cubicBezTo>
                  <a:cubicBezTo>
                    <a:pt x="2249" y="285"/>
                    <a:pt x="2237" y="272"/>
                    <a:pt x="2237" y="257"/>
                  </a:cubicBezTo>
                  <a:cubicBezTo>
                    <a:pt x="2238" y="242"/>
                    <a:pt x="2249" y="230"/>
                    <a:pt x="2264" y="230"/>
                  </a:cubicBezTo>
                  <a:close/>
                  <a:moveTo>
                    <a:pt x="2281" y="183"/>
                  </a:moveTo>
                  <a:cubicBezTo>
                    <a:pt x="2281" y="168"/>
                    <a:pt x="2292" y="156"/>
                    <a:pt x="2307" y="156"/>
                  </a:cubicBezTo>
                  <a:cubicBezTo>
                    <a:pt x="2321" y="156"/>
                    <a:pt x="2332" y="168"/>
                    <a:pt x="2333" y="183"/>
                  </a:cubicBezTo>
                  <a:cubicBezTo>
                    <a:pt x="2333" y="198"/>
                    <a:pt x="2321" y="210"/>
                    <a:pt x="2307" y="210"/>
                  </a:cubicBezTo>
                  <a:cubicBezTo>
                    <a:pt x="2292" y="210"/>
                    <a:pt x="2281" y="198"/>
                    <a:pt x="2281" y="183"/>
                  </a:cubicBezTo>
                  <a:close/>
                  <a:moveTo>
                    <a:pt x="2346" y="231"/>
                  </a:moveTo>
                  <a:cubicBezTo>
                    <a:pt x="2360" y="231"/>
                    <a:pt x="2372" y="244"/>
                    <a:pt x="2372" y="259"/>
                  </a:cubicBezTo>
                  <a:cubicBezTo>
                    <a:pt x="2372" y="274"/>
                    <a:pt x="2361" y="286"/>
                    <a:pt x="2346" y="286"/>
                  </a:cubicBezTo>
                  <a:cubicBezTo>
                    <a:pt x="2331" y="286"/>
                    <a:pt x="2320" y="273"/>
                    <a:pt x="2320" y="258"/>
                  </a:cubicBezTo>
                  <a:cubicBezTo>
                    <a:pt x="2319" y="243"/>
                    <a:pt x="2331" y="231"/>
                    <a:pt x="2346" y="231"/>
                  </a:cubicBezTo>
                  <a:close/>
                  <a:moveTo>
                    <a:pt x="2362" y="183"/>
                  </a:moveTo>
                  <a:cubicBezTo>
                    <a:pt x="2362" y="168"/>
                    <a:pt x="2373" y="156"/>
                    <a:pt x="2387" y="156"/>
                  </a:cubicBezTo>
                  <a:cubicBezTo>
                    <a:pt x="2401" y="156"/>
                    <a:pt x="2413" y="168"/>
                    <a:pt x="2414" y="184"/>
                  </a:cubicBezTo>
                  <a:cubicBezTo>
                    <a:pt x="2414" y="199"/>
                    <a:pt x="2403" y="211"/>
                    <a:pt x="2388" y="211"/>
                  </a:cubicBezTo>
                  <a:cubicBezTo>
                    <a:pt x="2374" y="211"/>
                    <a:pt x="2362" y="198"/>
                    <a:pt x="2362" y="183"/>
                  </a:cubicBezTo>
                  <a:close/>
                  <a:moveTo>
                    <a:pt x="2427" y="231"/>
                  </a:moveTo>
                  <a:cubicBezTo>
                    <a:pt x="2442" y="231"/>
                    <a:pt x="2454" y="244"/>
                    <a:pt x="2454" y="259"/>
                  </a:cubicBezTo>
                  <a:cubicBezTo>
                    <a:pt x="2455" y="274"/>
                    <a:pt x="2443" y="286"/>
                    <a:pt x="2429" y="286"/>
                  </a:cubicBezTo>
                  <a:cubicBezTo>
                    <a:pt x="2414" y="286"/>
                    <a:pt x="2402" y="274"/>
                    <a:pt x="2402" y="259"/>
                  </a:cubicBezTo>
                  <a:cubicBezTo>
                    <a:pt x="2401" y="244"/>
                    <a:pt x="2413" y="231"/>
                    <a:pt x="2427" y="231"/>
                  </a:cubicBezTo>
                  <a:close/>
                  <a:moveTo>
                    <a:pt x="2443" y="184"/>
                  </a:moveTo>
                  <a:cubicBezTo>
                    <a:pt x="2442" y="168"/>
                    <a:pt x="2454" y="156"/>
                    <a:pt x="2468" y="156"/>
                  </a:cubicBezTo>
                  <a:cubicBezTo>
                    <a:pt x="2482" y="156"/>
                    <a:pt x="2494" y="168"/>
                    <a:pt x="2495" y="183"/>
                  </a:cubicBezTo>
                  <a:cubicBezTo>
                    <a:pt x="2495" y="198"/>
                    <a:pt x="2484" y="211"/>
                    <a:pt x="2470" y="211"/>
                  </a:cubicBezTo>
                  <a:cubicBezTo>
                    <a:pt x="2455" y="211"/>
                    <a:pt x="2443" y="199"/>
                    <a:pt x="2443" y="184"/>
                  </a:cubicBezTo>
                  <a:close/>
                  <a:moveTo>
                    <a:pt x="2509" y="231"/>
                  </a:moveTo>
                  <a:cubicBezTo>
                    <a:pt x="2523" y="231"/>
                    <a:pt x="2536" y="243"/>
                    <a:pt x="2536" y="258"/>
                  </a:cubicBezTo>
                  <a:cubicBezTo>
                    <a:pt x="2537" y="273"/>
                    <a:pt x="2526" y="285"/>
                    <a:pt x="2511" y="285"/>
                  </a:cubicBezTo>
                  <a:cubicBezTo>
                    <a:pt x="2497" y="286"/>
                    <a:pt x="2484" y="273"/>
                    <a:pt x="2484" y="258"/>
                  </a:cubicBezTo>
                  <a:cubicBezTo>
                    <a:pt x="2483" y="243"/>
                    <a:pt x="2495" y="231"/>
                    <a:pt x="2509" y="231"/>
                  </a:cubicBezTo>
                  <a:close/>
                  <a:moveTo>
                    <a:pt x="2524" y="183"/>
                  </a:moveTo>
                  <a:cubicBezTo>
                    <a:pt x="2523" y="168"/>
                    <a:pt x="2534" y="156"/>
                    <a:pt x="2548" y="156"/>
                  </a:cubicBezTo>
                  <a:cubicBezTo>
                    <a:pt x="2563" y="155"/>
                    <a:pt x="2575" y="167"/>
                    <a:pt x="2576" y="183"/>
                  </a:cubicBezTo>
                  <a:cubicBezTo>
                    <a:pt x="2576" y="198"/>
                    <a:pt x="2565" y="210"/>
                    <a:pt x="2551" y="210"/>
                  </a:cubicBezTo>
                  <a:cubicBezTo>
                    <a:pt x="2537" y="210"/>
                    <a:pt x="2525" y="198"/>
                    <a:pt x="2524" y="183"/>
                  </a:cubicBezTo>
                  <a:close/>
                  <a:moveTo>
                    <a:pt x="2591" y="230"/>
                  </a:moveTo>
                  <a:cubicBezTo>
                    <a:pt x="2605" y="230"/>
                    <a:pt x="2618" y="242"/>
                    <a:pt x="2618" y="257"/>
                  </a:cubicBezTo>
                  <a:cubicBezTo>
                    <a:pt x="2619" y="272"/>
                    <a:pt x="2608" y="284"/>
                    <a:pt x="2594" y="284"/>
                  </a:cubicBezTo>
                  <a:cubicBezTo>
                    <a:pt x="2579" y="285"/>
                    <a:pt x="2567" y="273"/>
                    <a:pt x="2566" y="258"/>
                  </a:cubicBezTo>
                  <a:cubicBezTo>
                    <a:pt x="2565" y="243"/>
                    <a:pt x="2576" y="230"/>
                    <a:pt x="2591" y="230"/>
                  </a:cubicBezTo>
                  <a:close/>
                  <a:moveTo>
                    <a:pt x="2629" y="154"/>
                  </a:moveTo>
                  <a:cubicBezTo>
                    <a:pt x="2643" y="154"/>
                    <a:pt x="2656" y="166"/>
                    <a:pt x="2657" y="181"/>
                  </a:cubicBezTo>
                  <a:cubicBezTo>
                    <a:pt x="2658" y="196"/>
                    <a:pt x="2647" y="209"/>
                    <a:pt x="2632" y="209"/>
                  </a:cubicBezTo>
                  <a:cubicBezTo>
                    <a:pt x="2618" y="209"/>
                    <a:pt x="2606" y="197"/>
                    <a:pt x="2605" y="182"/>
                  </a:cubicBezTo>
                  <a:cubicBezTo>
                    <a:pt x="2604" y="167"/>
                    <a:pt x="2615" y="155"/>
                    <a:pt x="2629" y="154"/>
                  </a:cubicBezTo>
                  <a:close/>
                  <a:moveTo>
                    <a:pt x="2673" y="228"/>
                  </a:moveTo>
                  <a:cubicBezTo>
                    <a:pt x="2687" y="228"/>
                    <a:pt x="2700" y="240"/>
                    <a:pt x="2701" y="255"/>
                  </a:cubicBezTo>
                  <a:cubicBezTo>
                    <a:pt x="2702" y="270"/>
                    <a:pt x="2691" y="282"/>
                    <a:pt x="2676" y="283"/>
                  </a:cubicBezTo>
                  <a:cubicBezTo>
                    <a:pt x="2662" y="283"/>
                    <a:pt x="2649" y="271"/>
                    <a:pt x="2648" y="256"/>
                  </a:cubicBezTo>
                  <a:cubicBezTo>
                    <a:pt x="2647" y="241"/>
                    <a:pt x="2658" y="229"/>
                    <a:pt x="2673" y="228"/>
                  </a:cubicBezTo>
                  <a:close/>
                  <a:moveTo>
                    <a:pt x="2710" y="153"/>
                  </a:moveTo>
                  <a:cubicBezTo>
                    <a:pt x="2724" y="152"/>
                    <a:pt x="2736" y="164"/>
                    <a:pt x="2738" y="179"/>
                  </a:cubicBezTo>
                  <a:cubicBezTo>
                    <a:pt x="2739" y="194"/>
                    <a:pt x="2728" y="207"/>
                    <a:pt x="2714" y="207"/>
                  </a:cubicBezTo>
                  <a:cubicBezTo>
                    <a:pt x="2700" y="207"/>
                    <a:pt x="2687" y="195"/>
                    <a:pt x="2686" y="180"/>
                  </a:cubicBezTo>
                  <a:cubicBezTo>
                    <a:pt x="2685" y="165"/>
                    <a:pt x="2695" y="153"/>
                    <a:pt x="2710" y="153"/>
                  </a:cubicBezTo>
                  <a:close/>
                  <a:moveTo>
                    <a:pt x="2754" y="226"/>
                  </a:moveTo>
                  <a:cubicBezTo>
                    <a:pt x="2769" y="226"/>
                    <a:pt x="2781" y="238"/>
                    <a:pt x="2783" y="253"/>
                  </a:cubicBezTo>
                  <a:cubicBezTo>
                    <a:pt x="2784" y="268"/>
                    <a:pt x="2773" y="280"/>
                    <a:pt x="2759" y="281"/>
                  </a:cubicBezTo>
                  <a:cubicBezTo>
                    <a:pt x="2744" y="281"/>
                    <a:pt x="2732" y="269"/>
                    <a:pt x="2730" y="254"/>
                  </a:cubicBezTo>
                  <a:cubicBezTo>
                    <a:pt x="2729" y="239"/>
                    <a:pt x="2740" y="227"/>
                    <a:pt x="2754" y="226"/>
                  </a:cubicBezTo>
                  <a:close/>
                  <a:moveTo>
                    <a:pt x="2805" y="302"/>
                  </a:moveTo>
                  <a:cubicBezTo>
                    <a:pt x="2819" y="302"/>
                    <a:pt x="2832" y="313"/>
                    <a:pt x="2834" y="328"/>
                  </a:cubicBezTo>
                  <a:cubicBezTo>
                    <a:pt x="2835" y="343"/>
                    <a:pt x="2824" y="356"/>
                    <a:pt x="2810" y="356"/>
                  </a:cubicBezTo>
                  <a:cubicBezTo>
                    <a:pt x="2795" y="357"/>
                    <a:pt x="2782" y="345"/>
                    <a:pt x="2781" y="330"/>
                  </a:cubicBezTo>
                  <a:cubicBezTo>
                    <a:pt x="2779" y="315"/>
                    <a:pt x="2790" y="303"/>
                    <a:pt x="2805" y="302"/>
                  </a:cubicBezTo>
                  <a:close/>
                  <a:moveTo>
                    <a:pt x="2836" y="224"/>
                  </a:moveTo>
                  <a:cubicBezTo>
                    <a:pt x="2850" y="223"/>
                    <a:pt x="2863" y="235"/>
                    <a:pt x="2865" y="250"/>
                  </a:cubicBezTo>
                  <a:cubicBezTo>
                    <a:pt x="2867" y="265"/>
                    <a:pt x="2856" y="277"/>
                    <a:pt x="2841" y="278"/>
                  </a:cubicBezTo>
                  <a:cubicBezTo>
                    <a:pt x="2827" y="278"/>
                    <a:pt x="2814" y="267"/>
                    <a:pt x="2813" y="252"/>
                  </a:cubicBezTo>
                  <a:cubicBezTo>
                    <a:pt x="2811" y="237"/>
                    <a:pt x="2822" y="224"/>
                    <a:pt x="2836" y="224"/>
                  </a:cubicBezTo>
                  <a:close/>
                  <a:moveTo>
                    <a:pt x="2887" y="299"/>
                  </a:moveTo>
                  <a:cubicBezTo>
                    <a:pt x="2902" y="298"/>
                    <a:pt x="2915" y="310"/>
                    <a:pt x="2917" y="325"/>
                  </a:cubicBezTo>
                  <a:cubicBezTo>
                    <a:pt x="2919" y="340"/>
                    <a:pt x="2908" y="353"/>
                    <a:pt x="2893" y="353"/>
                  </a:cubicBezTo>
                  <a:cubicBezTo>
                    <a:pt x="2879" y="354"/>
                    <a:pt x="2865" y="342"/>
                    <a:pt x="2864" y="327"/>
                  </a:cubicBezTo>
                  <a:cubicBezTo>
                    <a:pt x="2862" y="312"/>
                    <a:pt x="2873" y="300"/>
                    <a:pt x="2887" y="299"/>
                  </a:cubicBezTo>
                  <a:close/>
                  <a:moveTo>
                    <a:pt x="2918" y="220"/>
                  </a:moveTo>
                  <a:cubicBezTo>
                    <a:pt x="2932" y="220"/>
                    <a:pt x="2945" y="231"/>
                    <a:pt x="2947" y="246"/>
                  </a:cubicBezTo>
                  <a:cubicBezTo>
                    <a:pt x="2949" y="261"/>
                    <a:pt x="2939" y="274"/>
                    <a:pt x="2924" y="274"/>
                  </a:cubicBezTo>
                  <a:cubicBezTo>
                    <a:pt x="2909" y="275"/>
                    <a:pt x="2896" y="263"/>
                    <a:pt x="2895" y="248"/>
                  </a:cubicBezTo>
                  <a:cubicBezTo>
                    <a:pt x="2893" y="234"/>
                    <a:pt x="2903" y="221"/>
                    <a:pt x="2918" y="220"/>
                  </a:cubicBezTo>
                  <a:close/>
                  <a:moveTo>
                    <a:pt x="2970" y="295"/>
                  </a:moveTo>
                  <a:cubicBezTo>
                    <a:pt x="2985" y="295"/>
                    <a:pt x="2998" y="306"/>
                    <a:pt x="3000" y="321"/>
                  </a:cubicBezTo>
                  <a:cubicBezTo>
                    <a:pt x="3002" y="336"/>
                    <a:pt x="2992" y="349"/>
                    <a:pt x="2977" y="349"/>
                  </a:cubicBezTo>
                  <a:cubicBezTo>
                    <a:pt x="2962" y="350"/>
                    <a:pt x="2949" y="338"/>
                    <a:pt x="2947" y="324"/>
                  </a:cubicBezTo>
                  <a:cubicBezTo>
                    <a:pt x="2945" y="309"/>
                    <a:pt x="2956" y="296"/>
                    <a:pt x="2970" y="295"/>
                  </a:cubicBezTo>
                  <a:close/>
                  <a:moveTo>
                    <a:pt x="2999" y="216"/>
                  </a:moveTo>
                  <a:cubicBezTo>
                    <a:pt x="3014" y="216"/>
                    <a:pt x="3027" y="227"/>
                    <a:pt x="3029" y="242"/>
                  </a:cubicBezTo>
                  <a:cubicBezTo>
                    <a:pt x="3031" y="257"/>
                    <a:pt x="3021" y="270"/>
                    <a:pt x="3007" y="270"/>
                  </a:cubicBezTo>
                  <a:cubicBezTo>
                    <a:pt x="2992" y="271"/>
                    <a:pt x="2979" y="260"/>
                    <a:pt x="2977" y="245"/>
                  </a:cubicBezTo>
                  <a:cubicBezTo>
                    <a:pt x="2975" y="230"/>
                    <a:pt x="2985" y="217"/>
                    <a:pt x="2999" y="216"/>
                  </a:cubicBezTo>
                  <a:close/>
                  <a:moveTo>
                    <a:pt x="3050" y="393"/>
                  </a:moveTo>
                  <a:cubicBezTo>
                    <a:pt x="3052" y="408"/>
                    <a:pt x="3042" y="421"/>
                    <a:pt x="3027" y="421"/>
                  </a:cubicBezTo>
                  <a:cubicBezTo>
                    <a:pt x="3012" y="422"/>
                    <a:pt x="2998" y="411"/>
                    <a:pt x="2996" y="396"/>
                  </a:cubicBezTo>
                  <a:cubicBezTo>
                    <a:pt x="2994" y="381"/>
                    <a:pt x="3005" y="368"/>
                    <a:pt x="3019" y="368"/>
                  </a:cubicBezTo>
                  <a:cubicBezTo>
                    <a:pt x="3034" y="367"/>
                    <a:pt x="3048" y="378"/>
                    <a:pt x="3050" y="393"/>
                  </a:cubicBezTo>
                  <a:close/>
                  <a:moveTo>
                    <a:pt x="3053" y="291"/>
                  </a:moveTo>
                  <a:cubicBezTo>
                    <a:pt x="3068" y="290"/>
                    <a:pt x="3081" y="301"/>
                    <a:pt x="3084" y="316"/>
                  </a:cubicBezTo>
                  <a:cubicBezTo>
                    <a:pt x="3086" y="331"/>
                    <a:pt x="3076" y="344"/>
                    <a:pt x="3061" y="345"/>
                  </a:cubicBezTo>
                  <a:cubicBezTo>
                    <a:pt x="3046" y="346"/>
                    <a:pt x="3032" y="334"/>
                    <a:pt x="3030" y="319"/>
                  </a:cubicBezTo>
                  <a:cubicBezTo>
                    <a:pt x="3028" y="304"/>
                    <a:pt x="3039" y="292"/>
                    <a:pt x="3053" y="291"/>
                  </a:cubicBezTo>
                  <a:close/>
                  <a:moveTo>
                    <a:pt x="3081" y="212"/>
                  </a:moveTo>
                  <a:cubicBezTo>
                    <a:pt x="3095" y="211"/>
                    <a:pt x="3109" y="222"/>
                    <a:pt x="3111" y="237"/>
                  </a:cubicBezTo>
                  <a:cubicBezTo>
                    <a:pt x="3114" y="252"/>
                    <a:pt x="3104" y="265"/>
                    <a:pt x="3089" y="266"/>
                  </a:cubicBezTo>
                  <a:cubicBezTo>
                    <a:pt x="3075" y="267"/>
                    <a:pt x="3061" y="255"/>
                    <a:pt x="3059" y="240"/>
                  </a:cubicBezTo>
                  <a:cubicBezTo>
                    <a:pt x="3057" y="225"/>
                    <a:pt x="3067" y="213"/>
                    <a:pt x="3081" y="212"/>
                  </a:cubicBezTo>
                  <a:close/>
                  <a:moveTo>
                    <a:pt x="3134" y="388"/>
                  </a:moveTo>
                  <a:cubicBezTo>
                    <a:pt x="3137" y="403"/>
                    <a:pt x="3126" y="416"/>
                    <a:pt x="3111" y="417"/>
                  </a:cubicBezTo>
                  <a:cubicBezTo>
                    <a:pt x="3097" y="418"/>
                    <a:pt x="3083" y="406"/>
                    <a:pt x="3081" y="391"/>
                  </a:cubicBezTo>
                  <a:cubicBezTo>
                    <a:pt x="3078" y="376"/>
                    <a:pt x="3089" y="364"/>
                    <a:pt x="3103" y="363"/>
                  </a:cubicBezTo>
                  <a:cubicBezTo>
                    <a:pt x="3118" y="362"/>
                    <a:pt x="3132" y="373"/>
                    <a:pt x="3134" y="388"/>
                  </a:cubicBezTo>
                  <a:close/>
                  <a:moveTo>
                    <a:pt x="3136" y="286"/>
                  </a:moveTo>
                  <a:cubicBezTo>
                    <a:pt x="3151" y="285"/>
                    <a:pt x="3164" y="296"/>
                    <a:pt x="3167" y="311"/>
                  </a:cubicBezTo>
                  <a:cubicBezTo>
                    <a:pt x="3169" y="326"/>
                    <a:pt x="3159" y="339"/>
                    <a:pt x="3145" y="340"/>
                  </a:cubicBezTo>
                  <a:cubicBezTo>
                    <a:pt x="3130" y="341"/>
                    <a:pt x="3116" y="329"/>
                    <a:pt x="3114" y="315"/>
                  </a:cubicBezTo>
                  <a:cubicBezTo>
                    <a:pt x="3111" y="300"/>
                    <a:pt x="3121" y="287"/>
                    <a:pt x="3136" y="286"/>
                  </a:cubicBezTo>
                  <a:close/>
                  <a:moveTo>
                    <a:pt x="3163" y="207"/>
                  </a:moveTo>
                  <a:cubicBezTo>
                    <a:pt x="3177" y="206"/>
                    <a:pt x="3191" y="217"/>
                    <a:pt x="3193" y="232"/>
                  </a:cubicBezTo>
                  <a:cubicBezTo>
                    <a:pt x="3196" y="247"/>
                    <a:pt x="3186" y="260"/>
                    <a:pt x="3172" y="261"/>
                  </a:cubicBezTo>
                  <a:cubicBezTo>
                    <a:pt x="3157" y="262"/>
                    <a:pt x="3143" y="250"/>
                    <a:pt x="3141" y="235"/>
                  </a:cubicBezTo>
                  <a:cubicBezTo>
                    <a:pt x="3139" y="221"/>
                    <a:pt x="3148" y="208"/>
                    <a:pt x="3163" y="207"/>
                  </a:cubicBezTo>
                  <a:close/>
                  <a:moveTo>
                    <a:pt x="3219" y="382"/>
                  </a:moveTo>
                  <a:cubicBezTo>
                    <a:pt x="3221" y="397"/>
                    <a:pt x="3211" y="410"/>
                    <a:pt x="3196" y="411"/>
                  </a:cubicBezTo>
                  <a:cubicBezTo>
                    <a:pt x="3181" y="412"/>
                    <a:pt x="3167" y="401"/>
                    <a:pt x="3165" y="386"/>
                  </a:cubicBezTo>
                  <a:cubicBezTo>
                    <a:pt x="3163" y="371"/>
                    <a:pt x="3173" y="358"/>
                    <a:pt x="3187" y="357"/>
                  </a:cubicBezTo>
                  <a:cubicBezTo>
                    <a:pt x="3202" y="356"/>
                    <a:pt x="3216" y="368"/>
                    <a:pt x="3219" y="382"/>
                  </a:cubicBezTo>
                  <a:close/>
                  <a:moveTo>
                    <a:pt x="3219" y="280"/>
                  </a:moveTo>
                  <a:cubicBezTo>
                    <a:pt x="3234" y="279"/>
                    <a:pt x="3247" y="291"/>
                    <a:pt x="3250" y="305"/>
                  </a:cubicBezTo>
                  <a:cubicBezTo>
                    <a:pt x="3253" y="320"/>
                    <a:pt x="3243" y="333"/>
                    <a:pt x="3228" y="334"/>
                  </a:cubicBezTo>
                  <a:cubicBezTo>
                    <a:pt x="3213" y="335"/>
                    <a:pt x="3199" y="324"/>
                    <a:pt x="3197" y="309"/>
                  </a:cubicBezTo>
                  <a:cubicBezTo>
                    <a:pt x="3194" y="294"/>
                    <a:pt x="3204" y="282"/>
                    <a:pt x="3219" y="280"/>
                  </a:cubicBezTo>
                  <a:close/>
                  <a:moveTo>
                    <a:pt x="3244" y="201"/>
                  </a:moveTo>
                  <a:cubicBezTo>
                    <a:pt x="3259" y="200"/>
                    <a:pt x="3273" y="211"/>
                    <a:pt x="3275" y="226"/>
                  </a:cubicBezTo>
                  <a:cubicBezTo>
                    <a:pt x="3278" y="241"/>
                    <a:pt x="3269" y="254"/>
                    <a:pt x="3254" y="255"/>
                  </a:cubicBezTo>
                  <a:cubicBezTo>
                    <a:pt x="3239" y="256"/>
                    <a:pt x="3226" y="245"/>
                    <a:pt x="3223" y="230"/>
                  </a:cubicBezTo>
                  <a:cubicBezTo>
                    <a:pt x="3220" y="215"/>
                    <a:pt x="3230" y="202"/>
                    <a:pt x="3244" y="201"/>
                  </a:cubicBezTo>
                  <a:close/>
                  <a:moveTo>
                    <a:pt x="3303" y="376"/>
                  </a:moveTo>
                  <a:cubicBezTo>
                    <a:pt x="3306" y="391"/>
                    <a:pt x="3296" y="404"/>
                    <a:pt x="3281" y="405"/>
                  </a:cubicBezTo>
                  <a:cubicBezTo>
                    <a:pt x="3266" y="406"/>
                    <a:pt x="3252" y="395"/>
                    <a:pt x="3249" y="380"/>
                  </a:cubicBezTo>
                  <a:cubicBezTo>
                    <a:pt x="3247" y="365"/>
                    <a:pt x="3257" y="353"/>
                    <a:pt x="3271" y="351"/>
                  </a:cubicBezTo>
                  <a:cubicBezTo>
                    <a:pt x="3286" y="350"/>
                    <a:pt x="3300" y="361"/>
                    <a:pt x="3303" y="376"/>
                  </a:cubicBezTo>
                  <a:close/>
                  <a:moveTo>
                    <a:pt x="3302" y="274"/>
                  </a:moveTo>
                  <a:cubicBezTo>
                    <a:pt x="3316" y="273"/>
                    <a:pt x="3330" y="284"/>
                    <a:pt x="3333" y="299"/>
                  </a:cubicBezTo>
                  <a:cubicBezTo>
                    <a:pt x="3336" y="314"/>
                    <a:pt x="3327" y="327"/>
                    <a:pt x="3312" y="328"/>
                  </a:cubicBezTo>
                  <a:cubicBezTo>
                    <a:pt x="3297" y="329"/>
                    <a:pt x="3283" y="318"/>
                    <a:pt x="3280" y="303"/>
                  </a:cubicBezTo>
                  <a:cubicBezTo>
                    <a:pt x="3277" y="288"/>
                    <a:pt x="3287" y="275"/>
                    <a:pt x="3302" y="274"/>
                  </a:cubicBezTo>
                  <a:close/>
                  <a:moveTo>
                    <a:pt x="3355" y="345"/>
                  </a:moveTo>
                  <a:cubicBezTo>
                    <a:pt x="3370" y="344"/>
                    <a:pt x="3385" y="355"/>
                    <a:pt x="3387" y="369"/>
                  </a:cubicBezTo>
                  <a:cubicBezTo>
                    <a:pt x="3390" y="384"/>
                    <a:pt x="3381" y="397"/>
                    <a:pt x="3366" y="398"/>
                  </a:cubicBezTo>
                  <a:cubicBezTo>
                    <a:pt x="3351" y="400"/>
                    <a:pt x="3336" y="389"/>
                    <a:pt x="3334" y="374"/>
                  </a:cubicBezTo>
                  <a:cubicBezTo>
                    <a:pt x="3331" y="359"/>
                    <a:pt x="3341" y="346"/>
                    <a:pt x="3355" y="345"/>
                  </a:cubicBezTo>
                  <a:close/>
                  <a:moveTo>
                    <a:pt x="3384" y="268"/>
                  </a:moveTo>
                  <a:cubicBezTo>
                    <a:pt x="3399" y="266"/>
                    <a:pt x="3413" y="277"/>
                    <a:pt x="3416" y="292"/>
                  </a:cubicBezTo>
                  <a:cubicBezTo>
                    <a:pt x="3420" y="307"/>
                    <a:pt x="3410" y="320"/>
                    <a:pt x="3395" y="321"/>
                  </a:cubicBezTo>
                  <a:cubicBezTo>
                    <a:pt x="3381" y="322"/>
                    <a:pt x="3366" y="311"/>
                    <a:pt x="3363" y="297"/>
                  </a:cubicBezTo>
                  <a:cubicBezTo>
                    <a:pt x="3360" y="282"/>
                    <a:pt x="3370" y="269"/>
                    <a:pt x="3384" y="268"/>
                  </a:cubicBezTo>
                  <a:close/>
                  <a:moveTo>
                    <a:pt x="3448" y="442"/>
                  </a:moveTo>
                  <a:cubicBezTo>
                    <a:pt x="3451" y="456"/>
                    <a:pt x="3441" y="469"/>
                    <a:pt x="3426" y="471"/>
                  </a:cubicBezTo>
                  <a:cubicBezTo>
                    <a:pt x="3411" y="472"/>
                    <a:pt x="3396" y="461"/>
                    <a:pt x="3393" y="446"/>
                  </a:cubicBezTo>
                  <a:cubicBezTo>
                    <a:pt x="3390" y="432"/>
                    <a:pt x="3400" y="419"/>
                    <a:pt x="3415" y="417"/>
                  </a:cubicBezTo>
                  <a:cubicBezTo>
                    <a:pt x="3430" y="416"/>
                    <a:pt x="3445" y="427"/>
                    <a:pt x="3448" y="442"/>
                  </a:cubicBezTo>
                  <a:close/>
                  <a:moveTo>
                    <a:pt x="3439" y="338"/>
                  </a:moveTo>
                  <a:cubicBezTo>
                    <a:pt x="3454" y="336"/>
                    <a:pt x="3469" y="347"/>
                    <a:pt x="3472" y="362"/>
                  </a:cubicBezTo>
                  <a:cubicBezTo>
                    <a:pt x="3475" y="377"/>
                    <a:pt x="3465" y="390"/>
                    <a:pt x="3451" y="391"/>
                  </a:cubicBezTo>
                  <a:cubicBezTo>
                    <a:pt x="3436" y="392"/>
                    <a:pt x="3421" y="381"/>
                    <a:pt x="3418" y="367"/>
                  </a:cubicBezTo>
                  <a:cubicBezTo>
                    <a:pt x="3415" y="352"/>
                    <a:pt x="3424" y="339"/>
                    <a:pt x="3439" y="338"/>
                  </a:cubicBezTo>
                  <a:close/>
                  <a:moveTo>
                    <a:pt x="3467" y="260"/>
                  </a:moveTo>
                  <a:cubicBezTo>
                    <a:pt x="3482" y="259"/>
                    <a:pt x="3496" y="270"/>
                    <a:pt x="3500" y="284"/>
                  </a:cubicBezTo>
                  <a:cubicBezTo>
                    <a:pt x="3503" y="299"/>
                    <a:pt x="3494" y="312"/>
                    <a:pt x="3479" y="314"/>
                  </a:cubicBezTo>
                  <a:cubicBezTo>
                    <a:pt x="3464" y="315"/>
                    <a:pt x="3450" y="304"/>
                    <a:pt x="3447" y="289"/>
                  </a:cubicBezTo>
                  <a:cubicBezTo>
                    <a:pt x="3443" y="275"/>
                    <a:pt x="3453" y="262"/>
                    <a:pt x="3467" y="260"/>
                  </a:cubicBezTo>
                  <a:close/>
                  <a:moveTo>
                    <a:pt x="3533" y="434"/>
                  </a:moveTo>
                  <a:cubicBezTo>
                    <a:pt x="3537" y="448"/>
                    <a:pt x="3527" y="461"/>
                    <a:pt x="3512" y="463"/>
                  </a:cubicBezTo>
                  <a:cubicBezTo>
                    <a:pt x="3497" y="464"/>
                    <a:pt x="3482" y="453"/>
                    <a:pt x="3479" y="439"/>
                  </a:cubicBezTo>
                  <a:cubicBezTo>
                    <a:pt x="3476" y="424"/>
                    <a:pt x="3485" y="411"/>
                    <a:pt x="3500" y="410"/>
                  </a:cubicBezTo>
                  <a:cubicBezTo>
                    <a:pt x="3515" y="408"/>
                    <a:pt x="3530" y="419"/>
                    <a:pt x="3533" y="434"/>
                  </a:cubicBezTo>
                  <a:close/>
                  <a:moveTo>
                    <a:pt x="3523" y="330"/>
                  </a:moveTo>
                  <a:cubicBezTo>
                    <a:pt x="3538" y="328"/>
                    <a:pt x="3553" y="339"/>
                    <a:pt x="3556" y="354"/>
                  </a:cubicBezTo>
                  <a:cubicBezTo>
                    <a:pt x="3559" y="369"/>
                    <a:pt x="3550" y="382"/>
                    <a:pt x="3535" y="383"/>
                  </a:cubicBezTo>
                  <a:cubicBezTo>
                    <a:pt x="3520" y="385"/>
                    <a:pt x="3506" y="374"/>
                    <a:pt x="3502" y="359"/>
                  </a:cubicBezTo>
                  <a:cubicBezTo>
                    <a:pt x="3499" y="344"/>
                    <a:pt x="3508" y="331"/>
                    <a:pt x="3523" y="330"/>
                  </a:cubicBezTo>
                  <a:close/>
                  <a:moveTo>
                    <a:pt x="3550" y="252"/>
                  </a:moveTo>
                  <a:cubicBezTo>
                    <a:pt x="3564" y="251"/>
                    <a:pt x="3579" y="262"/>
                    <a:pt x="3583" y="276"/>
                  </a:cubicBezTo>
                  <a:cubicBezTo>
                    <a:pt x="3586" y="291"/>
                    <a:pt x="3577" y="304"/>
                    <a:pt x="3562" y="306"/>
                  </a:cubicBezTo>
                  <a:cubicBezTo>
                    <a:pt x="3548" y="307"/>
                    <a:pt x="3533" y="296"/>
                    <a:pt x="3530" y="282"/>
                  </a:cubicBezTo>
                  <a:cubicBezTo>
                    <a:pt x="3526" y="267"/>
                    <a:pt x="3535" y="254"/>
                    <a:pt x="3550" y="252"/>
                  </a:cubicBezTo>
                  <a:close/>
                  <a:moveTo>
                    <a:pt x="3585" y="401"/>
                  </a:moveTo>
                  <a:cubicBezTo>
                    <a:pt x="3600" y="400"/>
                    <a:pt x="3615" y="410"/>
                    <a:pt x="3619" y="425"/>
                  </a:cubicBezTo>
                  <a:cubicBezTo>
                    <a:pt x="3622" y="440"/>
                    <a:pt x="3613" y="453"/>
                    <a:pt x="3598" y="454"/>
                  </a:cubicBezTo>
                  <a:cubicBezTo>
                    <a:pt x="3583" y="456"/>
                    <a:pt x="3568" y="445"/>
                    <a:pt x="3564" y="431"/>
                  </a:cubicBezTo>
                  <a:cubicBezTo>
                    <a:pt x="3561" y="416"/>
                    <a:pt x="3570" y="403"/>
                    <a:pt x="3585" y="401"/>
                  </a:cubicBezTo>
                  <a:close/>
                  <a:moveTo>
                    <a:pt x="3607" y="322"/>
                  </a:moveTo>
                  <a:cubicBezTo>
                    <a:pt x="3622" y="320"/>
                    <a:pt x="3637" y="331"/>
                    <a:pt x="3640" y="345"/>
                  </a:cubicBezTo>
                  <a:cubicBezTo>
                    <a:pt x="3644" y="360"/>
                    <a:pt x="3635" y="373"/>
                    <a:pt x="3620" y="375"/>
                  </a:cubicBezTo>
                  <a:cubicBezTo>
                    <a:pt x="3605" y="376"/>
                    <a:pt x="3590" y="365"/>
                    <a:pt x="3587" y="351"/>
                  </a:cubicBezTo>
                  <a:cubicBezTo>
                    <a:pt x="3583" y="336"/>
                    <a:pt x="3592" y="323"/>
                    <a:pt x="3607" y="322"/>
                  </a:cubicBezTo>
                  <a:close/>
                  <a:moveTo>
                    <a:pt x="3633" y="244"/>
                  </a:moveTo>
                  <a:cubicBezTo>
                    <a:pt x="3647" y="242"/>
                    <a:pt x="3662" y="253"/>
                    <a:pt x="3666" y="268"/>
                  </a:cubicBezTo>
                  <a:cubicBezTo>
                    <a:pt x="3670" y="282"/>
                    <a:pt x="3661" y="295"/>
                    <a:pt x="3646" y="297"/>
                  </a:cubicBezTo>
                  <a:cubicBezTo>
                    <a:pt x="3631" y="298"/>
                    <a:pt x="3616" y="288"/>
                    <a:pt x="3613" y="273"/>
                  </a:cubicBezTo>
                  <a:cubicBezTo>
                    <a:pt x="3609" y="259"/>
                    <a:pt x="3618" y="245"/>
                    <a:pt x="3633" y="244"/>
                  </a:cubicBezTo>
                  <a:close/>
                  <a:moveTo>
                    <a:pt x="3670" y="392"/>
                  </a:moveTo>
                  <a:cubicBezTo>
                    <a:pt x="3685" y="391"/>
                    <a:pt x="3700" y="401"/>
                    <a:pt x="3704" y="416"/>
                  </a:cubicBezTo>
                  <a:cubicBezTo>
                    <a:pt x="3708" y="430"/>
                    <a:pt x="3699" y="444"/>
                    <a:pt x="3684" y="445"/>
                  </a:cubicBezTo>
                  <a:cubicBezTo>
                    <a:pt x="3668" y="447"/>
                    <a:pt x="3653" y="436"/>
                    <a:pt x="3650" y="422"/>
                  </a:cubicBezTo>
                  <a:cubicBezTo>
                    <a:pt x="3646" y="407"/>
                    <a:pt x="3655" y="394"/>
                    <a:pt x="3670" y="392"/>
                  </a:cubicBezTo>
                  <a:close/>
                  <a:moveTo>
                    <a:pt x="3691" y="313"/>
                  </a:moveTo>
                  <a:cubicBezTo>
                    <a:pt x="3705" y="311"/>
                    <a:pt x="3721" y="321"/>
                    <a:pt x="3724" y="336"/>
                  </a:cubicBezTo>
                  <a:cubicBezTo>
                    <a:pt x="3728" y="351"/>
                    <a:pt x="3719" y="364"/>
                    <a:pt x="3704" y="365"/>
                  </a:cubicBezTo>
                  <a:cubicBezTo>
                    <a:pt x="3690" y="367"/>
                    <a:pt x="3674" y="357"/>
                    <a:pt x="3671" y="342"/>
                  </a:cubicBezTo>
                  <a:cubicBezTo>
                    <a:pt x="3667" y="327"/>
                    <a:pt x="3676" y="314"/>
                    <a:pt x="3691" y="313"/>
                  </a:cubicBezTo>
                  <a:close/>
                  <a:moveTo>
                    <a:pt x="3715" y="235"/>
                  </a:moveTo>
                  <a:cubicBezTo>
                    <a:pt x="3730" y="233"/>
                    <a:pt x="3745" y="244"/>
                    <a:pt x="3749" y="258"/>
                  </a:cubicBezTo>
                  <a:cubicBezTo>
                    <a:pt x="3753" y="273"/>
                    <a:pt x="3744" y="286"/>
                    <a:pt x="3729" y="288"/>
                  </a:cubicBezTo>
                  <a:cubicBezTo>
                    <a:pt x="3715" y="289"/>
                    <a:pt x="3700" y="279"/>
                    <a:pt x="3696" y="264"/>
                  </a:cubicBezTo>
                  <a:cubicBezTo>
                    <a:pt x="3692" y="250"/>
                    <a:pt x="3701" y="237"/>
                    <a:pt x="3715" y="235"/>
                  </a:cubicBezTo>
                  <a:close/>
                  <a:moveTo>
                    <a:pt x="3755" y="383"/>
                  </a:moveTo>
                  <a:cubicBezTo>
                    <a:pt x="3770" y="381"/>
                    <a:pt x="3785" y="391"/>
                    <a:pt x="3789" y="406"/>
                  </a:cubicBezTo>
                  <a:cubicBezTo>
                    <a:pt x="3793" y="421"/>
                    <a:pt x="3784" y="434"/>
                    <a:pt x="3769" y="436"/>
                  </a:cubicBezTo>
                  <a:cubicBezTo>
                    <a:pt x="3754" y="437"/>
                    <a:pt x="3739" y="427"/>
                    <a:pt x="3735" y="412"/>
                  </a:cubicBezTo>
                  <a:cubicBezTo>
                    <a:pt x="3731" y="398"/>
                    <a:pt x="3740" y="385"/>
                    <a:pt x="3755" y="383"/>
                  </a:cubicBezTo>
                  <a:close/>
                  <a:moveTo>
                    <a:pt x="3774" y="303"/>
                  </a:moveTo>
                  <a:cubicBezTo>
                    <a:pt x="3789" y="301"/>
                    <a:pt x="3804" y="312"/>
                    <a:pt x="3809" y="326"/>
                  </a:cubicBezTo>
                  <a:cubicBezTo>
                    <a:pt x="3813" y="341"/>
                    <a:pt x="3804" y="354"/>
                    <a:pt x="3789" y="356"/>
                  </a:cubicBezTo>
                  <a:cubicBezTo>
                    <a:pt x="3774" y="357"/>
                    <a:pt x="3759" y="347"/>
                    <a:pt x="3755" y="332"/>
                  </a:cubicBezTo>
                  <a:cubicBezTo>
                    <a:pt x="3751" y="318"/>
                    <a:pt x="3760" y="305"/>
                    <a:pt x="3774" y="303"/>
                  </a:cubicBezTo>
                  <a:close/>
                  <a:moveTo>
                    <a:pt x="3798" y="225"/>
                  </a:moveTo>
                  <a:cubicBezTo>
                    <a:pt x="3812" y="223"/>
                    <a:pt x="3828" y="234"/>
                    <a:pt x="3832" y="248"/>
                  </a:cubicBezTo>
                  <a:cubicBezTo>
                    <a:pt x="3836" y="263"/>
                    <a:pt x="3827" y="276"/>
                    <a:pt x="3813" y="278"/>
                  </a:cubicBezTo>
                  <a:cubicBezTo>
                    <a:pt x="3798" y="280"/>
                    <a:pt x="3783" y="269"/>
                    <a:pt x="3779" y="255"/>
                  </a:cubicBezTo>
                  <a:cubicBezTo>
                    <a:pt x="3775" y="240"/>
                    <a:pt x="3783" y="227"/>
                    <a:pt x="3798" y="225"/>
                  </a:cubicBezTo>
                  <a:close/>
                  <a:moveTo>
                    <a:pt x="3840" y="373"/>
                  </a:moveTo>
                  <a:cubicBezTo>
                    <a:pt x="3855" y="371"/>
                    <a:pt x="3870" y="381"/>
                    <a:pt x="3875" y="396"/>
                  </a:cubicBezTo>
                  <a:cubicBezTo>
                    <a:pt x="3879" y="410"/>
                    <a:pt x="3870" y="424"/>
                    <a:pt x="3855" y="425"/>
                  </a:cubicBezTo>
                  <a:cubicBezTo>
                    <a:pt x="3840" y="427"/>
                    <a:pt x="3824" y="417"/>
                    <a:pt x="3820" y="402"/>
                  </a:cubicBezTo>
                  <a:cubicBezTo>
                    <a:pt x="3816" y="388"/>
                    <a:pt x="3825" y="375"/>
                    <a:pt x="3840" y="373"/>
                  </a:cubicBezTo>
                  <a:close/>
                  <a:moveTo>
                    <a:pt x="3858" y="293"/>
                  </a:moveTo>
                  <a:cubicBezTo>
                    <a:pt x="3873" y="291"/>
                    <a:pt x="3888" y="301"/>
                    <a:pt x="3893" y="316"/>
                  </a:cubicBezTo>
                  <a:cubicBezTo>
                    <a:pt x="3897" y="330"/>
                    <a:pt x="3888" y="343"/>
                    <a:pt x="3873" y="345"/>
                  </a:cubicBezTo>
                  <a:cubicBezTo>
                    <a:pt x="3859" y="347"/>
                    <a:pt x="3843" y="337"/>
                    <a:pt x="3839" y="322"/>
                  </a:cubicBezTo>
                  <a:cubicBezTo>
                    <a:pt x="3835" y="308"/>
                    <a:pt x="3843" y="295"/>
                    <a:pt x="3858" y="293"/>
                  </a:cubicBezTo>
                  <a:close/>
                  <a:moveTo>
                    <a:pt x="3880" y="215"/>
                  </a:moveTo>
                  <a:cubicBezTo>
                    <a:pt x="3895" y="213"/>
                    <a:pt x="3910" y="223"/>
                    <a:pt x="3915" y="238"/>
                  </a:cubicBezTo>
                  <a:cubicBezTo>
                    <a:pt x="3919" y="252"/>
                    <a:pt x="3911" y="266"/>
                    <a:pt x="3896" y="267"/>
                  </a:cubicBezTo>
                  <a:cubicBezTo>
                    <a:pt x="3881" y="269"/>
                    <a:pt x="3866" y="259"/>
                    <a:pt x="3862" y="245"/>
                  </a:cubicBezTo>
                  <a:cubicBezTo>
                    <a:pt x="3857" y="230"/>
                    <a:pt x="3866" y="217"/>
                    <a:pt x="3880" y="215"/>
                  </a:cubicBezTo>
                  <a:close/>
                  <a:moveTo>
                    <a:pt x="3925" y="362"/>
                  </a:moveTo>
                  <a:cubicBezTo>
                    <a:pt x="3940" y="360"/>
                    <a:pt x="3955" y="370"/>
                    <a:pt x="3960" y="385"/>
                  </a:cubicBezTo>
                  <a:cubicBezTo>
                    <a:pt x="3964" y="399"/>
                    <a:pt x="3956" y="413"/>
                    <a:pt x="3941" y="414"/>
                  </a:cubicBezTo>
                  <a:cubicBezTo>
                    <a:pt x="3925" y="416"/>
                    <a:pt x="3910" y="406"/>
                    <a:pt x="3905" y="392"/>
                  </a:cubicBezTo>
                  <a:cubicBezTo>
                    <a:pt x="3901" y="377"/>
                    <a:pt x="3910" y="364"/>
                    <a:pt x="3925" y="362"/>
                  </a:cubicBezTo>
                  <a:close/>
                  <a:moveTo>
                    <a:pt x="3942" y="282"/>
                  </a:moveTo>
                  <a:cubicBezTo>
                    <a:pt x="3956" y="280"/>
                    <a:pt x="3972" y="290"/>
                    <a:pt x="3977" y="305"/>
                  </a:cubicBezTo>
                  <a:cubicBezTo>
                    <a:pt x="3981" y="319"/>
                    <a:pt x="3973" y="332"/>
                    <a:pt x="3958" y="334"/>
                  </a:cubicBezTo>
                  <a:cubicBezTo>
                    <a:pt x="3943" y="336"/>
                    <a:pt x="3927" y="326"/>
                    <a:pt x="3923" y="312"/>
                  </a:cubicBezTo>
                  <a:cubicBezTo>
                    <a:pt x="3919" y="297"/>
                    <a:pt x="3927" y="284"/>
                    <a:pt x="3942" y="282"/>
                  </a:cubicBezTo>
                  <a:close/>
                  <a:moveTo>
                    <a:pt x="3963" y="204"/>
                  </a:moveTo>
                  <a:cubicBezTo>
                    <a:pt x="3977" y="202"/>
                    <a:pt x="3993" y="212"/>
                    <a:pt x="3998" y="227"/>
                  </a:cubicBezTo>
                  <a:cubicBezTo>
                    <a:pt x="4002" y="241"/>
                    <a:pt x="3994" y="254"/>
                    <a:pt x="3979" y="256"/>
                  </a:cubicBezTo>
                  <a:cubicBezTo>
                    <a:pt x="3965" y="258"/>
                    <a:pt x="3949" y="248"/>
                    <a:pt x="3945" y="234"/>
                  </a:cubicBezTo>
                  <a:cubicBezTo>
                    <a:pt x="3940" y="219"/>
                    <a:pt x="3948" y="206"/>
                    <a:pt x="3963" y="204"/>
                  </a:cubicBezTo>
                  <a:close/>
                  <a:moveTo>
                    <a:pt x="4009" y="351"/>
                  </a:moveTo>
                  <a:cubicBezTo>
                    <a:pt x="4024" y="349"/>
                    <a:pt x="4040" y="359"/>
                    <a:pt x="4045" y="373"/>
                  </a:cubicBezTo>
                  <a:cubicBezTo>
                    <a:pt x="4050" y="387"/>
                    <a:pt x="4041" y="401"/>
                    <a:pt x="4026" y="403"/>
                  </a:cubicBezTo>
                  <a:cubicBezTo>
                    <a:pt x="4011" y="405"/>
                    <a:pt x="3995" y="395"/>
                    <a:pt x="3991" y="381"/>
                  </a:cubicBezTo>
                  <a:cubicBezTo>
                    <a:pt x="3986" y="366"/>
                    <a:pt x="3995" y="353"/>
                    <a:pt x="4009" y="351"/>
                  </a:cubicBezTo>
                  <a:close/>
                  <a:moveTo>
                    <a:pt x="4025" y="271"/>
                  </a:moveTo>
                  <a:cubicBezTo>
                    <a:pt x="4040" y="269"/>
                    <a:pt x="4056" y="279"/>
                    <a:pt x="4061" y="293"/>
                  </a:cubicBezTo>
                  <a:cubicBezTo>
                    <a:pt x="4065" y="307"/>
                    <a:pt x="4057" y="321"/>
                    <a:pt x="4042" y="323"/>
                  </a:cubicBezTo>
                  <a:cubicBezTo>
                    <a:pt x="4027" y="325"/>
                    <a:pt x="4012" y="315"/>
                    <a:pt x="4007" y="300"/>
                  </a:cubicBezTo>
                  <a:cubicBezTo>
                    <a:pt x="4002" y="286"/>
                    <a:pt x="4011" y="273"/>
                    <a:pt x="4025" y="271"/>
                  </a:cubicBezTo>
                  <a:close/>
                  <a:moveTo>
                    <a:pt x="4073" y="417"/>
                  </a:moveTo>
                  <a:cubicBezTo>
                    <a:pt x="4088" y="415"/>
                    <a:pt x="4104" y="425"/>
                    <a:pt x="4109" y="439"/>
                  </a:cubicBezTo>
                  <a:cubicBezTo>
                    <a:pt x="4114" y="454"/>
                    <a:pt x="4105" y="467"/>
                    <a:pt x="4090" y="469"/>
                  </a:cubicBezTo>
                  <a:cubicBezTo>
                    <a:pt x="4075" y="471"/>
                    <a:pt x="4059" y="461"/>
                    <a:pt x="4054" y="447"/>
                  </a:cubicBezTo>
                  <a:cubicBezTo>
                    <a:pt x="4049" y="433"/>
                    <a:pt x="4058" y="419"/>
                    <a:pt x="4073" y="417"/>
                  </a:cubicBezTo>
                  <a:close/>
                  <a:moveTo>
                    <a:pt x="4094" y="339"/>
                  </a:moveTo>
                  <a:cubicBezTo>
                    <a:pt x="4109" y="337"/>
                    <a:pt x="4125" y="346"/>
                    <a:pt x="4130" y="361"/>
                  </a:cubicBezTo>
                  <a:cubicBezTo>
                    <a:pt x="4135" y="375"/>
                    <a:pt x="4127" y="389"/>
                    <a:pt x="4112" y="391"/>
                  </a:cubicBezTo>
                  <a:cubicBezTo>
                    <a:pt x="4097" y="393"/>
                    <a:pt x="4081" y="383"/>
                    <a:pt x="4076" y="369"/>
                  </a:cubicBezTo>
                  <a:cubicBezTo>
                    <a:pt x="4071" y="354"/>
                    <a:pt x="4079" y="341"/>
                    <a:pt x="4094" y="339"/>
                  </a:cubicBezTo>
                  <a:close/>
                  <a:moveTo>
                    <a:pt x="4109" y="259"/>
                  </a:moveTo>
                  <a:cubicBezTo>
                    <a:pt x="4123" y="256"/>
                    <a:pt x="4139" y="266"/>
                    <a:pt x="4144" y="281"/>
                  </a:cubicBezTo>
                  <a:cubicBezTo>
                    <a:pt x="4149" y="295"/>
                    <a:pt x="4141" y="308"/>
                    <a:pt x="4127" y="311"/>
                  </a:cubicBezTo>
                  <a:cubicBezTo>
                    <a:pt x="4112" y="313"/>
                    <a:pt x="4096" y="303"/>
                    <a:pt x="4091" y="289"/>
                  </a:cubicBezTo>
                  <a:cubicBezTo>
                    <a:pt x="4086" y="274"/>
                    <a:pt x="4094" y="261"/>
                    <a:pt x="4109" y="259"/>
                  </a:cubicBezTo>
                  <a:close/>
                  <a:moveTo>
                    <a:pt x="4159" y="404"/>
                  </a:moveTo>
                  <a:cubicBezTo>
                    <a:pt x="4174" y="402"/>
                    <a:pt x="4190" y="412"/>
                    <a:pt x="4195" y="426"/>
                  </a:cubicBezTo>
                  <a:cubicBezTo>
                    <a:pt x="4200" y="441"/>
                    <a:pt x="4192" y="454"/>
                    <a:pt x="4177" y="457"/>
                  </a:cubicBezTo>
                  <a:cubicBezTo>
                    <a:pt x="4162" y="459"/>
                    <a:pt x="4145" y="449"/>
                    <a:pt x="4140" y="435"/>
                  </a:cubicBezTo>
                  <a:cubicBezTo>
                    <a:pt x="4135" y="420"/>
                    <a:pt x="4144" y="407"/>
                    <a:pt x="4159" y="404"/>
                  </a:cubicBezTo>
                  <a:close/>
                  <a:moveTo>
                    <a:pt x="4179" y="326"/>
                  </a:moveTo>
                  <a:cubicBezTo>
                    <a:pt x="4194" y="324"/>
                    <a:pt x="4210" y="334"/>
                    <a:pt x="4215" y="348"/>
                  </a:cubicBezTo>
                  <a:cubicBezTo>
                    <a:pt x="4220" y="362"/>
                    <a:pt x="4212" y="376"/>
                    <a:pt x="4197" y="378"/>
                  </a:cubicBezTo>
                  <a:cubicBezTo>
                    <a:pt x="4182" y="380"/>
                    <a:pt x="4166" y="371"/>
                    <a:pt x="4161" y="356"/>
                  </a:cubicBezTo>
                  <a:cubicBezTo>
                    <a:pt x="4156" y="342"/>
                    <a:pt x="4164" y="328"/>
                    <a:pt x="4179" y="326"/>
                  </a:cubicBezTo>
                  <a:close/>
                  <a:moveTo>
                    <a:pt x="4192" y="246"/>
                  </a:moveTo>
                  <a:cubicBezTo>
                    <a:pt x="4207" y="244"/>
                    <a:pt x="4223" y="253"/>
                    <a:pt x="4228" y="268"/>
                  </a:cubicBezTo>
                  <a:cubicBezTo>
                    <a:pt x="4234" y="282"/>
                    <a:pt x="4226" y="296"/>
                    <a:pt x="4211" y="298"/>
                  </a:cubicBezTo>
                  <a:cubicBezTo>
                    <a:pt x="4196" y="300"/>
                    <a:pt x="4180" y="290"/>
                    <a:pt x="4175" y="276"/>
                  </a:cubicBezTo>
                  <a:cubicBezTo>
                    <a:pt x="4170" y="262"/>
                    <a:pt x="4177" y="248"/>
                    <a:pt x="4192" y="246"/>
                  </a:cubicBezTo>
                  <a:close/>
                  <a:moveTo>
                    <a:pt x="4245" y="391"/>
                  </a:moveTo>
                  <a:cubicBezTo>
                    <a:pt x="4260" y="389"/>
                    <a:pt x="4276" y="399"/>
                    <a:pt x="4281" y="413"/>
                  </a:cubicBezTo>
                  <a:cubicBezTo>
                    <a:pt x="4287" y="427"/>
                    <a:pt x="4279" y="441"/>
                    <a:pt x="4263" y="443"/>
                  </a:cubicBezTo>
                  <a:cubicBezTo>
                    <a:pt x="4248" y="446"/>
                    <a:pt x="4232" y="436"/>
                    <a:pt x="4226" y="422"/>
                  </a:cubicBezTo>
                  <a:cubicBezTo>
                    <a:pt x="4221" y="407"/>
                    <a:pt x="4230" y="394"/>
                    <a:pt x="4245" y="391"/>
                  </a:cubicBezTo>
                  <a:close/>
                  <a:moveTo>
                    <a:pt x="4263" y="313"/>
                  </a:moveTo>
                  <a:cubicBezTo>
                    <a:pt x="4278" y="311"/>
                    <a:pt x="4295" y="320"/>
                    <a:pt x="4300" y="334"/>
                  </a:cubicBezTo>
                  <a:cubicBezTo>
                    <a:pt x="4305" y="349"/>
                    <a:pt x="4298" y="362"/>
                    <a:pt x="4283" y="365"/>
                  </a:cubicBezTo>
                  <a:cubicBezTo>
                    <a:pt x="4267" y="367"/>
                    <a:pt x="4251" y="357"/>
                    <a:pt x="4246" y="343"/>
                  </a:cubicBezTo>
                  <a:cubicBezTo>
                    <a:pt x="4241" y="329"/>
                    <a:pt x="4248" y="315"/>
                    <a:pt x="4263" y="313"/>
                  </a:cubicBezTo>
                  <a:close/>
                  <a:moveTo>
                    <a:pt x="4276" y="233"/>
                  </a:moveTo>
                  <a:cubicBezTo>
                    <a:pt x="4290" y="230"/>
                    <a:pt x="4307" y="240"/>
                    <a:pt x="4312" y="254"/>
                  </a:cubicBezTo>
                  <a:cubicBezTo>
                    <a:pt x="4318" y="269"/>
                    <a:pt x="4310" y="282"/>
                    <a:pt x="4295" y="285"/>
                  </a:cubicBezTo>
                  <a:cubicBezTo>
                    <a:pt x="4280" y="287"/>
                    <a:pt x="4264" y="277"/>
                    <a:pt x="4259" y="263"/>
                  </a:cubicBezTo>
                  <a:cubicBezTo>
                    <a:pt x="4253" y="249"/>
                    <a:pt x="4261" y="235"/>
                    <a:pt x="4276" y="233"/>
                  </a:cubicBezTo>
                  <a:close/>
                  <a:moveTo>
                    <a:pt x="4330" y="378"/>
                  </a:moveTo>
                  <a:cubicBezTo>
                    <a:pt x="4345" y="375"/>
                    <a:pt x="4362" y="385"/>
                    <a:pt x="4367" y="399"/>
                  </a:cubicBezTo>
                  <a:cubicBezTo>
                    <a:pt x="4373" y="413"/>
                    <a:pt x="4365" y="427"/>
                    <a:pt x="4350" y="429"/>
                  </a:cubicBezTo>
                  <a:cubicBezTo>
                    <a:pt x="4335" y="432"/>
                    <a:pt x="4318" y="422"/>
                    <a:pt x="4313" y="408"/>
                  </a:cubicBezTo>
                  <a:cubicBezTo>
                    <a:pt x="4307" y="394"/>
                    <a:pt x="4315" y="380"/>
                    <a:pt x="4330" y="378"/>
                  </a:cubicBezTo>
                  <a:close/>
                  <a:moveTo>
                    <a:pt x="4348" y="299"/>
                  </a:moveTo>
                  <a:cubicBezTo>
                    <a:pt x="4363" y="297"/>
                    <a:pt x="4379" y="306"/>
                    <a:pt x="4385" y="320"/>
                  </a:cubicBezTo>
                  <a:cubicBezTo>
                    <a:pt x="4391" y="335"/>
                    <a:pt x="4383" y="348"/>
                    <a:pt x="4368" y="351"/>
                  </a:cubicBezTo>
                  <a:cubicBezTo>
                    <a:pt x="4353" y="353"/>
                    <a:pt x="4336" y="344"/>
                    <a:pt x="4331" y="329"/>
                  </a:cubicBezTo>
                  <a:cubicBezTo>
                    <a:pt x="4325" y="315"/>
                    <a:pt x="4333" y="302"/>
                    <a:pt x="4348" y="299"/>
                  </a:cubicBezTo>
                  <a:close/>
                  <a:moveTo>
                    <a:pt x="4404" y="444"/>
                  </a:moveTo>
                  <a:cubicBezTo>
                    <a:pt x="4419" y="441"/>
                    <a:pt x="4436" y="450"/>
                    <a:pt x="4442" y="465"/>
                  </a:cubicBezTo>
                  <a:cubicBezTo>
                    <a:pt x="4447" y="479"/>
                    <a:pt x="4439" y="493"/>
                    <a:pt x="4424" y="495"/>
                  </a:cubicBezTo>
                  <a:cubicBezTo>
                    <a:pt x="4408" y="498"/>
                    <a:pt x="4391" y="488"/>
                    <a:pt x="4386" y="474"/>
                  </a:cubicBezTo>
                  <a:cubicBezTo>
                    <a:pt x="4380" y="460"/>
                    <a:pt x="4388" y="446"/>
                    <a:pt x="4404" y="444"/>
                  </a:cubicBezTo>
                  <a:close/>
                  <a:moveTo>
                    <a:pt x="4416" y="363"/>
                  </a:moveTo>
                  <a:cubicBezTo>
                    <a:pt x="4431" y="361"/>
                    <a:pt x="4448" y="370"/>
                    <a:pt x="4453" y="384"/>
                  </a:cubicBezTo>
                  <a:cubicBezTo>
                    <a:pt x="4459" y="398"/>
                    <a:pt x="4451" y="412"/>
                    <a:pt x="4436" y="415"/>
                  </a:cubicBezTo>
                  <a:cubicBezTo>
                    <a:pt x="4421" y="417"/>
                    <a:pt x="4404" y="408"/>
                    <a:pt x="4399" y="394"/>
                  </a:cubicBezTo>
                  <a:cubicBezTo>
                    <a:pt x="4393" y="379"/>
                    <a:pt x="4401" y="366"/>
                    <a:pt x="4416" y="363"/>
                  </a:cubicBezTo>
                  <a:close/>
                  <a:moveTo>
                    <a:pt x="4432" y="285"/>
                  </a:moveTo>
                  <a:cubicBezTo>
                    <a:pt x="4447" y="282"/>
                    <a:pt x="4464" y="292"/>
                    <a:pt x="4470" y="306"/>
                  </a:cubicBezTo>
                  <a:cubicBezTo>
                    <a:pt x="4476" y="320"/>
                    <a:pt x="4468" y="334"/>
                    <a:pt x="4453" y="336"/>
                  </a:cubicBezTo>
                  <a:cubicBezTo>
                    <a:pt x="4438" y="339"/>
                    <a:pt x="4421" y="329"/>
                    <a:pt x="4416" y="315"/>
                  </a:cubicBezTo>
                  <a:cubicBezTo>
                    <a:pt x="4410" y="301"/>
                    <a:pt x="4417" y="287"/>
                    <a:pt x="4432" y="285"/>
                  </a:cubicBezTo>
                  <a:close/>
                  <a:moveTo>
                    <a:pt x="4490" y="429"/>
                  </a:moveTo>
                  <a:cubicBezTo>
                    <a:pt x="4506" y="426"/>
                    <a:pt x="4523" y="435"/>
                    <a:pt x="4529" y="449"/>
                  </a:cubicBezTo>
                  <a:cubicBezTo>
                    <a:pt x="4534" y="464"/>
                    <a:pt x="4527" y="477"/>
                    <a:pt x="4511" y="480"/>
                  </a:cubicBezTo>
                  <a:cubicBezTo>
                    <a:pt x="4496" y="483"/>
                    <a:pt x="4479" y="473"/>
                    <a:pt x="4473" y="459"/>
                  </a:cubicBezTo>
                  <a:cubicBezTo>
                    <a:pt x="4467" y="445"/>
                    <a:pt x="4475" y="431"/>
                    <a:pt x="4490" y="429"/>
                  </a:cubicBezTo>
                  <a:close/>
                  <a:moveTo>
                    <a:pt x="4501" y="348"/>
                  </a:moveTo>
                  <a:cubicBezTo>
                    <a:pt x="4516" y="346"/>
                    <a:pt x="4533" y="355"/>
                    <a:pt x="4539" y="369"/>
                  </a:cubicBezTo>
                  <a:cubicBezTo>
                    <a:pt x="4545" y="383"/>
                    <a:pt x="4538" y="397"/>
                    <a:pt x="4523" y="400"/>
                  </a:cubicBezTo>
                  <a:cubicBezTo>
                    <a:pt x="4507" y="402"/>
                    <a:pt x="4490" y="393"/>
                    <a:pt x="4485" y="379"/>
                  </a:cubicBezTo>
                  <a:cubicBezTo>
                    <a:pt x="4479" y="365"/>
                    <a:pt x="4486" y="351"/>
                    <a:pt x="4501" y="348"/>
                  </a:cubicBezTo>
                  <a:close/>
                  <a:moveTo>
                    <a:pt x="4561" y="492"/>
                  </a:moveTo>
                  <a:cubicBezTo>
                    <a:pt x="4576" y="489"/>
                    <a:pt x="4593" y="498"/>
                    <a:pt x="4599" y="512"/>
                  </a:cubicBezTo>
                  <a:cubicBezTo>
                    <a:pt x="4605" y="527"/>
                    <a:pt x="4597" y="540"/>
                    <a:pt x="4582" y="543"/>
                  </a:cubicBezTo>
                  <a:cubicBezTo>
                    <a:pt x="4566" y="546"/>
                    <a:pt x="4549" y="537"/>
                    <a:pt x="4543" y="523"/>
                  </a:cubicBezTo>
                  <a:cubicBezTo>
                    <a:pt x="4537" y="508"/>
                    <a:pt x="4545" y="495"/>
                    <a:pt x="4561" y="492"/>
                  </a:cubicBezTo>
                  <a:close/>
                  <a:moveTo>
                    <a:pt x="4577" y="413"/>
                  </a:moveTo>
                  <a:cubicBezTo>
                    <a:pt x="4592" y="410"/>
                    <a:pt x="4610" y="419"/>
                    <a:pt x="4616" y="434"/>
                  </a:cubicBezTo>
                  <a:cubicBezTo>
                    <a:pt x="4622" y="448"/>
                    <a:pt x="4614" y="461"/>
                    <a:pt x="4599" y="464"/>
                  </a:cubicBezTo>
                  <a:cubicBezTo>
                    <a:pt x="4583" y="467"/>
                    <a:pt x="4566" y="458"/>
                    <a:pt x="4560" y="444"/>
                  </a:cubicBezTo>
                  <a:cubicBezTo>
                    <a:pt x="4554" y="430"/>
                    <a:pt x="4562" y="416"/>
                    <a:pt x="4577" y="413"/>
                  </a:cubicBezTo>
                  <a:close/>
                  <a:moveTo>
                    <a:pt x="4587" y="333"/>
                  </a:moveTo>
                  <a:cubicBezTo>
                    <a:pt x="4602" y="330"/>
                    <a:pt x="4619" y="339"/>
                    <a:pt x="4625" y="353"/>
                  </a:cubicBezTo>
                  <a:cubicBezTo>
                    <a:pt x="4631" y="367"/>
                    <a:pt x="4624" y="381"/>
                    <a:pt x="4609" y="384"/>
                  </a:cubicBezTo>
                  <a:cubicBezTo>
                    <a:pt x="4594" y="387"/>
                    <a:pt x="4576" y="377"/>
                    <a:pt x="4570" y="363"/>
                  </a:cubicBezTo>
                  <a:cubicBezTo>
                    <a:pt x="4564" y="349"/>
                    <a:pt x="4572" y="336"/>
                    <a:pt x="4587" y="333"/>
                  </a:cubicBezTo>
                  <a:close/>
                  <a:moveTo>
                    <a:pt x="4638" y="556"/>
                  </a:moveTo>
                  <a:cubicBezTo>
                    <a:pt x="4653" y="554"/>
                    <a:pt x="4671" y="563"/>
                    <a:pt x="4677" y="577"/>
                  </a:cubicBezTo>
                  <a:cubicBezTo>
                    <a:pt x="4683" y="591"/>
                    <a:pt x="4675" y="605"/>
                    <a:pt x="4659" y="608"/>
                  </a:cubicBezTo>
                  <a:cubicBezTo>
                    <a:pt x="4643" y="611"/>
                    <a:pt x="4626" y="601"/>
                    <a:pt x="4620" y="587"/>
                  </a:cubicBezTo>
                  <a:cubicBezTo>
                    <a:pt x="4614" y="573"/>
                    <a:pt x="4622" y="559"/>
                    <a:pt x="4638" y="556"/>
                  </a:cubicBezTo>
                  <a:close/>
                  <a:moveTo>
                    <a:pt x="4648" y="476"/>
                  </a:moveTo>
                  <a:cubicBezTo>
                    <a:pt x="4664" y="473"/>
                    <a:pt x="4681" y="482"/>
                    <a:pt x="4687" y="496"/>
                  </a:cubicBezTo>
                  <a:cubicBezTo>
                    <a:pt x="4694" y="510"/>
                    <a:pt x="4686" y="524"/>
                    <a:pt x="4670" y="527"/>
                  </a:cubicBezTo>
                  <a:cubicBezTo>
                    <a:pt x="4655" y="530"/>
                    <a:pt x="4637" y="521"/>
                    <a:pt x="4631" y="507"/>
                  </a:cubicBezTo>
                  <a:cubicBezTo>
                    <a:pt x="4625" y="492"/>
                    <a:pt x="4633" y="479"/>
                    <a:pt x="4648" y="476"/>
                  </a:cubicBezTo>
                  <a:close/>
                  <a:moveTo>
                    <a:pt x="4664" y="397"/>
                  </a:moveTo>
                  <a:cubicBezTo>
                    <a:pt x="4679" y="394"/>
                    <a:pt x="4696" y="403"/>
                    <a:pt x="4703" y="417"/>
                  </a:cubicBezTo>
                  <a:cubicBezTo>
                    <a:pt x="4709" y="431"/>
                    <a:pt x="4701" y="445"/>
                    <a:pt x="4686" y="448"/>
                  </a:cubicBezTo>
                  <a:cubicBezTo>
                    <a:pt x="4671" y="451"/>
                    <a:pt x="4653" y="442"/>
                    <a:pt x="4647" y="428"/>
                  </a:cubicBezTo>
                  <a:cubicBezTo>
                    <a:pt x="4641" y="414"/>
                    <a:pt x="4648" y="400"/>
                    <a:pt x="4664" y="397"/>
                  </a:cubicBezTo>
                  <a:close/>
                  <a:moveTo>
                    <a:pt x="4720" y="751"/>
                  </a:moveTo>
                  <a:cubicBezTo>
                    <a:pt x="4703" y="754"/>
                    <a:pt x="4685" y="745"/>
                    <a:pt x="4680" y="731"/>
                  </a:cubicBezTo>
                  <a:cubicBezTo>
                    <a:pt x="4674" y="717"/>
                    <a:pt x="4682" y="703"/>
                    <a:pt x="4698" y="700"/>
                  </a:cubicBezTo>
                  <a:cubicBezTo>
                    <a:pt x="4714" y="697"/>
                    <a:pt x="4732" y="706"/>
                    <a:pt x="4738" y="720"/>
                  </a:cubicBezTo>
                  <a:cubicBezTo>
                    <a:pt x="4744" y="734"/>
                    <a:pt x="4736" y="748"/>
                    <a:pt x="4720" y="751"/>
                  </a:cubicBezTo>
                  <a:close/>
                  <a:moveTo>
                    <a:pt x="4700" y="831"/>
                  </a:moveTo>
                  <a:cubicBezTo>
                    <a:pt x="4684" y="834"/>
                    <a:pt x="4666" y="825"/>
                    <a:pt x="4660" y="810"/>
                  </a:cubicBezTo>
                  <a:cubicBezTo>
                    <a:pt x="4654" y="796"/>
                    <a:pt x="4663" y="782"/>
                    <a:pt x="4679" y="779"/>
                  </a:cubicBezTo>
                  <a:cubicBezTo>
                    <a:pt x="4695" y="776"/>
                    <a:pt x="4713" y="785"/>
                    <a:pt x="4719" y="799"/>
                  </a:cubicBezTo>
                  <a:cubicBezTo>
                    <a:pt x="4725" y="814"/>
                    <a:pt x="4717" y="827"/>
                    <a:pt x="4700" y="831"/>
                  </a:cubicBezTo>
                  <a:close/>
                  <a:moveTo>
                    <a:pt x="4686" y="912"/>
                  </a:moveTo>
                  <a:cubicBezTo>
                    <a:pt x="4669" y="915"/>
                    <a:pt x="4651" y="906"/>
                    <a:pt x="4645" y="892"/>
                  </a:cubicBezTo>
                  <a:cubicBezTo>
                    <a:pt x="4640" y="877"/>
                    <a:pt x="4649" y="863"/>
                    <a:pt x="4665" y="860"/>
                  </a:cubicBezTo>
                  <a:cubicBezTo>
                    <a:pt x="4681" y="857"/>
                    <a:pt x="4700" y="867"/>
                    <a:pt x="4705" y="881"/>
                  </a:cubicBezTo>
                  <a:cubicBezTo>
                    <a:pt x="4711" y="895"/>
                    <a:pt x="4702" y="909"/>
                    <a:pt x="4686" y="912"/>
                  </a:cubicBezTo>
                  <a:close/>
                  <a:moveTo>
                    <a:pt x="4721" y="1136"/>
                  </a:moveTo>
                  <a:cubicBezTo>
                    <a:pt x="4704" y="1139"/>
                    <a:pt x="4685" y="1130"/>
                    <a:pt x="4680" y="1116"/>
                  </a:cubicBezTo>
                  <a:cubicBezTo>
                    <a:pt x="4674" y="1101"/>
                    <a:pt x="4684" y="1087"/>
                    <a:pt x="4701" y="1084"/>
                  </a:cubicBezTo>
                  <a:cubicBezTo>
                    <a:pt x="4718" y="1081"/>
                    <a:pt x="4736" y="1090"/>
                    <a:pt x="4742" y="1104"/>
                  </a:cubicBezTo>
                  <a:cubicBezTo>
                    <a:pt x="4748" y="1119"/>
                    <a:pt x="4738" y="1133"/>
                    <a:pt x="4721" y="1136"/>
                  </a:cubicBezTo>
                  <a:close/>
                  <a:moveTo>
                    <a:pt x="4703" y="1218"/>
                  </a:moveTo>
                  <a:cubicBezTo>
                    <a:pt x="4686" y="1221"/>
                    <a:pt x="4667" y="1212"/>
                    <a:pt x="4662" y="1197"/>
                  </a:cubicBezTo>
                  <a:cubicBezTo>
                    <a:pt x="4656" y="1183"/>
                    <a:pt x="4666" y="1169"/>
                    <a:pt x="4683" y="1166"/>
                  </a:cubicBezTo>
                  <a:cubicBezTo>
                    <a:pt x="4701" y="1163"/>
                    <a:pt x="4719" y="1172"/>
                    <a:pt x="4725" y="1186"/>
                  </a:cubicBezTo>
                  <a:cubicBezTo>
                    <a:pt x="4730" y="1200"/>
                    <a:pt x="4721" y="1215"/>
                    <a:pt x="4703" y="1218"/>
                  </a:cubicBezTo>
                  <a:close/>
                  <a:moveTo>
                    <a:pt x="4733" y="1443"/>
                  </a:moveTo>
                  <a:cubicBezTo>
                    <a:pt x="4715" y="1446"/>
                    <a:pt x="4696" y="1437"/>
                    <a:pt x="4690" y="1423"/>
                  </a:cubicBezTo>
                  <a:cubicBezTo>
                    <a:pt x="4685" y="1408"/>
                    <a:pt x="4695" y="1394"/>
                    <a:pt x="4713" y="1391"/>
                  </a:cubicBezTo>
                  <a:cubicBezTo>
                    <a:pt x="4731" y="1388"/>
                    <a:pt x="4750" y="1397"/>
                    <a:pt x="4755" y="1411"/>
                  </a:cubicBezTo>
                  <a:cubicBezTo>
                    <a:pt x="4761" y="1425"/>
                    <a:pt x="4751" y="1440"/>
                    <a:pt x="4733" y="1443"/>
                  </a:cubicBezTo>
                  <a:close/>
                  <a:moveTo>
                    <a:pt x="4711" y="1525"/>
                  </a:moveTo>
                  <a:cubicBezTo>
                    <a:pt x="4693" y="1528"/>
                    <a:pt x="4674" y="1519"/>
                    <a:pt x="4669" y="1505"/>
                  </a:cubicBezTo>
                  <a:cubicBezTo>
                    <a:pt x="4664" y="1490"/>
                    <a:pt x="4674" y="1476"/>
                    <a:pt x="4692" y="1473"/>
                  </a:cubicBezTo>
                  <a:cubicBezTo>
                    <a:pt x="4710" y="1470"/>
                    <a:pt x="4729" y="1479"/>
                    <a:pt x="4735" y="1493"/>
                  </a:cubicBezTo>
                  <a:cubicBezTo>
                    <a:pt x="4740" y="1508"/>
                    <a:pt x="4730" y="1522"/>
                    <a:pt x="4711" y="1525"/>
                  </a:cubicBezTo>
                  <a:close/>
                  <a:moveTo>
                    <a:pt x="4735" y="1751"/>
                  </a:moveTo>
                  <a:cubicBezTo>
                    <a:pt x="4716" y="1754"/>
                    <a:pt x="4697" y="1745"/>
                    <a:pt x="4692" y="1731"/>
                  </a:cubicBezTo>
                  <a:cubicBezTo>
                    <a:pt x="4687" y="1717"/>
                    <a:pt x="4698" y="1702"/>
                    <a:pt x="4716" y="1699"/>
                  </a:cubicBezTo>
                  <a:cubicBezTo>
                    <a:pt x="4735" y="1696"/>
                    <a:pt x="4754" y="1705"/>
                    <a:pt x="4760" y="1719"/>
                  </a:cubicBezTo>
                  <a:cubicBezTo>
                    <a:pt x="4765" y="1734"/>
                    <a:pt x="4754" y="1748"/>
                    <a:pt x="4735" y="1751"/>
                  </a:cubicBezTo>
                  <a:close/>
                  <a:moveTo>
                    <a:pt x="4710" y="1834"/>
                  </a:moveTo>
                  <a:cubicBezTo>
                    <a:pt x="4691" y="1837"/>
                    <a:pt x="4672" y="1828"/>
                    <a:pt x="4667" y="1814"/>
                  </a:cubicBezTo>
                  <a:cubicBezTo>
                    <a:pt x="4662" y="1799"/>
                    <a:pt x="4673" y="1785"/>
                    <a:pt x="4692" y="1782"/>
                  </a:cubicBezTo>
                  <a:cubicBezTo>
                    <a:pt x="4711" y="1779"/>
                    <a:pt x="4731" y="1788"/>
                    <a:pt x="4736" y="1802"/>
                  </a:cubicBezTo>
                  <a:cubicBezTo>
                    <a:pt x="4741" y="1816"/>
                    <a:pt x="4730" y="1831"/>
                    <a:pt x="4710" y="1834"/>
                  </a:cubicBezTo>
                  <a:close/>
                  <a:moveTo>
                    <a:pt x="4728" y="2061"/>
                  </a:moveTo>
                  <a:cubicBezTo>
                    <a:pt x="4708" y="2064"/>
                    <a:pt x="4689" y="2055"/>
                    <a:pt x="4684" y="2041"/>
                  </a:cubicBezTo>
                  <a:cubicBezTo>
                    <a:pt x="4679" y="2026"/>
                    <a:pt x="4691" y="2012"/>
                    <a:pt x="4710" y="2009"/>
                  </a:cubicBezTo>
                  <a:cubicBezTo>
                    <a:pt x="4730" y="2005"/>
                    <a:pt x="4750" y="2014"/>
                    <a:pt x="4755" y="2029"/>
                  </a:cubicBezTo>
                  <a:cubicBezTo>
                    <a:pt x="4760" y="2043"/>
                    <a:pt x="4748" y="2057"/>
                    <a:pt x="4728" y="2061"/>
                  </a:cubicBezTo>
                  <a:close/>
                  <a:moveTo>
                    <a:pt x="4700" y="2144"/>
                  </a:moveTo>
                  <a:cubicBezTo>
                    <a:pt x="4680" y="2147"/>
                    <a:pt x="4660" y="2138"/>
                    <a:pt x="4655" y="2124"/>
                  </a:cubicBezTo>
                  <a:cubicBezTo>
                    <a:pt x="4651" y="2109"/>
                    <a:pt x="4663" y="2095"/>
                    <a:pt x="4683" y="2092"/>
                  </a:cubicBezTo>
                  <a:cubicBezTo>
                    <a:pt x="4702" y="2088"/>
                    <a:pt x="4722" y="2097"/>
                    <a:pt x="4727" y="2112"/>
                  </a:cubicBezTo>
                  <a:cubicBezTo>
                    <a:pt x="4732" y="2126"/>
                    <a:pt x="4720" y="2141"/>
                    <a:pt x="4700" y="2144"/>
                  </a:cubicBezTo>
                  <a:close/>
                  <a:moveTo>
                    <a:pt x="4712" y="2372"/>
                  </a:moveTo>
                  <a:cubicBezTo>
                    <a:pt x="4691" y="2375"/>
                    <a:pt x="4671" y="2366"/>
                    <a:pt x="4666" y="2352"/>
                  </a:cubicBezTo>
                  <a:cubicBezTo>
                    <a:pt x="4662" y="2337"/>
                    <a:pt x="4675" y="2323"/>
                    <a:pt x="4695" y="2319"/>
                  </a:cubicBezTo>
                  <a:cubicBezTo>
                    <a:pt x="4715" y="2316"/>
                    <a:pt x="4736" y="2325"/>
                    <a:pt x="4740" y="2340"/>
                  </a:cubicBezTo>
                  <a:cubicBezTo>
                    <a:pt x="4745" y="2354"/>
                    <a:pt x="4732" y="2368"/>
                    <a:pt x="4712" y="2372"/>
                  </a:cubicBezTo>
                  <a:close/>
                  <a:moveTo>
                    <a:pt x="4681" y="2582"/>
                  </a:moveTo>
                  <a:cubicBezTo>
                    <a:pt x="4676" y="2567"/>
                    <a:pt x="4690" y="2553"/>
                    <a:pt x="4711" y="2549"/>
                  </a:cubicBezTo>
                  <a:cubicBezTo>
                    <a:pt x="4732" y="2546"/>
                    <a:pt x="4752" y="2555"/>
                    <a:pt x="4757" y="2569"/>
                  </a:cubicBezTo>
                  <a:cubicBezTo>
                    <a:pt x="4762" y="2584"/>
                    <a:pt x="4748" y="2598"/>
                    <a:pt x="4727" y="2602"/>
                  </a:cubicBezTo>
                  <a:cubicBezTo>
                    <a:pt x="4706" y="2605"/>
                    <a:pt x="4685" y="2596"/>
                    <a:pt x="4681" y="2582"/>
                  </a:cubicBezTo>
                  <a:close/>
                  <a:moveTo>
                    <a:pt x="4732" y="2831"/>
                  </a:moveTo>
                  <a:cubicBezTo>
                    <a:pt x="4710" y="2834"/>
                    <a:pt x="4689" y="2825"/>
                    <a:pt x="4685" y="2811"/>
                  </a:cubicBezTo>
                  <a:cubicBezTo>
                    <a:pt x="4680" y="2796"/>
                    <a:pt x="4694" y="2782"/>
                    <a:pt x="4716" y="2778"/>
                  </a:cubicBezTo>
                  <a:cubicBezTo>
                    <a:pt x="4737" y="2775"/>
                    <a:pt x="4759" y="2784"/>
                    <a:pt x="4763" y="2798"/>
                  </a:cubicBezTo>
                  <a:cubicBezTo>
                    <a:pt x="4768" y="2813"/>
                    <a:pt x="4754" y="2827"/>
                    <a:pt x="4732" y="2831"/>
                  </a:cubicBezTo>
                  <a:close/>
                  <a:moveTo>
                    <a:pt x="4649" y="2894"/>
                  </a:moveTo>
                  <a:cubicBezTo>
                    <a:pt x="4644" y="2880"/>
                    <a:pt x="4659" y="2865"/>
                    <a:pt x="4680" y="2862"/>
                  </a:cubicBezTo>
                  <a:cubicBezTo>
                    <a:pt x="4702" y="2859"/>
                    <a:pt x="4723" y="2868"/>
                    <a:pt x="4728" y="2882"/>
                  </a:cubicBezTo>
                  <a:cubicBezTo>
                    <a:pt x="4732" y="2897"/>
                    <a:pt x="4718" y="2911"/>
                    <a:pt x="4696" y="2915"/>
                  </a:cubicBezTo>
                  <a:cubicBezTo>
                    <a:pt x="4674" y="2918"/>
                    <a:pt x="4653" y="2909"/>
                    <a:pt x="4649" y="2894"/>
                  </a:cubicBezTo>
                  <a:close/>
                  <a:moveTo>
                    <a:pt x="4695" y="3144"/>
                  </a:moveTo>
                  <a:cubicBezTo>
                    <a:pt x="4672" y="3148"/>
                    <a:pt x="4651" y="3139"/>
                    <a:pt x="4647" y="3124"/>
                  </a:cubicBezTo>
                  <a:cubicBezTo>
                    <a:pt x="4642" y="3110"/>
                    <a:pt x="4657" y="3095"/>
                    <a:pt x="4680" y="3092"/>
                  </a:cubicBezTo>
                  <a:cubicBezTo>
                    <a:pt x="4702" y="3088"/>
                    <a:pt x="4724" y="3097"/>
                    <a:pt x="4728" y="3112"/>
                  </a:cubicBezTo>
                  <a:cubicBezTo>
                    <a:pt x="4732" y="3126"/>
                    <a:pt x="4718" y="3141"/>
                    <a:pt x="4695" y="3144"/>
                  </a:cubicBezTo>
                  <a:close/>
                  <a:moveTo>
                    <a:pt x="4607" y="3208"/>
                  </a:moveTo>
                  <a:cubicBezTo>
                    <a:pt x="4603" y="3194"/>
                    <a:pt x="4618" y="3179"/>
                    <a:pt x="4641" y="3176"/>
                  </a:cubicBezTo>
                  <a:cubicBezTo>
                    <a:pt x="4663" y="3172"/>
                    <a:pt x="4685" y="3181"/>
                    <a:pt x="4689" y="3196"/>
                  </a:cubicBezTo>
                  <a:cubicBezTo>
                    <a:pt x="4694" y="3211"/>
                    <a:pt x="4679" y="3225"/>
                    <a:pt x="4656" y="3228"/>
                  </a:cubicBezTo>
                  <a:cubicBezTo>
                    <a:pt x="4633" y="3232"/>
                    <a:pt x="4611" y="3223"/>
                    <a:pt x="4607" y="3208"/>
                  </a:cubicBezTo>
                  <a:close/>
                  <a:moveTo>
                    <a:pt x="4593" y="3258"/>
                  </a:moveTo>
                  <a:cubicBezTo>
                    <a:pt x="4616" y="3255"/>
                    <a:pt x="4638" y="3264"/>
                    <a:pt x="4642" y="3279"/>
                  </a:cubicBezTo>
                  <a:cubicBezTo>
                    <a:pt x="4646" y="3293"/>
                    <a:pt x="4631" y="3308"/>
                    <a:pt x="4608" y="3311"/>
                  </a:cubicBezTo>
                  <a:cubicBezTo>
                    <a:pt x="4585" y="3314"/>
                    <a:pt x="4563" y="3305"/>
                    <a:pt x="4559" y="3291"/>
                  </a:cubicBezTo>
                  <a:cubicBezTo>
                    <a:pt x="4555" y="3276"/>
                    <a:pt x="4570" y="3262"/>
                    <a:pt x="4593" y="3258"/>
                  </a:cubicBezTo>
                  <a:close/>
                  <a:moveTo>
                    <a:pt x="4478" y="3227"/>
                  </a:moveTo>
                  <a:cubicBezTo>
                    <a:pt x="4474" y="3212"/>
                    <a:pt x="4489" y="3198"/>
                    <a:pt x="4512" y="3195"/>
                  </a:cubicBezTo>
                  <a:cubicBezTo>
                    <a:pt x="4535" y="3191"/>
                    <a:pt x="4556" y="3200"/>
                    <a:pt x="4560" y="3215"/>
                  </a:cubicBezTo>
                  <a:cubicBezTo>
                    <a:pt x="4564" y="3230"/>
                    <a:pt x="4549" y="3244"/>
                    <a:pt x="4526" y="3247"/>
                  </a:cubicBezTo>
                  <a:cubicBezTo>
                    <a:pt x="4504" y="3251"/>
                    <a:pt x="4482" y="3241"/>
                    <a:pt x="4478" y="3227"/>
                  </a:cubicBezTo>
                  <a:close/>
                  <a:moveTo>
                    <a:pt x="4463" y="3277"/>
                  </a:moveTo>
                  <a:cubicBezTo>
                    <a:pt x="4486" y="3274"/>
                    <a:pt x="4508" y="3283"/>
                    <a:pt x="4512" y="3297"/>
                  </a:cubicBezTo>
                  <a:cubicBezTo>
                    <a:pt x="4516" y="3312"/>
                    <a:pt x="4500" y="3326"/>
                    <a:pt x="4477" y="3330"/>
                  </a:cubicBezTo>
                  <a:cubicBezTo>
                    <a:pt x="4454" y="3333"/>
                    <a:pt x="4432" y="3324"/>
                    <a:pt x="4429" y="3309"/>
                  </a:cubicBezTo>
                  <a:cubicBezTo>
                    <a:pt x="4425" y="3294"/>
                    <a:pt x="4440" y="3280"/>
                    <a:pt x="4463" y="3277"/>
                  </a:cubicBezTo>
                  <a:close/>
                  <a:moveTo>
                    <a:pt x="4349" y="3244"/>
                  </a:moveTo>
                  <a:cubicBezTo>
                    <a:pt x="4345" y="3230"/>
                    <a:pt x="4361" y="3215"/>
                    <a:pt x="4383" y="3212"/>
                  </a:cubicBezTo>
                  <a:cubicBezTo>
                    <a:pt x="4406" y="3209"/>
                    <a:pt x="4428" y="3219"/>
                    <a:pt x="4431" y="3233"/>
                  </a:cubicBezTo>
                  <a:cubicBezTo>
                    <a:pt x="4435" y="3248"/>
                    <a:pt x="4420" y="3262"/>
                    <a:pt x="4397" y="3265"/>
                  </a:cubicBezTo>
                  <a:cubicBezTo>
                    <a:pt x="4374" y="3268"/>
                    <a:pt x="4352" y="3259"/>
                    <a:pt x="4349" y="3244"/>
                  </a:cubicBezTo>
                  <a:close/>
                  <a:moveTo>
                    <a:pt x="4333" y="3294"/>
                  </a:moveTo>
                  <a:cubicBezTo>
                    <a:pt x="4356" y="3291"/>
                    <a:pt x="4378" y="3301"/>
                    <a:pt x="4382" y="3315"/>
                  </a:cubicBezTo>
                  <a:cubicBezTo>
                    <a:pt x="4385" y="3330"/>
                    <a:pt x="4369" y="3344"/>
                    <a:pt x="4346" y="3347"/>
                  </a:cubicBezTo>
                  <a:cubicBezTo>
                    <a:pt x="4323" y="3350"/>
                    <a:pt x="4302" y="3341"/>
                    <a:pt x="4298" y="3326"/>
                  </a:cubicBezTo>
                  <a:cubicBezTo>
                    <a:pt x="4295" y="3312"/>
                    <a:pt x="4311" y="3297"/>
                    <a:pt x="4333" y="3294"/>
                  </a:cubicBezTo>
                  <a:close/>
                  <a:moveTo>
                    <a:pt x="4220" y="3261"/>
                  </a:moveTo>
                  <a:cubicBezTo>
                    <a:pt x="4216" y="3246"/>
                    <a:pt x="4232" y="3232"/>
                    <a:pt x="4255" y="3229"/>
                  </a:cubicBezTo>
                  <a:cubicBezTo>
                    <a:pt x="4277" y="3226"/>
                    <a:pt x="4299" y="3236"/>
                    <a:pt x="4302" y="3250"/>
                  </a:cubicBezTo>
                  <a:cubicBezTo>
                    <a:pt x="4306" y="3265"/>
                    <a:pt x="4290" y="3279"/>
                    <a:pt x="4267" y="3282"/>
                  </a:cubicBezTo>
                  <a:cubicBezTo>
                    <a:pt x="4244" y="3285"/>
                    <a:pt x="4223" y="3276"/>
                    <a:pt x="4220" y="3261"/>
                  </a:cubicBezTo>
                  <a:close/>
                  <a:moveTo>
                    <a:pt x="4203" y="3311"/>
                  </a:moveTo>
                  <a:cubicBezTo>
                    <a:pt x="4226" y="3308"/>
                    <a:pt x="4248" y="3318"/>
                    <a:pt x="4251" y="3332"/>
                  </a:cubicBezTo>
                  <a:cubicBezTo>
                    <a:pt x="4255" y="3347"/>
                    <a:pt x="4239" y="3361"/>
                    <a:pt x="4216" y="3364"/>
                  </a:cubicBezTo>
                  <a:cubicBezTo>
                    <a:pt x="4192" y="3367"/>
                    <a:pt x="4171" y="3357"/>
                    <a:pt x="4168" y="3343"/>
                  </a:cubicBezTo>
                  <a:cubicBezTo>
                    <a:pt x="4165" y="3328"/>
                    <a:pt x="4180" y="3314"/>
                    <a:pt x="4203" y="3311"/>
                  </a:cubicBezTo>
                  <a:close/>
                  <a:moveTo>
                    <a:pt x="4126" y="3245"/>
                  </a:moveTo>
                  <a:cubicBezTo>
                    <a:pt x="4148" y="3242"/>
                    <a:pt x="4169" y="3252"/>
                    <a:pt x="4173" y="3267"/>
                  </a:cubicBezTo>
                  <a:cubicBezTo>
                    <a:pt x="4176" y="3281"/>
                    <a:pt x="4160" y="3296"/>
                    <a:pt x="4137" y="3298"/>
                  </a:cubicBezTo>
                  <a:cubicBezTo>
                    <a:pt x="4115" y="3301"/>
                    <a:pt x="4093" y="3291"/>
                    <a:pt x="4090" y="3277"/>
                  </a:cubicBezTo>
                  <a:cubicBezTo>
                    <a:pt x="4087" y="3262"/>
                    <a:pt x="4103" y="3248"/>
                    <a:pt x="4126" y="3245"/>
                  </a:cubicBezTo>
                  <a:close/>
                  <a:moveTo>
                    <a:pt x="4006" y="3208"/>
                  </a:moveTo>
                  <a:cubicBezTo>
                    <a:pt x="4003" y="3194"/>
                    <a:pt x="4019" y="3180"/>
                    <a:pt x="4042" y="3177"/>
                  </a:cubicBezTo>
                  <a:cubicBezTo>
                    <a:pt x="4064" y="3174"/>
                    <a:pt x="4085" y="3184"/>
                    <a:pt x="4088" y="3199"/>
                  </a:cubicBezTo>
                  <a:cubicBezTo>
                    <a:pt x="4091" y="3214"/>
                    <a:pt x="4076" y="3228"/>
                    <a:pt x="4053" y="3230"/>
                  </a:cubicBezTo>
                  <a:cubicBezTo>
                    <a:pt x="4030" y="3233"/>
                    <a:pt x="4009" y="3223"/>
                    <a:pt x="4006" y="3208"/>
                  </a:cubicBezTo>
                  <a:close/>
                  <a:moveTo>
                    <a:pt x="3997" y="3260"/>
                  </a:moveTo>
                  <a:cubicBezTo>
                    <a:pt x="4019" y="3257"/>
                    <a:pt x="4040" y="3267"/>
                    <a:pt x="4043" y="3282"/>
                  </a:cubicBezTo>
                  <a:cubicBezTo>
                    <a:pt x="4046" y="3297"/>
                    <a:pt x="4030" y="3311"/>
                    <a:pt x="4008" y="3313"/>
                  </a:cubicBezTo>
                  <a:cubicBezTo>
                    <a:pt x="3985" y="3316"/>
                    <a:pt x="3964" y="3306"/>
                    <a:pt x="3961" y="3291"/>
                  </a:cubicBezTo>
                  <a:cubicBezTo>
                    <a:pt x="3958" y="3277"/>
                    <a:pt x="3974" y="3263"/>
                    <a:pt x="3997" y="3260"/>
                  </a:cubicBezTo>
                  <a:close/>
                  <a:moveTo>
                    <a:pt x="3878" y="3222"/>
                  </a:moveTo>
                  <a:cubicBezTo>
                    <a:pt x="3875" y="3208"/>
                    <a:pt x="3891" y="3194"/>
                    <a:pt x="3914" y="3191"/>
                  </a:cubicBezTo>
                  <a:cubicBezTo>
                    <a:pt x="3936" y="3189"/>
                    <a:pt x="3957" y="3199"/>
                    <a:pt x="3960" y="3214"/>
                  </a:cubicBezTo>
                  <a:cubicBezTo>
                    <a:pt x="3963" y="3228"/>
                    <a:pt x="3947" y="3242"/>
                    <a:pt x="3924" y="3245"/>
                  </a:cubicBezTo>
                  <a:cubicBezTo>
                    <a:pt x="3902" y="3247"/>
                    <a:pt x="3881" y="3237"/>
                    <a:pt x="3878" y="3222"/>
                  </a:cubicBezTo>
                  <a:close/>
                  <a:moveTo>
                    <a:pt x="3868" y="3274"/>
                  </a:moveTo>
                  <a:cubicBezTo>
                    <a:pt x="3890" y="3272"/>
                    <a:pt x="3911" y="3282"/>
                    <a:pt x="3914" y="3296"/>
                  </a:cubicBezTo>
                  <a:cubicBezTo>
                    <a:pt x="3917" y="3311"/>
                    <a:pt x="3901" y="3325"/>
                    <a:pt x="3878" y="3328"/>
                  </a:cubicBezTo>
                  <a:cubicBezTo>
                    <a:pt x="3855" y="3330"/>
                    <a:pt x="3834" y="3320"/>
                    <a:pt x="3831" y="3305"/>
                  </a:cubicBezTo>
                  <a:cubicBezTo>
                    <a:pt x="3829" y="3290"/>
                    <a:pt x="3845" y="3276"/>
                    <a:pt x="3868" y="3274"/>
                  </a:cubicBezTo>
                  <a:close/>
                  <a:moveTo>
                    <a:pt x="3750" y="3236"/>
                  </a:moveTo>
                  <a:cubicBezTo>
                    <a:pt x="3747" y="3221"/>
                    <a:pt x="3763" y="3207"/>
                    <a:pt x="3786" y="3205"/>
                  </a:cubicBezTo>
                  <a:cubicBezTo>
                    <a:pt x="3808" y="3202"/>
                    <a:pt x="3829" y="3212"/>
                    <a:pt x="3832" y="3227"/>
                  </a:cubicBezTo>
                  <a:cubicBezTo>
                    <a:pt x="3834" y="3242"/>
                    <a:pt x="3818" y="3256"/>
                    <a:pt x="3795" y="3258"/>
                  </a:cubicBezTo>
                  <a:cubicBezTo>
                    <a:pt x="3773" y="3261"/>
                    <a:pt x="3752" y="3250"/>
                    <a:pt x="3750" y="3236"/>
                  </a:cubicBezTo>
                  <a:close/>
                  <a:moveTo>
                    <a:pt x="3738" y="3287"/>
                  </a:moveTo>
                  <a:cubicBezTo>
                    <a:pt x="3761" y="3285"/>
                    <a:pt x="3782" y="3295"/>
                    <a:pt x="3784" y="3310"/>
                  </a:cubicBezTo>
                  <a:cubicBezTo>
                    <a:pt x="3787" y="3325"/>
                    <a:pt x="3771" y="3339"/>
                    <a:pt x="3748" y="3341"/>
                  </a:cubicBezTo>
                  <a:cubicBezTo>
                    <a:pt x="3725" y="3343"/>
                    <a:pt x="3704" y="3333"/>
                    <a:pt x="3702" y="3318"/>
                  </a:cubicBezTo>
                  <a:cubicBezTo>
                    <a:pt x="3699" y="3303"/>
                    <a:pt x="3716" y="3289"/>
                    <a:pt x="3738" y="3287"/>
                  </a:cubicBezTo>
                  <a:close/>
                  <a:moveTo>
                    <a:pt x="3621" y="3248"/>
                  </a:moveTo>
                  <a:cubicBezTo>
                    <a:pt x="3619" y="3233"/>
                    <a:pt x="3635" y="3219"/>
                    <a:pt x="3658" y="3217"/>
                  </a:cubicBezTo>
                  <a:cubicBezTo>
                    <a:pt x="3680" y="3215"/>
                    <a:pt x="3701" y="3225"/>
                    <a:pt x="3703" y="3240"/>
                  </a:cubicBezTo>
                  <a:cubicBezTo>
                    <a:pt x="3706" y="3255"/>
                    <a:pt x="3689" y="3269"/>
                    <a:pt x="3667" y="3271"/>
                  </a:cubicBezTo>
                  <a:cubicBezTo>
                    <a:pt x="3644" y="3273"/>
                    <a:pt x="3623" y="3263"/>
                    <a:pt x="3621" y="3248"/>
                  </a:cubicBezTo>
                  <a:close/>
                  <a:moveTo>
                    <a:pt x="3609" y="3299"/>
                  </a:moveTo>
                  <a:cubicBezTo>
                    <a:pt x="3632" y="3297"/>
                    <a:pt x="3652" y="3308"/>
                    <a:pt x="3655" y="3322"/>
                  </a:cubicBezTo>
                  <a:cubicBezTo>
                    <a:pt x="3657" y="3337"/>
                    <a:pt x="3640" y="3351"/>
                    <a:pt x="3618" y="3353"/>
                  </a:cubicBezTo>
                  <a:cubicBezTo>
                    <a:pt x="3595" y="3355"/>
                    <a:pt x="3574" y="3345"/>
                    <a:pt x="3572" y="3330"/>
                  </a:cubicBezTo>
                  <a:cubicBezTo>
                    <a:pt x="3570" y="3315"/>
                    <a:pt x="3586" y="3301"/>
                    <a:pt x="3609" y="3299"/>
                  </a:cubicBezTo>
                  <a:close/>
                  <a:moveTo>
                    <a:pt x="3493" y="3259"/>
                  </a:moveTo>
                  <a:cubicBezTo>
                    <a:pt x="3490" y="3244"/>
                    <a:pt x="3507" y="3231"/>
                    <a:pt x="3530" y="3229"/>
                  </a:cubicBezTo>
                  <a:cubicBezTo>
                    <a:pt x="3552" y="3227"/>
                    <a:pt x="3572" y="3237"/>
                    <a:pt x="3575" y="3252"/>
                  </a:cubicBezTo>
                  <a:cubicBezTo>
                    <a:pt x="3577" y="3267"/>
                    <a:pt x="3560" y="3281"/>
                    <a:pt x="3538" y="3283"/>
                  </a:cubicBezTo>
                  <a:cubicBezTo>
                    <a:pt x="3515" y="3285"/>
                    <a:pt x="3495" y="3274"/>
                    <a:pt x="3493" y="3259"/>
                  </a:cubicBezTo>
                  <a:close/>
                  <a:moveTo>
                    <a:pt x="3480" y="3311"/>
                  </a:moveTo>
                  <a:cubicBezTo>
                    <a:pt x="3503" y="3309"/>
                    <a:pt x="3523" y="3319"/>
                    <a:pt x="3525" y="3334"/>
                  </a:cubicBezTo>
                  <a:cubicBezTo>
                    <a:pt x="3527" y="3349"/>
                    <a:pt x="3510" y="3363"/>
                    <a:pt x="3487" y="3365"/>
                  </a:cubicBezTo>
                  <a:cubicBezTo>
                    <a:pt x="3464" y="3367"/>
                    <a:pt x="3444" y="3356"/>
                    <a:pt x="3442" y="3341"/>
                  </a:cubicBezTo>
                  <a:cubicBezTo>
                    <a:pt x="3440" y="3326"/>
                    <a:pt x="3457" y="3313"/>
                    <a:pt x="3480" y="3311"/>
                  </a:cubicBezTo>
                  <a:close/>
                  <a:moveTo>
                    <a:pt x="3401" y="3239"/>
                  </a:moveTo>
                  <a:cubicBezTo>
                    <a:pt x="3424" y="3238"/>
                    <a:pt x="3444" y="3248"/>
                    <a:pt x="3446" y="3263"/>
                  </a:cubicBezTo>
                  <a:cubicBezTo>
                    <a:pt x="3448" y="3278"/>
                    <a:pt x="3431" y="3291"/>
                    <a:pt x="3409" y="3293"/>
                  </a:cubicBezTo>
                  <a:cubicBezTo>
                    <a:pt x="3386" y="3295"/>
                    <a:pt x="3366" y="3284"/>
                    <a:pt x="3364" y="3270"/>
                  </a:cubicBezTo>
                  <a:cubicBezTo>
                    <a:pt x="3362" y="3255"/>
                    <a:pt x="3379" y="3241"/>
                    <a:pt x="3401" y="3239"/>
                  </a:cubicBezTo>
                  <a:close/>
                  <a:moveTo>
                    <a:pt x="3294" y="3200"/>
                  </a:moveTo>
                  <a:cubicBezTo>
                    <a:pt x="3292" y="3185"/>
                    <a:pt x="3309" y="3171"/>
                    <a:pt x="3331" y="3170"/>
                  </a:cubicBezTo>
                  <a:cubicBezTo>
                    <a:pt x="3354" y="3168"/>
                    <a:pt x="3373" y="3179"/>
                    <a:pt x="3375" y="3194"/>
                  </a:cubicBezTo>
                  <a:cubicBezTo>
                    <a:pt x="3377" y="3209"/>
                    <a:pt x="3361" y="3222"/>
                    <a:pt x="3338" y="3224"/>
                  </a:cubicBezTo>
                  <a:cubicBezTo>
                    <a:pt x="3316" y="3225"/>
                    <a:pt x="3296" y="3215"/>
                    <a:pt x="3294" y="3200"/>
                  </a:cubicBezTo>
                  <a:close/>
                  <a:moveTo>
                    <a:pt x="3273" y="3249"/>
                  </a:moveTo>
                  <a:cubicBezTo>
                    <a:pt x="3296" y="3247"/>
                    <a:pt x="3316" y="3258"/>
                    <a:pt x="3317" y="3273"/>
                  </a:cubicBezTo>
                  <a:cubicBezTo>
                    <a:pt x="3319" y="3288"/>
                    <a:pt x="3302" y="3301"/>
                    <a:pt x="3279" y="3303"/>
                  </a:cubicBezTo>
                  <a:cubicBezTo>
                    <a:pt x="3257" y="3305"/>
                    <a:pt x="3237" y="3294"/>
                    <a:pt x="3235" y="3279"/>
                  </a:cubicBezTo>
                  <a:cubicBezTo>
                    <a:pt x="3234" y="3264"/>
                    <a:pt x="3251" y="3251"/>
                    <a:pt x="3273" y="3249"/>
                  </a:cubicBezTo>
                  <a:close/>
                  <a:moveTo>
                    <a:pt x="3166" y="3209"/>
                  </a:moveTo>
                  <a:cubicBezTo>
                    <a:pt x="3165" y="3194"/>
                    <a:pt x="3182" y="3180"/>
                    <a:pt x="3204" y="3179"/>
                  </a:cubicBezTo>
                  <a:cubicBezTo>
                    <a:pt x="3227" y="3177"/>
                    <a:pt x="3246" y="3188"/>
                    <a:pt x="3248" y="3203"/>
                  </a:cubicBezTo>
                  <a:cubicBezTo>
                    <a:pt x="3250" y="3218"/>
                    <a:pt x="3233" y="3231"/>
                    <a:pt x="3210" y="3233"/>
                  </a:cubicBezTo>
                  <a:cubicBezTo>
                    <a:pt x="3188" y="3235"/>
                    <a:pt x="3168" y="3224"/>
                    <a:pt x="3166" y="3209"/>
                  </a:cubicBezTo>
                  <a:close/>
                  <a:moveTo>
                    <a:pt x="3145" y="3258"/>
                  </a:moveTo>
                  <a:cubicBezTo>
                    <a:pt x="3167" y="3256"/>
                    <a:pt x="3187" y="3267"/>
                    <a:pt x="3189" y="3282"/>
                  </a:cubicBezTo>
                  <a:cubicBezTo>
                    <a:pt x="3190" y="3297"/>
                    <a:pt x="3173" y="3311"/>
                    <a:pt x="3150" y="3312"/>
                  </a:cubicBezTo>
                  <a:cubicBezTo>
                    <a:pt x="3128" y="3314"/>
                    <a:pt x="3108" y="3303"/>
                    <a:pt x="3106" y="3288"/>
                  </a:cubicBezTo>
                  <a:cubicBezTo>
                    <a:pt x="3105" y="3273"/>
                    <a:pt x="3122" y="3259"/>
                    <a:pt x="3145" y="3258"/>
                  </a:cubicBezTo>
                  <a:close/>
                  <a:moveTo>
                    <a:pt x="3039" y="3217"/>
                  </a:moveTo>
                  <a:cubicBezTo>
                    <a:pt x="3037" y="3202"/>
                    <a:pt x="3055" y="3189"/>
                    <a:pt x="3077" y="3187"/>
                  </a:cubicBezTo>
                  <a:cubicBezTo>
                    <a:pt x="3099" y="3186"/>
                    <a:pt x="3119" y="3197"/>
                    <a:pt x="3120" y="3212"/>
                  </a:cubicBezTo>
                  <a:cubicBezTo>
                    <a:pt x="3122" y="3227"/>
                    <a:pt x="3105" y="3240"/>
                    <a:pt x="3082" y="3241"/>
                  </a:cubicBezTo>
                  <a:cubicBezTo>
                    <a:pt x="3060" y="3243"/>
                    <a:pt x="3040" y="3232"/>
                    <a:pt x="3039" y="3217"/>
                  </a:cubicBezTo>
                  <a:close/>
                  <a:moveTo>
                    <a:pt x="3016" y="3266"/>
                  </a:moveTo>
                  <a:cubicBezTo>
                    <a:pt x="3039" y="3264"/>
                    <a:pt x="3059" y="3275"/>
                    <a:pt x="3060" y="3290"/>
                  </a:cubicBezTo>
                  <a:cubicBezTo>
                    <a:pt x="3061" y="3305"/>
                    <a:pt x="3044" y="3319"/>
                    <a:pt x="3021" y="3320"/>
                  </a:cubicBezTo>
                  <a:cubicBezTo>
                    <a:pt x="2998" y="3321"/>
                    <a:pt x="2979" y="3310"/>
                    <a:pt x="2978" y="3295"/>
                  </a:cubicBezTo>
                  <a:cubicBezTo>
                    <a:pt x="2976" y="3280"/>
                    <a:pt x="2994" y="3267"/>
                    <a:pt x="3016" y="3266"/>
                  </a:cubicBezTo>
                  <a:close/>
                  <a:moveTo>
                    <a:pt x="2911" y="3224"/>
                  </a:moveTo>
                  <a:cubicBezTo>
                    <a:pt x="2910" y="3209"/>
                    <a:pt x="2927" y="3196"/>
                    <a:pt x="2950" y="3195"/>
                  </a:cubicBezTo>
                  <a:cubicBezTo>
                    <a:pt x="2972" y="3193"/>
                    <a:pt x="2991" y="3204"/>
                    <a:pt x="2993" y="3219"/>
                  </a:cubicBezTo>
                  <a:cubicBezTo>
                    <a:pt x="2994" y="3234"/>
                    <a:pt x="2977" y="3248"/>
                    <a:pt x="2954" y="3249"/>
                  </a:cubicBezTo>
                  <a:cubicBezTo>
                    <a:pt x="2931" y="3250"/>
                    <a:pt x="2912" y="3239"/>
                    <a:pt x="2911" y="3224"/>
                  </a:cubicBezTo>
                  <a:close/>
                  <a:moveTo>
                    <a:pt x="2849" y="3302"/>
                  </a:moveTo>
                  <a:cubicBezTo>
                    <a:pt x="2848" y="3287"/>
                    <a:pt x="2865" y="3274"/>
                    <a:pt x="2888" y="3273"/>
                  </a:cubicBezTo>
                  <a:cubicBezTo>
                    <a:pt x="2911" y="3272"/>
                    <a:pt x="2930" y="3283"/>
                    <a:pt x="2931" y="3298"/>
                  </a:cubicBezTo>
                  <a:cubicBezTo>
                    <a:pt x="2932" y="3313"/>
                    <a:pt x="2915" y="3326"/>
                    <a:pt x="2892" y="3327"/>
                  </a:cubicBezTo>
                  <a:cubicBezTo>
                    <a:pt x="2869" y="3328"/>
                    <a:pt x="2850" y="3317"/>
                    <a:pt x="2849" y="3302"/>
                  </a:cubicBezTo>
                  <a:close/>
                  <a:moveTo>
                    <a:pt x="2783" y="3230"/>
                  </a:moveTo>
                  <a:cubicBezTo>
                    <a:pt x="2783" y="3215"/>
                    <a:pt x="2800" y="3202"/>
                    <a:pt x="2822" y="3201"/>
                  </a:cubicBezTo>
                  <a:cubicBezTo>
                    <a:pt x="2845" y="3200"/>
                    <a:pt x="2864" y="3211"/>
                    <a:pt x="2865" y="3226"/>
                  </a:cubicBezTo>
                  <a:cubicBezTo>
                    <a:pt x="2866" y="3241"/>
                    <a:pt x="2848" y="3254"/>
                    <a:pt x="2826" y="3255"/>
                  </a:cubicBezTo>
                  <a:cubicBezTo>
                    <a:pt x="2803" y="3256"/>
                    <a:pt x="2784" y="3245"/>
                    <a:pt x="2783" y="3230"/>
                  </a:cubicBezTo>
                  <a:close/>
                  <a:moveTo>
                    <a:pt x="2720" y="3308"/>
                  </a:moveTo>
                  <a:cubicBezTo>
                    <a:pt x="2719" y="3293"/>
                    <a:pt x="2737" y="3280"/>
                    <a:pt x="2760" y="3279"/>
                  </a:cubicBezTo>
                  <a:cubicBezTo>
                    <a:pt x="2782" y="3278"/>
                    <a:pt x="2801" y="3289"/>
                    <a:pt x="2802" y="3304"/>
                  </a:cubicBezTo>
                  <a:cubicBezTo>
                    <a:pt x="2803" y="3319"/>
                    <a:pt x="2785" y="3332"/>
                    <a:pt x="2763" y="3333"/>
                  </a:cubicBezTo>
                  <a:cubicBezTo>
                    <a:pt x="2740" y="3334"/>
                    <a:pt x="2721" y="3323"/>
                    <a:pt x="2720" y="3308"/>
                  </a:cubicBezTo>
                  <a:close/>
                  <a:moveTo>
                    <a:pt x="2656" y="3235"/>
                  </a:moveTo>
                  <a:cubicBezTo>
                    <a:pt x="2655" y="3220"/>
                    <a:pt x="2673" y="3207"/>
                    <a:pt x="2695" y="3206"/>
                  </a:cubicBezTo>
                  <a:cubicBezTo>
                    <a:pt x="2718" y="3206"/>
                    <a:pt x="2736" y="3217"/>
                    <a:pt x="2737" y="3232"/>
                  </a:cubicBezTo>
                  <a:cubicBezTo>
                    <a:pt x="2738" y="3247"/>
                    <a:pt x="2720" y="3260"/>
                    <a:pt x="2698" y="3261"/>
                  </a:cubicBezTo>
                  <a:cubicBezTo>
                    <a:pt x="2675" y="3262"/>
                    <a:pt x="2656" y="3250"/>
                    <a:pt x="2656" y="3235"/>
                  </a:cubicBezTo>
                  <a:close/>
                  <a:moveTo>
                    <a:pt x="2591" y="3313"/>
                  </a:moveTo>
                  <a:cubicBezTo>
                    <a:pt x="2590" y="3298"/>
                    <a:pt x="2608" y="3285"/>
                    <a:pt x="2631" y="3284"/>
                  </a:cubicBezTo>
                  <a:cubicBezTo>
                    <a:pt x="2654" y="3283"/>
                    <a:pt x="2673" y="3295"/>
                    <a:pt x="2673" y="3310"/>
                  </a:cubicBezTo>
                  <a:cubicBezTo>
                    <a:pt x="2674" y="3325"/>
                    <a:pt x="2656" y="3338"/>
                    <a:pt x="2633" y="3338"/>
                  </a:cubicBezTo>
                  <a:cubicBezTo>
                    <a:pt x="2610" y="3339"/>
                    <a:pt x="2592" y="3328"/>
                    <a:pt x="2591" y="3313"/>
                  </a:cubicBezTo>
                  <a:close/>
                  <a:moveTo>
                    <a:pt x="2570" y="3266"/>
                  </a:moveTo>
                  <a:cubicBezTo>
                    <a:pt x="2547" y="3266"/>
                    <a:pt x="2528" y="3255"/>
                    <a:pt x="2528" y="3240"/>
                  </a:cubicBezTo>
                  <a:cubicBezTo>
                    <a:pt x="2527" y="3225"/>
                    <a:pt x="2545" y="3212"/>
                    <a:pt x="2568" y="3211"/>
                  </a:cubicBezTo>
                  <a:cubicBezTo>
                    <a:pt x="2590" y="3210"/>
                    <a:pt x="2609" y="3222"/>
                    <a:pt x="2609" y="3237"/>
                  </a:cubicBezTo>
                  <a:cubicBezTo>
                    <a:pt x="2610" y="3252"/>
                    <a:pt x="2592" y="3265"/>
                    <a:pt x="2570" y="3266"/>
                  </a:cubicBezTo>
                  <a:close/>
                  <a:moveTo>
                    <a:pt x="2462" y="3317"/>
                  </a:moveTo>
                  <a:cubicBezTo>
                    <a:pt x="2462" y="3302"/>
                    <a:pt x="2480" y="3289"/>
                    <a:pt x="2503" y="3288"/>
                  </a:cubicBezTo>
                  <a:cubicBezTo>
                    <a:pt x="2525" y="3288"/>
                    <a:pt x="2544" y="3299"/>
                    <a:pt x="2544" y="3314"/>
                  </a:cubicBezTo>
                  <a:cubicBezTo>
                    <a:pt x="2545" y="3329"/>
                    <a:pt x="2527" y="3342"/>
                    <a:pt x="2504" y="3343"/>
                  </a:cubicBezTo>
                  <a:cubicBezTo>
                    <a:pt x="2481" y="3343"/>
                    <a:pt x="2462" y="3332"/>
                    <a:pt x="2462" y="3317"/>
                  </a:cubicBezTo>
                  <a:close/>
                  <a:moveTo>
                    <a:pt x="2441" y="3269"/>
                  </a:moveTo>
                  <a:cubicBezTo>
                    <a:pt x="2419" y="3270"/>
                    <a:pt x="2400" y="3258"/>
                    <a:pt x="2400" y="3243"/>
                  </a:cubicBezTo>
                  <a:cubicBezTo>
                    <a:pt x="2400" y="3228"/>
                    <a:pt x="2418" y="3215"/>
                    <a:pt x="2440" y="3215"/>
                  </a:cubicBezTo>
                  <a:cubicBezTo>
                    <a:pt x="2463" y="3214"/>
                    <a:pt x="2481" y="3226"/>
                    <a:pt x="2482" y="3241"/>
                  </a:cubicBezTo>
                  <a:cubicBezTo>
                    <a:pt x="2482" y="3256"/>
                    <a:pt x="2464" y="3269"/>
                    <a:pt x="2441" y="3269"/>
                  </a:cubicBezTo>
                  <a:close/>
                  <a:moveTo>
                    <a:pt x="2333" y="3320"/>
                  </a:moveTo>
                  <a:cubicBezTo>
                    <a:pt x="2333" y="3305"/>
                    <a:pt x="2351" y="3292"/>
                    <a:pt x="2374" y="3292"/>
                  </a:cubicBezTo>
                  <a:cubicBezTo>
                    <a:pt x="2397" y="3291"/>
                    <a:pt x="2415" y="3303"/>
                    <a:pt x="2415" y="3318"/>
                  </a:cubicBezTo>
                  <a:cubicBezTo>
                    <a:pt x="2416" y="3333"/>
                    <a:pt x="2397" y="3346"/>
                    <a:pt x="2374" y="3346"/>
                  </a:cubicBezTo>
                  <a:cubicBezTo>
                    <a:pt x="2352" y="3347"/>
                    <a:pt x="2333" y="3335"/>
                    <a:pt x="2333" y="3320"/>
                  </a:cubicBezTo>
                  <a:close/>
                  <a:moveTo>
                    <a:pt x="2313" y="3272"/>
                  </a:moveTo>
                  <a:cubicBezTo>
                    <a:pt x="2290" y="3273"/>
                    <a:pt x="2272" y="3261"/>
                    <a:pt x="2272" y="3246"/>
                  </a:cubicBezTo>
                  <a:cubicBezTo>
                    <a:pt x="2272" y="3230"/>
                    <a:pt x="2290" y="3218"/>
                    <a:pt x="2313" y="3218"/>
                  </a:cubicBezTo>
                  <a:cubicBezTo>
                    <a:pt x="2335" y="3217"/>
                    <a:pt x="2354" y="3229"/>
                    <a:pt x="2354" y="3244"/>
                  </a:cubicBezTo>
                  <a:cubicBezTo>
                    <a:pt x="2354" y="3259"/>
                    <a:pt x="2336" y="3272"/>
                    <a:pt x="2313" y="3272"/>
                  </a:cubicBezTo>
                  <a:close/>
                  <a:moveTo>
                    <a:pt x="2204" y="3322"/>
                  </a:moveTo>
                  <a:cubicBezTo>
                    <a:pt x="2204" y="3307"/>
                    <a:pt x="2223" y="3294"/>
                    <a:pt x="2245" y="3294"/>
                  </a:cubicBezTo>
                  <a:cubicBezTo>
                    <a:pt x="2268" y="3294"/>
                    <a:pt x="2286" y="3305"/>
                    <a:pt x="2286" y="3321"/>
                  </a:cubicBezTo>
                  <a:cubicBezTo>
                    <a:pt x="2286" y="3336"/>
                    <a:pt x="2268" y="3348"/>
                    <a:pt x="2245" y="3349"/>
                  </a:cubicBezTo>
                  <a:cubicBezTo>
                    <a:pt x="2222" y="3349"/>
                    <a:pt x="2204" y="3337"/>
                    <a:pt x="2204" y="3322"/>
                  </a:cubicBezTo>
                  <a:close/>
                  <a:moveTo>
                    <a:pt x="2185" y="3274"/>
                  </a:moveTo>
                  <a:cubicBezTo>
                    <a:pt x="2162" y="3274"/>
                    <a:pt x="2144" y="3262"/>
                    <a:pt x="2144" y="3247"/>
                  </a:cubicBezTo>
                  <a:cubicBezTo>
                    <a:pt x="2145" y="3232"/>
                    <a:pt x="2163" y="3220"/>
                    <a:pt x="2185" y="3219"/>
                  </a:cubicBezTo>
                  <a:cubicBezTo>
                    <a:pt x="2208" y="3219"/>
                    <a:pt x="2226" y="3231"/>
                    <a:pt x="2226" y="3246"/>
                  </a:cubicBezTo>
                  <a:cubicBezTo>
                    <a:pt x="2226" y="3261"/>
                    <a:pt x="2207" y="3274"/>
                    <a:pt x="2185" y="3274"/>
                  </a:cubicBezTo>
                  <a:close/>
                  <a:moveTo>
                    <a:pt x="2075" y="3323"/>
                  </a:moveTo>
                  <a:cubicBezTo>
                    <a:pt x="2075" y="3308"/>
                    <a:pt x="2094" y="3296"/>
                    <a:pt x="2117" y="3295"/>
                  </a:cubicBezTo>
                  <a:cubicBezTo>
                    <a:pt x="2139" y="3295"/>
                    <a:pt x="2158" y="3307"/>
                    <a:pt x="2157" y="3322"/>
                  </a:cubicBezTo>
                  <a:cubicBezTo>
                    <a:pt x="2157" y="3337"/>
                    <a:pt x="2138" y="3350"/>
                    <a:pt x="2116" y="3350"/>
                  </a:cubicBezTo>
                  <a:cubicBezTo>
                    <a:pt x="2093" y="3350"/>
                    <a:pt x="2075" y="3338"/>
                    <a:pt x="2075" y="3323"/>
                  </a:cubicBezTo>
                  <a:close/>
                  <a:moveTo>
                    <a:pt x="2056" y="3275"/>
                  </a:moveTo>
                  <a:cubicBezTo>
                    <a:pt x="2034" y="3275"/>
                    <a:pt x="2016" y="3263"/>
                    <a:pt x="2016" y="3248"/>
                  </a:cubicBezTo>
                  <a:cubicBezTo>
                    <a:pt x="2017" y="3233"/>
                    <a:pt x="2036" y="3221"/>
                    <a:pt x="2058" y="3220"/>
                  </a:cubicBezTo>
                  <a:cubicBezTo>
                    <a:pt x="2080" y="3220"/>
                    <a:pt x="2098" y="3232"/>
                    <a:pt x="2098" y="3248"/>
                  </a:cubicBezTo>
                  <a:cubicBezTo>
                    <a:pt x="2098" y="3263"/>
                    <a:pt x="2079" y="3275"/>
                    <a:pt x="2056" y="3275"/>
                  </a:cubicBezTo>
                  <a:close/>
                  <a:moveTo>
                    <a:pt x="1946" y="3323"/>
                  </a:moveTo>
                  <a:cubicBezTo>
                    <a:pt x="1947" y="3308"/>
                    <a:pt x="1965" y="3296"/>
                    <a:pt x="1988" y="3296"/>
                  </a:cubicBezTo>
                  <a:cubicBezTo>
                    <a:pt x="2011" y="3296"/>
                    <a:pt x="2029" y="3308"/>
                    <a:pt x="2028" y="3323"/>
                  </a:cubicBezTo>
                  <a:cubicBezTo>
                    <a:pt x="2028" y="3338"/>
                    <a:pt x="2009" y="3351"/>
                    <a:pt x="1986" y="3351"/>
                  </a:cubicBezTo>
                  <a:cubicBezTo>
                    <a:pt x="1963" y="3351"/>
                    <a:pt x="1945" y="3338"/>
                    <a:pt x="1946" y="3323"/>
                  </a:cubicBezTo>
                  <a:close/>
                  <a:moveTo>
                    <a:pt x="1928" y="3275"/>
                  </a:moveTo>
                  <a:cubicBezTo>
                    <a:pt x="1906" y="3275"/>
                    <a:pt x="1888" y="3263"/>
                    <a:pt x="1889" y="3248"/>
                  </a:cubicBezTo>
                  <a:cubicBezTo>
                    <a:pt x="1889" y="3233"/>
                    <a:pt x="1908" y="3220"/>
                    <a:pt x="1931" y="3220"/>
                  </a:cubicBezTo>
                  <a:cubicBezTo>
                    <a:pt x="1953" y="3221"/>
                    <a:pt x="1971" y="3233"/>
                    <a:pt x="1970" y="3248"/>
                  </a:cubicBezTo>
                  <a:cubicBezTo>
                    <a:pt x="1970" y="3263"/>
                    <a:pt x="1951" y="3275"/>
                    <a:pt x="1928" y="3275"/>
                  </a:cubicBezTo>
                  <a:close/>
                  <a:moveTo>
                    <a:pt x="1817" y="3323"/>
                  </a:moveTo>
                  <a:cubicBezTo>
                    <a:pt x="1818" y="3308"/>
                    <a:pt x="1837" y="3295"/>
                    <a:pt x="1860" y="3296"/>
                  </a:cubicBezTo>
                  <a:cubicBezTo>
                    <a:pt x="1882" y="3296"/>
                    <a:pt x="1900" y="3308"/>
                    <a:pt x="1899" y="3323"/>
                  </a:cubicBezTo>
                  <a:cubicBezTo>
                    <a:pt x="1899" y="3338"/>
                    <a:pt x="1879" y="3351"/>
                    <a:pt x="1857" y="3350"/>
                  </a:cubicBezTo>
                  <a:cubicBezTo>
                    <a:pt x="1834" y="3350"/>
                    <a:pt x="1816" y="3338"/>
                    <a:pt x="1817" y="3323"/>
                  </a:cubicBezTo>
                  <a:close/>
                  <a:moveTo>
                    <a:pt x="1800" y="3274"/>
                  </a:moveTo>
                  <a:cubicBezTo>
                    <a:pt x="1777" y="3274"/>
                    <a:pt x="1760" y="3262"/>
                    <a:pt x="1761" y="3247"/>
                  </a:cubicBezTo>
                  <a:cubicBezTo>
                    <a:pt x="1762" y="3231"/>
                    <a:pt x="1781" y="3219"/>
                    <a:pt x="1803" y="3220"/>
                  </a:cubicBezTo>
                  <a:cubicBezTo>
                    <a:pt x="1826" y="3220"/>
                    <a:pt x="1843" y="3232"/>
                    <a:pt x="1842" y="3247"/>
                  </a:cubicBezTo>
                  <a:cubicBezTo>
                    <a:pt x="1841" y="3263"/>
                    <a:pt x="1822" y="3275"/>
                    <a:pt x="1800" y="3274"/>
                  </a:cubicBezTo>
                  <a:close/>
                  <a:moveTo>
                    <a:pt x="1688" y="3321"/>
                  </a:moveTo>
                  <a:cubicBezTo>
                    <a:pt x="1689" y="3306"/>
                    <a:pt x="1708" y="3294"/>
                    <a:pt x="1731" y="3294"/>
                  </a:cubicBezTo>
                  <a:cubicBezTo>
                    <a:pt x="1754" y="3295"/>
                    <a:pt x="1771" y="3307"/>
                    <a:pt x="1770" y="3322"/>
                  </a:cubicBezTo>
                  <a:cubicBezTo>
                    <a:pt x="1769" y="3337"/>
                    <a:pt x="1750" y="3349"/>
                    <a:pt x="1727" y="3349"/>
                  </a:cubicBezTo>
                  <a:cubicBezTo>
                    <a:pt x="1704" y="3349"/>
                    <a:pt x="1687" y="3336"/>
                    <a:pt x="1688" y="3321"/>
                  </a:cubicBezTo>
                  <a:close/>
                  <a:moveTo>
                    <a:pt x="1671" y="3273"/>
                  </a:moveTo>
                  <a:cubicBezTo>
                    <a:pt x="1649" y="3272"/>
                    <a:pt x="1631" y="3260"/>
                    <a:pt x="1633" y="3245"/>
                  </a:cubicBezTo>
                  <a:cubicBezTo>
                    <a:pt x="1634" y="3229"/>
                    <a:pt x="1653" y="3218"/>
                    <a:pt x="1676" y="3218"/>
                  </a:cubicBezTo>
                  <a:cubicBezTo>
                    <a:pt x="1698" y="3218"/>
                    <a:pt x="1715" y="3231"/>
                    <a:pt x="1714" y="3246"/>
                  </a:cubicBezTo>
                  <a:cubicBezTo>
                    <a:pt x="1713" y="3261"/>
                    <a:pt x="1694" y="3273"/>
                    <a:pt x="1671" y="3273"/>
                  </a:cubicBezTo>
                  <a:close/>
                  <a:moveTo>
                    <a:pt x="1559" y="3319"/>
                  </a:moveTo>
                  <a:cubicBezTo>
                    <a:pt x="1560" y="3303"/>
                    <a:pt x="1580" y="3292"/>
                    <a:pt x="1602" y="3292"/>
                  </a:cubicBezTo>
                  <a:cubicBezTo>
                    <a:pt x="1625" y="3293"/>
                    <a:pt x="1642" y="3305"/>
                    <a:pt x="1641" y="3320"/>
                  </a:cubicBezTo>
                  <a:cubicBezTo>
                    <a:pt x="1640" y="3335"/>
                    <a:pt x="1621" y="3347"/>
                    <a:pt x="1598" y="3347"/>
                  </a:cubicBezTo>
                  <a:cubicBezTo>
                    <a:pt x="1575" y="3347"/>
                    <a:pt x="1557" y="3334"/>
                    <a:pt x="1559" y="3319"/>
                  </a:cubicBezTo>
                  <a:close/>
                  <a:moveTo>
                    <a:pt x="1505" y="3242"/>
                  </a:moveTo>
                  <a:cubicBezTo>
                    <a:pt x="1506" y="3226"/>
                    <a:pt x="1526" y="3215"/>
                    <a:pt x="1548" y="3215"/>
                  </a:cubicBezTo>
                  <a:cubicBezTo>
                    <a:pt x="1571" y="3216"/>
                    <a:pt x="1588" y="3228"/>
                    <a:pt x="1586" y="3244"/>
                  </a:cubicBezTo>
                  <a:cubicBezTo>
                    <a:pt x="1585" y="3259"/>
                    <a:pt x="1566" y="3271"/>
                    <a:pt x="1543" y="3270"/>
                  </a:cubicBezTo>
                  <a:cubicBezTo>
                    <a:pt x="1521" y="3270"/>
                    <a:pt x="1503" y="3257"/>
                    <a:pt x="1505" y="3242"/>
                  </a:cubicBezTo>
                  <a:close/>
                  <a:moveTo>
                    <a:pt x="1430" y="3315"/>
                  </a:moveTo>
                  <a:cubicBezTo>
                    <a:pt x="1431" y="3300"/>
                    <a:pt x="1451" y="3288"/>
                    <a:pt x="1474" y="3289"/>
                  </a:cubicBezTo>
                  <a:cubicBezTo>
                    <a:pt x="1496" y="3290"/>
                    <a:pt x="1514" y="3302"/>
                    <a:pt x="1512" y="3318"/>
                  </a:cubicBezTo>
                  <a:cubicBezTo>
                    <a:pt x="1511" y="3333"/>
                    <a:pt x="1491" y="3345"/>
                    <a:pt x="1468" y="3344"/>
                  </a:cubicBezTo>
                  <a:cubicBezTo>
                    <a:pt x="1445" y="3343"/>
                    <a:pt x="1428" y="3330"/>
                    <a:pt x="1430" y="3315"/>
                  </a:cubicBezTo>
                  <a:close/>
                  <a:moveTo>
                    <a:pt x="1377" y="3238"/>
                  </a:moveTo>
                  <a:cubicBezTo>
                    <a:pt x="1379" y="3223"/>
                    <a:pt x="1398" y="3211"/>
                    <a:pt x="1421" y="3212"/>
                  </a:cubicBezTo>
                  <a:cubicBezTo>
                    <a:pt x="1443" y="3212"/>
                    <a:pt x="1460" y="3225"/>
                    <a:pt x="1459" y="3240"/>
                  </a:cubicBezTo>
                  <a:cubicBezTo>
                    <a:pt x="1457" y="3255"/>
                    <a:pt x="1437" y="3267"/>
                    <a:pt x="1415" y="3267"/>
                  </a:cubicBezTo>
                  <a:cubicBezTo>
                    <a:pt x="1392" y="3266"/>
                    <a:pt x="1375" y="3253"/>
                    <a:pt x="1377" y="3238"/>
                  </a:cubicBezTo>
                  <a:close/>
                  <a:moveTo>
                    <a:pt x="1301" y="3311"/>
                  </a:moveTo>
                  <a:cubicBezTo>
                    <a:pt x="1302" y="3296"/>
                    <a:pt x="1322" y="3284"/>
                    <a:pt x="1345" y="3285"/>
                  </a:cubicBezTo>
                  <a:cubicBezTo>
                    <a:pt x="1368" y="3286"/>
                    <a:pt x="1385" y="3299"/>
                    <a:pt x="1383" y="3314"/>
                  </a:cubicBezTo>
                  <a:cubicBezTo>
                    <a:pt x="1381" y="3329"/>
                    <a:pt x="1362" y="3341"/>
                    <a:pt x="1339" y="3340"/>
                  </a:cubicBezTo>
                  <a:cubicBezTo>
                    <a:pt x="1316" y="3339"/>
                    <a:pt x="1299" y="3326"/>
                    <a:pt x="1301" y="3311"/>
                  </a:cubicBezTo>
                  <a:close/>
                  <a:moveTo>
                    <a:pt x="1249" y="3233"/>
                  </a:moveTo>
                  <a:cubicBezTo>
                    <a:pt x="1251" y="3218"/>
                    <a:pt x="1271" y="3206"/>
                    <a:pt x="1293" y="3207"/>
                  </a:cubicBezTo>
                  <a:cubicBezTo>
                    <a:pt x="1316" y="3208"/>
                    <a:pt x="1332" y="3221"/>
                    <a:pt x="1331" y="3236"/>
                  </a:cubicBezTo>
                  <a:cubicBezTo>
                    <a:pt x="1329" y="3251"/>
                    <a:pt x="1309" y="3263"/>
                    <a:pt x="1287" y="3262"/>
                  </a:cubicBezTo>
                  <a:cubicBezTo>
                    <a:pt x="1264" y="3261"/>
                    <a:pt x="1247" y="3248"/>
                    <a:pt x="1249" y="3233"/>
                  </a:cubicBezTo>
                  <a:close/>
                  <a:moveTo>
                    <a:pt x="1172" y="3306"/>
                  </a:moveTo>
                  <a:cubicBezTo>
                    <a:pt x="1174" y="3291"/>
                    <a:pt x="1194" y="3279"/>
                    <a:pt x="1216" y="3280"/>
                  </a:cubicBezTo>
                  <a:cubicBezTo>
                    <a:pt x="1239" y="3281"/>
                    <a:pt x="1256" y="3294"/>
                    <a:pt x="1254" y="3309"/>
                  </a:cubicBezTo>
                  <a:cubicBezTo>
                    <a:pt x="1252" y="3324"/>
                    <a:pt x="1232" y="3336"/>
                    <a:pt x="1209" y="3335"/>
                  </a:cubicBezTo>
                  <a:cubicBezTo>
                    <a:pt x="1187" y="3334"/>
                    <a:pt x="1170" y="3321"/>
                    <a:pt x="1172" y="3306"/>
                  </a:cubicBezTo>
                  <a:close/>
                  <a:moveTo>
                    <a:pt x="1121" y="3227"/>
                  </a:moveTo>
                  <a:cubicBezTo>
                    <a:pt x="1123" y="3212"/>
                    <a:pt x="1143" y="3201"/>
                    <a:pt x="1166" y="3202"/>
                  </a:cubicBezTo>
                  <a:cubicBezTo>
                    <a:pt x="1188" y="3203"/>
                    <a:pt x="1205" y="3216"/>
                    <a:pt x="1203" y="3231"/>
                  </a:cubicBezTo>
                  <a:cubicBezTo>
                    <a:pt x="1201" y="3246"/>
                    <a:pt x="1181" y="3258"/>
                    <a:pt x="1158" y="3257"/>
                  </a:cubicBezTo>
                  <a:cubicBezTo>
                    <a:pt x="1136" y="3256"/>
                    <a:pt x="1119" y="3243"/>
                    <a:pt x="1121" y="3227"/>
                  </a:cubicBezTo>
                  <a:close/>
                  <a:moveTo>
                    <a:pt x="1043" y="3300"/>
                  </a:moveTo>
                  <a:cubicBezTo>
                    <a:pt x="1045" y="3284"/>
                    <a:pt x="1065" y="3273"/>
                    <a:pt x="1088" y="3274"/>
                  </a:cubicBezTo>
                  <a:cubicBezTo>
                    <a:pt x="1110" y="3275"/>
                    <a:pt x="1127" y="3288"/>
                    <a:pt x="1125" y="3304"/>
                  </a:cubicBezTo>
                  <a:cubicBezTo>
                    <a:pt x="1123" y="3319"/>
                    <a:pt x="1103" y="3330"/>
                    <a:pt x="1080" y="3329"/>
                  </a:cubicBezTo>
                  <a:cubicBezTo>
                    <a:pt x="1057" y="3328"/>
                    <a:pt x="1040" y="3315"/>
                    <a:pt x="1043" y="3300"/>
                  </a:cubicBezTo>
                  <a:close/>
                  <a:moveTo>
                    <a:pt x="993" y="3221"/>
                  </a:moveTo>
                  <a:cubicBezTo>
                    <a:pt x="996" y="3206"/>
                    <a:pt x="1016" y="3194"/>
                    <a:pt x="1038" y="3195"/>
                  </a:cubicBezTo>
                  <a:cubicBezTo>
                    <a:pt x="1061" y="3197"/>
                    <a:pt x="1077" y="3210"/>
                    <a:pt x="1075" y="3225"/>
                  </a:cubicBezTo>
                  <a:cubicBezTo>
                    <a:pt x="1073" y="3240"/>
                    <a:pt x="1053" y="3252"/>
                    <a:pt x="1030" y="3250"/>
                  </a:cubicBezTo>
                  <a:cubicBezTo>
                    <a:pt x="1007" y="3249"/>
                    <a:pt x="991" y="3236"/>
                    <a:pt x="993" y="3221"/>
                  </a:cubicBezTo>
                  <a:close/>
                  <a:moveTo>
                    <a:pt x="914" y="3292"/>
                  </a:moveTo>
                  <a:cubicBezTo>
                    <a:pt x="916" y="3277"/>
                    <a:pt x="937" y="3266"/>
                    <a:pt x="959" y="3267"/>
                  </a:cubicBezTo>
                  <a:cubicBezTo>
                    <a:pt x="982" y="3269"/>
                    <a:pt x="998" y="3282"/>
                    <a:pt x="996" y="3297"/>
                  </a:cubicBezTo>
                  <a:cubicBezTo>
                    <a:pt x="994" y="3312"/>
                    <a:pt x="973" y="3324"/>
                    <a:pt x="950" y="3322"/>
                  </a:cubicBezTo>
                  <a:cubicBezTo>
                    <a:pt x="928" y="3321"/>
                    <a:pt x="911" y="3308"/>
                    <a:pt x="914" y="3292"/>
                  </a:cubicBezTo>
                  <a:close/>
                  <a:moveTo>
                    <a:pt x="866" y="3213"/>
                  </a:moveTo>
                  <a:cubicBezTo>
                    <a:pt x="868" y="3198"/>
                    <a:pt x="888" y="3187"/>
                    <a:pt x="911" y="3188"/>
                  </a:cubicBezTo>
                  <a:cubicBezTo>
                    <a:pt x="933" y="3190"/>
                    <a:pt x="950" y="3203"/>
                    <a:pt x="947" y="3218"/>
                  </a:cubicBezTo>
                  <a:cubicBezTo>
                    <a:pt x="945" y="3233"/>
                    <a:pt x="924" y="3245"/>
                    <a:pt x="902" y="3243"/>
                  </a:cubicBezTo>
                  <a:cubicBezTo>
                    <a:pt x="879" y="3242"/>
                    <a:pt x="863" y="3228"/>
                    <a:pt x="866" y="3213"/>
                  </a:cubicBezTo>
                  <a:close/>
                  <a:moveTo>
                    <a:pt x="785" y="3284"/>
                  </a:moveTo>
                  <a:cubicBezTo>
                    <a:pt x="787" y="3269"/>
                    <a:pt x="808" y="3258"/>
                    <a:pt x="831" y="3260"/>
                  </a:cubicBezTo>
                  <a:cubicBezTo>
                    <a:pt x="853" y="3261"/>
                    <a:pt x="870" y="3275"/>
                    <a:pt x="867" y="3290"/>
                  </a:cubicBezTo>
                  <a:cubicBezTo>
                    <a:pt x="864" y="3305"/>
                    <a:pt x="844" y="3316"/>
                    <a:pt x="821" y="3315"/>
                  </a:cubicBezTo>
                  <a:cubicBezTo>
                    <a:pt x="798" y="3313"/>
                    <a:pt x="782" y="3300"/>
                    <a:pt x="785" y="3284"/>
                  </a:cubicBezTo>
                  <a:close/>
                  <a:moveTo>
                    <a:pt x="738" y="3205"/>
                  </a:moveTo>
                  <a:cubicBezTo>
                    <a:pt x="741" y="3190"/>
                    <a:pt x="761" y="3179"/>
                    <a:pt x="784" y="3180"/>
                  </a:cubicBezTo>
                  <a:cubicBezTo>
                    <a:pt x="806" y="3182"/>
                    <a:pt x="822" y="3195"/>
                    <a:pt x="819" y="3210"/>
                  </a:cubicBezTo>
                  <a:cubicBezTo>
                    <a:pt x="817" y="3225"/>
                    <a:pt x="796" y="3237"/>
                    <a:pt x="774" y="3235"/>
                  </a:cubicBezTo>
                  <a:cubicBezTo>
                    <a:pt x="751" y="3234"/>
                    <a:pt x="735" y="3220"/>
                    <a:pt x="738" y="3205"/>
                  </a:cubicBezTo>
                  <a:close/>
                  <a:moveTo>
                    <a:pt x="656" y="3276"/>
                  </a:moveTo>
                  <a:cubicBezTo>
                    <a:pt x="659" y="3260"/>
                    <a:pt x="680" y="3249"/>
                    <a:pt x="702" y="3251"/>
                  </a:cubicBezTo>
                  <a:cubicBezTo>
                    <a:pt x="725" y="3253"/>
                    <a:pt x="741" y="3266"/>
                    <a:pt x="738" y="3281"/>
                  </a:cubicBezTo>
                  <a:cubicBezTo>
                    <a:pt x="735" y="3297"/>
                    <a:pt x="715" y="3308"/>
                    <a:pt x="692" y="3306"/>
                  </a:cubicBezTo>
                  <a:cubicBezTo>
                    <a:pt x="669" y="3304"/>
                    <a:pt x="653" y="3291"/>
                    <a:pt x="656" y="3276"/>
                  </a:cubicBezTo>
                  <a:close/>
                  <a:moveTo>
                    <a:pt x="610" y="3195"/>
                  </a:moveTo>
                  <a:cubicBezTo>
                    <a:pt x="613" y="3180"/>
                    <a:pt x="634" y="3169"/>
                    <a:pt x="656" y="3171"/>
                  </a:cubicBezTo>
                  <a:cubicBezTo>
                    <a:pt x="679" y="3173"/>
                    <a:pt x="694" y="3186"/>
                    <a:pt x="692" y="3202"/>
                  </a:cubicBezTo>
                  <a:cubicBezTo>
                    <a:pt x="689" y="3217"/>
                    <a:pt x="668" y="3228"/>
                    <a:pt x="645" y="3226"/>
                  </a:cubicBezTo>
                  <a:cubicBezTo>
                    <a:pt x="623" y="3224"/>
                    <a:pt x="607" y="3211"/>
                    <a:pt x="610" y="3195"/>
                  </a:cubicBezTo>
                  <a:close/>
                  <a:moveTo>
                    <a:pt x="527" y="3266"/>
                  </a:moveTo>
                  <a:cubicBezTo>
                    <a:pt x="530" y="3251"/>
                    <a:pt x="551" y="3240"/>
                    <a:pt x="574" y="3242"/>
                  </a:cubicBezTo>
                  <a:cubicBezTo>
                    <a:pt x="596" y="3243"/>
                    <a:pt x="612" y="3257"/>
                    <a:pt x="609" y="3272"/>
                  </a:cubicBezTo>
                  <a:cubicBezTo>
                    <a:pt x="606" y="3287"/>
                    <a:pt x="585" y="3298"/>
                    <a:pt x="562" y="3296"/>
                  </a:cubicBezTo>
                  <a:cubicBezTo>
                    <a:pt x="540" y="3295"/>
                    <a:pt x="524" y="3281"/>
                    <a:pt x="527" y="3266"/>
                  </a:cubicBezTo>
                  <a:close/>
                  <a:moveTo>
                    <a:pt x="482" y="3185"/>
                  </a:moveTo>
                  <a:cubicBezTo>
                    <a:pt x="486" y="3170"/>
                    <a:pt x="506" y="3159"/>
                    <a:pt x="529" y="3161"/>
                  </a:cubicBezTo>
                  <a:cubicBezTo>
                    <a:pt x="551" y="3163"/>
                    <a:pt x="567" y="3177"/>
                    <a:pt x="564" y="3192"/>
                  </a:cubicBezTo>
                  <a:cubicBezTo>
                    <a:pt x="561" y="3207"/>
                    <a:pt x="540" y="3218"/>
                    <a:pt x="517" y="3216"/>
                  </a:cubicBezTo>
                  <a:cubicBezTo>
                    <a:pt x="495" y="3214"/>
                    <a:pt x="479" y="3200"/>
                    <a:pt x="482" y="3185"/>
                  </a:cubicBezTo>
                  <a:close/>
                  <a:moveTo>
                    <a:pt x="398" y="3255"/>
                  </a:moveTo>
                  <a:cubicBezTo>
                    <a:pt x="402" y="3240"/>
                    <a:pt x="423" y="3229"/>
                    <a:pt x="445" y="3231"/>
                  </a:cubicBezTo>
                  <a:cubicBezTo>
                    <a:pt x="468" y="3233"/>
                    <a:pt x="484" y="3247"/>
                    <a:pt x="480" y="3262"/>
                  </a:cubicBezTo>
                  <a:cubicBezTo>
                    <a:pt x="477" y="3277"/>
                    <a:pt x="456" y="3288"/>
                    <a:pt x="433" y="3286"/>
                  </a:cubicBezTo>
                  <a:cubicBezTo>
                    <a:pt x="410" y="3284"/>
                    <a:pt x="395" y="3270"/>
                    <a:pt x="398" y="3255"/>
                  </a:cubicBezTo>
                  <a:close/>
                  <a:moveTo>
                    <a:pt x="319" y="3328"/>
                  </a:moveTo>
                  <a:cubicBezTo>
                    <a:pt x="323" y="3313"/>
                    <a:pt x="344" y="3302"/>
                    <a:pt x="367" y="3304"/>
                  </a:cubicBezTo>
                  <a:cubicBezTo>
                    <a:pt x="390" y="3306"/>
                    <a:pt x="405" y="3320"/>
                    <a:pt x="402" y="3335"/>
                  </a:cubicBezTo>
                  <a:cubicBezTo>
                    <a:pt x="399" y="3350"/>
                    <a:pt x="377" y="3361"/>
                    <a:pt x="354" y="3359"/>
                  </a:cubicBezTo>
                  <a:cubicBezTo>
                    <a:pt x="331" y="3357"/>
                    <a:pt x="315" y="3343"/>
                    <a:pt x="319" y="3328"/>
                  </a:cubicBezTo>
                  <a:close/>
                  <a:moveTo>
                    <a:pt x="269" y="3243"/>
                  </a:moveTo>
                  <a:cubicBezTo>
                    <a:pt x="273" y="3228"/>
                    <a:pt x="294" y="3218"/>
                    <a:pt x="317" y="3220"/>
                  </a:cubicBezTo>
                  <a:cubicBezTo>
                    <a:pt x="340" y="3222"/>
                    <a:pt x="355" y="3236"/>
                    <a:pt x="352" y="3251"/>
                  </a:cubicBezTo>
                  <a:cubicBezTo>
                    <a:pt x="348" y="3266"/>
                    <a:pt x="327" y="3277"/>
                    <a:pt x="304" y="3274"/>
                  </a:cubicBezTo>
                  <a:cubicBezTo>
                    <a:pt x="281" y="3272"/>
                    <a:pt x="266" y="3258"/>
                    <a:pt x="269" y="3243"/>
                  </a:cubicBezTo>
                  <a:close/>
                  <a:moveTo>
                    <a:pt x="189" y="3315"/>
                  </a:moveTo>
                  <a:cubicBezTo>
                    <a:pt x="193" y="3300"/>
                    <a:pt x="214" y="3290"/>
                    <a:pt x="237" y="3292"/>
                  </a:cubicBezTo>
                  <a:cubicBezTo>
                    <a:pt x="260" y="3294"/>
                    <a:pt x="276" y="3308"/>
                    <a:pt x="272" y="3323"/>
                  </a:cubicBezTo>
                  <a:cubicBezTo>
                    <a:pt x="268" y="3338"/>
                    <a:pt x="247" y="3349"/>
                    <a:pt x="224" y="3347"/>
                  </a:cubicBezTo>
                  <a:cubicBezTo>
                    <a:pt x="201" y="3345"/>
                    <a:pt x="185" y="3331"/>
                    <a:pt x="189" y="3315"/>
                  </a:cubicBezTo>
                  <a:close/>
                  <a:moveTo>
                    <a:pt x="141" y="3231"/>
                  </a:moveTo>
                  <a:cubicBezTo>
                    <a:pt x="145" y="3216"/>
                    <a:pt x="166" y="3205"/>
                    <a:pt x="189" y="3207"/>
                  </a:cubicBezTo>
                  <a:cubicBezTo>
                    <a:pt x="211" y="3210"/>
                    <a:pt x="227" y="3224"/>
                    <a:pt x="223" y="3239"/>
                  </a:cubicBezTo>
                  <a:cubicBezTo>
                    <a:pt x="219" y="3254"/>
                    <a:pt x="198" y="3264"/>
                    <a:pt x="175" y="3262"/>
                  </a:cubicBezTo>
                  <a:cubicBezTo>
                    <a:pt x="152" y="3260"/>
                    <a:pt x="137" y="3246"/>
                    <a:pt x="141" y="3231"/>
                  </a:cubicBezTo>
                  <a:close/>
                  <a:moveTo>
                    <a:pt x="59" y="3302"/>
                  </a:moveTo>
                  <a:cubicBezTo>
                    <a:pt x="63" y="3287"/>
                    <a:pt x="85" y="3277"/>
                    <a:pt x="108" y="3279"/>
                  </a:cubicBezTo>
                  <a:cubicBezTo>
                    <a:pt x="131" y="3282"/>
                    <a:pt x="146" y="3296"/>
                    <a:pt x="142" y="3311"/>
                  </a:cubicBezTo>
                  <a:cubicBezTo>
                    <a:pt x="138" y="3326"/>
                    <a:pt x="117" y="3336"/>
                    <a:pt x="94" y="3334"/>
                  </a:cubicBezTo>
                  <a:cubicBezTo>
                    <a:pt x="71" y="3332"/>
                    <a:pt x="55" y="3317"/>
                    <a:pt x="59" y="3302"/>
                  </a:cubicBezTo>
                  <a:close/>
                  <a:moveTo>
                    <a:pt x="60" y="3194"/>
                  </a:moveTo>
                  <a:cubicBezTo>
                    <a:pt x="83" y="3197"/>
                    <a:pt x="98" y="3211"/>
                    <a:pt x="94" y="3226"/>
                  </a:cubicBezTo>
                  <a:cubicBezTo>
                    <a:pt x="90" y="3241"/>
                    <a:pt x="69" y="3251"/>
                    <a:pt x="46" y="3249"/>
                  </a:cubicBezTo>
                  <a:cubicBezTo>
                    <a:pt x="23" y="3246"/>
                    <a:pt x="8" y="3232"/>
                    <a:pt x="12" y="3217"/>
                  </a:cubicBezTo>
                  <a:cubicBezTo>
                    <a:pt x="16" y="3202"/>
                    <a:pt x="38" y="3192"/>
                    <a:pt x="60" y="3194"/>
                  </a:cubicBezTo>
                  <a:close/>
                  <a:moveTo>
                    <a:pt x="54" y="3064"/>
                  </a:moveTo>
                  <a:cubicBezTo>
                    <a:pt x="58" y="3049"/>
                    <a:pt x="79" y="3038"/>
                    <a:pt x="101" y="3041"/>
                  </a:cubicBezTo>
                  <a:cubicBezTo>
                    <a:pt x="123" y="3043"/>
                    <a:pt x="138" y="3057"/>
                    <a:pt x="134" y="3073"/>
                  </a:cubicBezTo>
                  <a:cubicBezTo>
                    <a:pt x="130" y="3088"/>
                    <a:pt x="109" y="3098"/>
                    <a:pt x="87" y="3096"/>
                  </a:cubicBezTo>
                  <a:cubicBezTo>
                    <a:pt x="64" y="3093"/>
                    <a:pt x="50" y="3079"/>
                    <a:pt x="54" y="3064"/>
                  </a:cubicBezTo>
                  <a:close/>
                  <a:moveTo>
                    <a:pt x="62" y="2959"/>
                  </a:moveTo>
                  <a:cubicBezTo>
                    <a:pt x="84" y="2962"/>
                    <a:pt x="99" y="2976"/>
                    <a:pt x="95" y="2991"/>
                  </a:cubicBezTo>
                  <a:cubicBezTo>
                    <a:pt x="91" y="3006"/>
                    <a:pt x="69" y="3016"/>
                    <a:pt x="47" y="3014"/>
                  </a:cubicBezTo>
                  <a:cubicBezTo>
                    <a:pt x="25" y="3011"/>
                    <a:pt x="11" y="2997"/>
                    <a:pt x="15" y="2982"/>
                  </a:cubicBezTo>
                  <a:cubicBezTo>
                    <a:pt x="19" y="2967"/>
                    <a:pt x="40" y="2957"/>
                    <a:pt x="62" y="2959"/>
                  </a:cubicBezTo>
                  <a:close/>
                  <a:moveTo>
                    <a:pt x="62" y="2721"/>
                  </a:moveTo>
                  <a:cubicBezTo>
                    <a:pt x="83" y="2723"/>
                    <a:pt x="97" y="2737"/>
                    <a:pt x="93" y="2752"/>
                  </a:cubicBezTo>
                  <a:cubicBezTo>
                    <a:pt x="89" y="2767"/>
                    <a:pt x="68" y="2778"/>
                    <a:pt x="47" y="2775"/>
                  </a:cubicBezTo>
                  <a:cubicBezTo>
                    <a:pt x="25" y="2773"/>
                    <a:pt x="11" y="2758"/>
                    <a:pt x="15" y="2743"/>
                  </a:cubicBezTo>
                  <a:cubicBezTo>
                    <a:pt x="20" y="2728"/>
                    <a:pt x="41" y="2718"/>
                    <a:pt x="62" y="2721"/>
                  </a:cubicBezTo>
                  <a:close/>
                  <a:moveTo>
                    <a:pt x="71" y="2485"/>
                  </a:moveTo>
                  <a:cubicBezTo>
                    <a:pt x="91" y="2488"/>
                    <a:pt x="105" y="2502"/>
                    <a:pt x="101" y="2517"/>
                  </a:cubicBezTo>
                  <a:cubicBezTo>
                    <a:pt x="96" y="2532"/>
                    <a:pt x="76" y="2543"/>
                    <a:pt x="55" y="2540"/>
                  </a:cubicBezTo>
                  <a:cubicBezTo>
                    <a:pt x="34" y="2538"/>
                    <a:pt x="21" y="2523"/>
                    <a:pt x="25" y="2508"/>
                  </a:cubicBezTo>
                  <a:cubicBezTo>
                    <a:pt x="30" y="2493"/>
                    <a:pt x="50" y="2483"/>
                    <a:pt x="71" y="2485"/>
                  </a:cubicBezTo>
                  <a:close/>
                  <a:moveTo>
                    <a:pt x="78" y="2247"/>
                  </a:moveTo>
                  <a:cubicBezTo>
                    <a:pt x="98" y="2250"/>
                    <a:pt x="111" y="2264"/>
                    <a:pt x="106" y="2279"/>
                  </a:cubicBezTo>
                  <a:cubicBezTo>
                    <a:pt x="102" y="2294"/>
                    <a:pt x="82" y="2304"/>
                    <a:pt x="61" y="2302"/>
                  </a:cubicBezTo>
                  <a:cubicBezTo>
                    <a:pt x="41" y="2299"/>
                    <a:pt x="29" y="2285"/>
                    <a:pt x="33" y="2270"/>
                  </a:cubicBezTo>
                  <a:cubicBezTo>
                    <a:pt x="38" y="2255"/>
                    <a:pt x="58" y="2244"/>
                    <a:pt x="78" y="2247"/>
                  </a:cubicBezTo>
                  <a:close/>
                  <a:moveTo>
                    <a:pt x="50" y="2035"/>
                  </a:moveTo>
                  <a:cubicBezTo>
                    <a:pt x="54" y="2019"/>
                    <a:pt x="74" y="2009"/>
                    <a:pt x="93" y="2012"/>
                  </a:cubicBezTo>
                  <a:cubicBezTo>
                    <a:pt x="113" y="2015"/>
                    <a:pt x="125" y="2029"/>
                    <a:pt x="120" y="2044"/>
                  </a:cubicBezTo>
                  <a:cubicBezTo>
                    <a:pt x="116" y="2059"/>
                    <a:pt x="96" y="2069"/>
                    <a:pt x="77" y="2067"/>
                  </a:cubicBezTo>
                  <a:cubicBezTo>
                    <a:pt x="57" y="2064"/>
                    <a:pt x="45" y="2050"/>
                    <a:pt x="50" y="2035"/>
                  </a:cubicBezTo>
                  <a:close/>
                  <a:moveTo>
                    <a:pt x="60" y="1926"/>
                  </a:moveTo>
                  <a:cubicBezTo>
                    <a:pt x="79" y="1929"/>
                    <a:pt x="91" y="1943"/>
                    <a:pt x="86" y="1958"/>
                  </a:cubicBezTo>
                  <a:cubicBezTo>
                    <a:pt x="81" y="1973"/>
                    <a:pt x="62" y="1984"/>
                    <a:pt x="43" y="1981"/>
                  </a:cubicBezTo>
                  <a:cubicBezTo>
                    <a:pt x="23" y="1978"/>
                    <a:pt x="11" y="1964"/>
                    <a:pt x="16" y="1949"/>
                  </a:cubicBezTo>
                  <a:cubicBezTo>
                    <a:pt x="21" y="1934"/>
                    <a:pt x="40" y="1924"/>
                    <a:pt x="60" y="1926"/>
                  </a:cubicBezTo>
                  <a:close/>
                  <a:moveTo>
                    <a:pt x="39" y="1714"/>
                  </a:moveTo>
                  <a:cubicBezTo>
                    <a:pt x="44" y="1699"/>
                    <a:pt x="63" y="1689"/>
                    <a:pt x="81" y="1691"/>
                  </a:cubicBezTo>
                  <a:cubicBezTo>
                    <a:pt x="100" y="1694"/>
                    <a:pt x="111" y="1708"/>
                    <a:pt x="106" y="1724"/>
                  </a:cubicBezTo>
                  <a:cubicBezTo>
                    <a:pt x="102" y="1739"/>
                    <a:pt x="82" y="1749"/>
                    <a:pt x="64" y="1746"/>
                  </a:cubicBezTo>
                  <a:cubicBezTo>
                    <a:pt x="45" y="1743"/>
                    <a:pt x="34" y="1729"/>
                    <a:pt x="39" y="1714"/>
                  </a:cubicBezTo>
                  <a:close/>
                  <a:moveTo>
                    <a:pt x="76" y="1638"/>
                  </a:moveTo>
                  <a:cubicBezTo>
                    <a:pt x="71" y="1653"/>
                    <a:pt x="52" y="1663"/>
                    <a:pt x="33" y="1660"/>
                  </a:cubicBezTo>
                  <a:cubicBezTo>
                    <a:pt x="15" y="1658"/>
                    <a:pt x="4" y="1643"/>
                    <a:pt x="9" y="1628"/>
                  </a:cubicBezTo>
                  <a:cubicBezTo>
                    <a:pt x="14" y="1613"/>
                    <a:pt x="33" y="1603"/>
                    <a:pt x="51" y="1606"/>
                  </a:cubicBezTo>
                  <a:cubicBezTo>
                    <a:pt x="70" y="1609"/>
                    <a:pt x="81" y="1623"/>
                    <a:pt x="76" y="1638"/>
                  </a:cubicBezTo>
                  <a:close/>
                  <a:moveTo>
                    <a:pt x="37" y="1393"/>
                  </a:moveTo>
                  <a:cubicBezTo>
                    <a:pt x="42" y="1378"/>
                    <a:pt x="61" y="1368"/>
                    <a:pt x="79" y="1371"/>
                  </a:cubicBezTo>
                  <a:cubicBezTo>
                    <a:pt x="96" y="1374"/>
                    <a:pt x="107" y="1388"/>
                    <a:pt x="102" y="1403"/>
                  </a:cubicBezTo>
                  <a:cubicBezTo>
                    <a:pt x="97" y="1418"/>
                    <a:pt x="78" y="1428"/>
                    <a:pt x="60" y="1425"/>
                  </a:cubicBezTo>
                  <a:cubicBezTo>
                    <a:pt x="42" y="1423"/>
                    <a:pt x="32" y="1408"/>
                    <a:pt x="37" y="1393"/>
                  </a:cubicBezTo>
                  <a:close/>
                  <a:moveTo>
                    <a:pt x="75" y="1317"/>
                  </a:moveTo>
                  <a:cubicBezTo>
                    <a:pt x="70" y="1332"/>
                    <a:pt x="51" y="1342"/>
                    <a:pt x="33" y="1340"/>
                  </a:cubicBezTo>
                  <a:cubicBezTo>
                    <a:pt x="16" y="1337"/>
                    <a:pt x="6" y="1322"/>
                    <a:pt x="11" y="1307"/>
                  </a:cubicBezTo>
                  <a:cubicBezTo>
                    <a:pt x="16" y="1292"/>
                    <a:pt x="35" y="1282"/>
                    <a:pt x="52" y="1285"/>
                  </a:cubicBezTo>
                  <a:cubicBezTo>
                    <a:pt x="70" y="1288"/>
                    <a:pt x="80" y="1302"/>
                    <a:pt x="75" y="1317"/>
                  </a:cubicBezTo>
                  <a:close/>
                  <a:moveTo>
                    <a:pt x="45" y="1073"/>
                  </a:moveTo>
                  <a:cubicBezTo>
                    <a:pt x="50" y="1058"/>
                    <a:pt x="68" y="1048"/>
                    <a:pt x="85" y="1051"/>
                  </a:cubicBezTo>
                  <a:cubicBezTo>
                    <a:pt x="102" y="1053"/>
                    <a:pt x="112" y="1068"/>
                    <a:pt x="106" y="1083"/>
                  </a:cubicBezTo>
                  <a:cubicBezTo>
                    <a:pt x="101" y="1098"/>
                    <a:pt x="83" y="1108"/>
                    <a:pt x="66" y="1105"/>
                  </a:cubicBezTo>
                  <a:cubicBezTo>
                    <a:pt x="49" y="1102"/>
                    <a:pt x="40" y="1088"/>
                    <a:pt x="45" y="1073"/>
                  </a:cubicBezTo>
                  <a:close/>
                  <a:moveTo>
                    <a:pt x="23" y="987"/>
                  </a:moveTo>
                  <a:cubicBezTo>
                    <a:pt x="28" y="972"/>
                    <a:pt x="46" y="962"/>
                    <a:pt x="63" y="965"/>
                  </a:cubicBezTo>
                  <a:cubicBezTo>
                    <a:pt x="79" y="968"/>
                    <a:pt x="89" y="982"/>
                    <a:pt x="83" y="997"/>
                  </a:cubicBezTo>
                  <a:cubicBezTo>
                    <a:pt x="78" y="1012"/>
                    <a:pt x="60" y="1022"/>
                    <a:pt x="43" y="1019"/>
                  </a:cubicBezTo>
                  <a:cubicBezTo>
                    <a:pt x="26" y="1016"/>
                    <a:pt x="17" y="1002"/>
                    <a:pt x="23" y="987"/>
                  </a:cubicBezTo>
                  <a:close/>
                  <a:moveTo>
                    <a:pt x="65" y="915"/>
                  </a:moveTo>
                  <a:cubicBezTo>
                    <a:pt x="60" y="930"/>
                    <a:pt x="42" y="940"/>
                    <a:pt x="25" y="937"/>
                  </a:cubicBezTo>
                  <a:cubicBezTo>
                    <a:pt x="9" y="934"/>
                    <a:pt x="0" y="920"/>
                    <a:pt x="5" y="905"/>
                  </a:cubicBezTo>
                  <a:cubicBezTo>
                    <a:pt x="11" y="890"/>
                    <a:pt x="29" y="880"/>
                    <a:pt x="45" y="883"/>
                  </a:cubicBezTo>
                  <a:cubicBezTo>
                    <a:pt x="62" y="885"/>
                    <a:pt x="71" y="900"/>
                    <a:pt x="65" y="915"/>
                  </a:cubicBezTo>
                  <a:close/>
                  <a:moveTo>
                    <a:pt x="44" y="667"/>
                  </a:moveTo>
                  <a:cubicBezTo>
                    <a:pt x="49" y="652"/>
                    <a:pt x="67" y="642"/>
                    <a:pt x="83" y="645"/>
                  </a:cubicBezTo>
                  <a:cubicBezTo>
                    <a:pt x="99" y="648"/>
                    <a:pt x="107" y="662"/>
                    <a:pt x="101" y="677"/>
                  </a:cubicBezTo>
                  <a:cubicBezTo>
                    <a:pt x="96" y="692"/>
                    <a:pt x="78" y="702"/>
                    <a:pt x="62" y="699"/>
                  </a:cubicBezTo>
                  <a:cubicBezTo>
                    <a:pt x="46" y="696"/>
                    <a:pt x="38" y="682"/>
                    <a:pt x="44" y="667"/>
                  </a:cubicBezTo>
                  <a:close/>
                  <a:moveTo>
                    <a:pt x="30" y="584"/>
                  </a:moveTo>
                  <a:cubicBezTo>
                    <a:pt x="36" y="569"/>
                    <a:pt x="53" y="560"/>
                    <a:pt x="69" y="562"/>
                  </a:cubicBezTo>
                  <a:cubicBezTo>
                    <a:pt x="85" y="565"/>
                    <a:pt x="93" y="580"/>
                    <a:pt x="87" y="595"/>
                  </a:cubicBezTo>
                  <a:cubicBezTo>
                    <a:pt x="81" y="610"/>
                    <a:pt x="64" y="620"/>
                    <a:pt x="48" y="617"/>
                  </a:cubicBezTo>
                  <a:cubicBezTo>
                    <a:pt x="32" y="614"/>
                    <a:pt x="24" y="599"/>
                    <a:pt x="30" y="584"/>
                  </a:cubicBezTo>
                  <a:close/>
                  <a:moveTo>
                    <a:pt x="70" y="509"/>
                  </a:moveTo>
                  <a:cubicBezTo>
                    <a:pt x="64" y="524"/>
                    <a:pt x="47" y="534"/>
                    <a:pt x="31" y="531"/>
                  </a:cubicBezTo>
                  <a:cubicBezTo>
                    <a:pt x="16" y="528"/>
                    <a:pt x="8" y="513"/>
                    <a:pt x="14" y="498"/>
                  </a:cubicBezTo>
                  <a:cubicBezTo>
                    <a:pt x="20" y="484"/>
                    <a:pt x="37" y="474"/>
                    <a:pt x="52" y="477"/>
                  </a:cubicBezTo>
                  <a:cubicBezTo>
                    <a:pt x="68" y="480"/>
                    <a:pt x="76" y="494"/>
                    <a:pt x="70" y="509"/>
                  </a:cubicBezTo>
                  <a:close/>
                  <a:moveTo>
                    <a:pt x="96" y="107"/>
                  </a:moveTo>
                  <a:cubicBezTo>
                    <a:pt x="90" y="122"/>
                    <a:pt x="73" y="132"/>
                    <a:pt x="58" y="129"/>
                  </a:cubicBezTo>
                  <a:cubicBezTo>
                    <a:pt x="44" y="126"/>
                    <a:pt x="37" y="111"/>
                    <a:pt x="44" y="97"/>
                  </a:cubicBezTo>
                  <a:cubicBezTo>
                    <a:pt x="50" y="82"/>
                    <a:pt x="67" y="72"/>
                    <a:pt x="81" y="75"/>
                  </a:cubicBezTo>
                  <a:cubicBezTo>
                    <a:pt x="95" y="78"/>
                    <a:pt x="102" y="92"/>
                    <a:pt x="96" y="107"/>
                  </a:cubicBezTo>
                  <a:close/>
                  <a:moveTo>
                    <a:pt x="105" y="189"/>
                  </a:moveTo>
                  <a:cubicBezTo>
                    <a:pt x="99" y="204"/>
                    <a:pt x="82" y="214"/>
                    <a:pt x="67" y="211"/>
                  </a:cubicBezTo>
                  <a:cubicBezTo>
                    <a:pt x="52" y="208"/>
                    <a:pt x="45" y="194"/>
                    <a:pt x="52" y="179"/>
                  </a:cubicBezTo>
                  <a:cubicBezTo>
                    <a:pt x="58" y="164"/>
                    <a:pt x="75" y="154"/>
                    <a:pt x="89" y="157"/>
                  </a:cubicBezTo>
                  <a:cubicBezTo>
                    <a:pt x="104" y="160"/>
                    <a:pt x="111" y="174"/>
                    <a:pt x="105" y="189"/>
                  </a:cubicBezTo>
                  <a:close/>
                  <a:moveTo>
                    <a:pt x="166" y="38"/>
                  </a:moveTo>
                  <a:cubicBezTo>
                    <a:pt x="160" y="53"/>
                    <a:pt x="143" y="63"/>
                    <a:pt x="129" y="60"/>
                  </a:cubicBezTo>
                  <a:cubicBezTo>
                    <a:pt x="115" y="57"/>
                    <a:pt x="108" y="42"/>
                    <a:pt x="114" y="27"/>
                  </a:cubicBezTo>
                  <a:cubicBezTo>
                    <a:pt x="121" y="13"/>
                    <a:pt x="137" y="3"/>
                    <a:pt x="151" y="6"/>
                  </a:cubicBezTo>
                  <a:cubicBezTo>
                    <a:pt x="165" y="9"/>
                    <a:pt x="172" y="23"/>
                    <a:pt x="166" y="38"/>
                  </a:cubicBezTo>
                  <a:close/>
                  <a:moveTo>
                    <a:pt x="178" y="123"/>
                  </a:moveTo>
                  <a:cubicBezTo>
                    <a:pt x="172" y="138"/>
                    <a:pt x="155" y="148"/>
                    <a:pt x="141" y="145"/>
                  </a:cubicBezTo>
                  <a:cubicBezTo>
                    <a:pt x="126" y="142"/>
                    <a:pt x="120" y="128"/>
                    <a:pt x="126" y="113"/>
                  </a:cubicBezTo>
                  <a:cubicBezTo>
                    <a:pt x="132" y="98"/>
                    <a:pt x="148" y="88"/>
                    <a:pt x="163" y="91"/>
                  </a:cubicBezTo>
                  <a:cubicBezTo>
                    <a:pt x="177" y="94"/>
                    <a:pt x="184" y="108"/>
                    <a:pt x="178" y="123"/>
                  </a:cubicBezTo>
                  <a:close/>
                  <a:moveTo>
                    <a:pt x="188" y="205"/>
                  </a:moveTo>
                  <a:cubicBezTo>
                    <a:pt x="182" y="220"/>
                    <a:pt x="165" y="230"/>
                    <a:pt x="151" y="227"/>
                  </a:cubicBezTo>
                  <a:cubicBezTo>
                    <a:pt x="136" y="225"/>
                    <a:pt x="129" y="210"/>
                    <a:pt x="135" y="195"/>
                  </a:cubicBezTo>
                  <a:cubicBezTo>
                    <a:pt x="141" y="180"/>
                    <a:pt x="157" y="170"/>
                    <a:pt x="172" y="173"/>
                  </a:cubicBezTo>
                  <a:cubicBezTo>
                    <a:pt x="187" y="176"/>
                    <a:pt x="194" y="190"/>
                    <a:pt x="188" y="205"/>
                  </a:cubicBezTo>
                  <a:close/>
                  <a:moveTo>
                    <a:pt x="247" y="54"/>
                  </a:moveTo>
                  <a:cubicBezTo>
                    <a:pt x="241" y="69"/>
                    <a:pt x="225" y="79"/>
                    <a:pt x="210" y="76"/>
                  </a:cubicBezTo>
                  <a:cubicBezTo>
                    <a:pt x="196" y="73"/>
                    <a:pt x="189" y="59"/>
                    <a:pt x="195" y="44"/>
                  </a:cubicBezTo>
                  <a:cubicBezTo>
                    <a:pt x="201" y="29"/>
                    <a:pt x="217" y="19"/>
                    <a:pt x="232" y="22"/>
                  </a:cubicBezTo>
                  <a:cubicBezTo>
                    <a:pt x="246" y="24"/>
                    <a:pt x="253" y="39"/>
                    <a:pt x="247" y="54"/>
                  </a:cubicBezTo>
                  <a:close/>
                  <a:moveTo>
                    <a:pt x="260" y="139"/>
                  </a:moveTo>
                  <a:cubicBezTo>
                    <a:pt x="254" y="154"/>
                    <a:pt x="238" y="164"/>
                    <a:pt x="223" y="161"/>
                  </a:cubicBezTo>
                  <a:cubicBezTo>
                    <a:pt x="209" y="158"/>
                    <a:pt x="202" y="144"/>
                    <a:pt x="208" y="129"/>
                  </a:cubicBezTo>
                  <a:cubicBezTo>
                    <a:pt x="214" y="114"/>
                    <a:pt x="230" y="104"/>
                    <a:pt x="244" y="107"/>
                  </a:cubicBezTo>
                  <a:cubicBezTo>
                    <a:pt x="259" y="110"/>
                    <a:pt x="266" y="124"/>
                    <a:pt x="260" y="139"/>
                  </a:cubicBezTo>
                  <a:close/>
                  <a:moveTo>
                    <a:pt x="271" y="221"/>
                  </a:moveTo>
                  <a:cubicBezTo>
                    <a:pt x="266" y="236"/>
                    <a:pt x="249" y="246"/>
                    <a:pt x="234" y="243"/>
                  </a:cubicBezTo>
                  <a:cubicBezTo>
                    <a:pt x="220" y="240"/>
                    <a:pt x="212" y="226"/>
                    <a:pt x="218" y="211"/>
                  </a:cubicBezTo>
                  <a:cubicBezTo>
                    <a:pt x="224" y="196"/>
                    <a:pt x="240" y="186"/>
                    <a:pt x="255" y="189"/>
                  </a:cubicBezTo>
                  <a:cubicBezTo>
                    <a:pt x="269" y="192"/>
                    <a:pt x="277" y="206"/>
                    <a:pt x="271" y="221"/>
                  </a:cubicBezTo>
                  <a:close/>
                  <a:moveTo>
                    <a:pt x="328" y="69"/>
                  </a:moveTo>
                  <a:cubicBezTo>
                    <a:pt x="322" y="84"/>
                    <a:pt x="306" y="94"/>
                    <a:pt x="292" y="91"/>
                  </a:cubicBezTo>
                  <a:cubicBezTo>
                    <a:pt x="277" y="89"/>
                    <a:pt x="270" y="74"/>
                    <a:pt x="276" y="59"/>
                  </a:cubicBezTo>
                  <a:cubicBezTo>
                    <a:pt x="282" y="44"/>
                    <a:pt x="298" y="34"/>
                    <a:pt x="312" y="37"/>
                  </a:cubicBezTo>
                  <a:cubicBezTo>
                    <a:pt x="326" y="40"/>
                    <a:pt x="333" y="54"/>
                    <a:pt x="328" y="69"/>
                  </a:cubicBezTo>
                  <a:close/>
                  <a:moveTo>
                    <a:pt x="342" y="154"/>
                  </a:moveTo>
                  <a:cubicBezTo>
                    <a:pt x="337" y="169"/>
                    <a:pt x="321" y="179"/>
                    <a:pt x="306" y="176"/>
                  </a:cubicBezTo>
                  <a:cubicBezTo>
                    <a:pt x="292" y="174"/>
                    <a:pt x="284" y="159"/>
                    <a:pt x="290" y="145"/>
                  </a:cubicBezTo>
                  <a:cubicBezTo>
                    <a:pt x="295" y="130"/>
                    <a:pt x="312" y="120"/>
                    <a:pt x="326" y="122"/>
                  </a:cubicBezTo>
                  <a:cubicBezTo>
                    <a:pt x="341" y="125"/>
                    <a:pt x="348" y="139"/>
                    <a:pt x="342" y="154"/>
                  </a:cubicBezTo>
                  <a:close/>
                  <a:moveTo>
                    <a:pt x="355" y="236"/>
                  </a:moveTo>
                  <a:cubicBezTo>
                    <a:pt x="349" y="251"/>
                    <a:pt x="333" y="261"/>
                    <a:pt x="318" y="258"/>
                  </a:cubicBezTo>
                  <a:cubicBezTo>
                    <a:pt x="303" y="256"/>
                    <a:pt x="296" y="241"/>
                    <a:pt x="301" y="226"/>
                  </a:cubicBezTo>
                  <a:cubicBezTo>
                    <a:pt x="307" y="211"/>
                    <a:pt x="323" y="201"/>
                    <a:pt x="338" y="204"/>
                  </a:cubicBezTo>
                  <a:cubicBezTo>
                    <a:pt x="353" y="206"/>
                    <a:pt x="360" y="221"/>
                    <a:pt x="355" y="236"/>
                  </a:cubicBezTo>
                  <a:close/>
                  <a:moveTo>
                    <a:pt x="409" y="83"/>
                  </a:moveTo>
                  <a:cubicBezTo>
                    <a:pt x="404" y="98"/>
                    <a:pt x="388" y="109"/>
                    <a:pt x="373" y="106"/>
                  </a:cubicBezTo>
                  <a:cubicBezTo>
                    <a:pt x="359" y="103"/>
                    <a:pt x="352" y="89"/>
                    <a:pt x="357" y="74"/>
                  </a:cubicBezTo>
                  <a:cubicBezTo>
                    <a:pt x="363" y="59"/>
                    <a:pt x="379" y="49"/>
                    <a:pt x="393" y="52"/>
                  </a:cubicBezTo>
                  <a:cubicBezTo>
                    <a:pt x="407" y="54"/>
                    <a:pt x="414" y="68"/>
                    <a:pt x="409" y="83"/>
                  </a:cubicBezTo>
                  <a:close/>
                  <a:moveTo>
                    <a:pt x="425" y="168"/>
                  </a:moveTo>
                  <a:cubicBezTo>
                    <a:pt x="419" y="183"/>
                    <a:pt x="403" y="194"/>
                    <a:pt x="389" y="191"/>
                  </a:cubicBezTo>
                  <a:cubicBezTo>
                    <a:pt x="374" y="189"/>
                    <a:pt x="367" y="174"/>
                    <a:pt x="372" y="159"/>
                  </a:cubicBezTo>
                  <a:cubicBezTo>
                    <a:pt x="378" y="144"/>
                    <a:pt x="394" y="134"/>
                    <a:pt x="408" y="137"/>
                  </a:cubicBezTo>
                  <a:cubicBezTo>
                    <a:pt x="422" y="139"/>
                    <a:pt x="430" y="153"/>
                    <a:pt x="425" y="168"/>
                  </a:cubicBezTo>
                  <a:close/>
                  <a:moveTo>
                    <a:pt x="438" y="250"/>
                  </a:moveTo>
                  <a:cubicBezTo>
                    <a:pt x="433" y="265"/>
                    <a:pt x="417" y="275"/>
                    <a:pt x="402" y="273"/>
                  </a:cubicBezTo>
                  <a:cubicBezTo>
                    <a:pt x="387" y="270"/>
                    <a:pt x="380" y="256"/>
                    <a:pt x="385" y="241"/>
                  </a:cubicBezTo>
                  <a:cubicBezTo>
                    <a:pt x="390" y="226"/>
                    <a:pt x="406" y="216"/>
                    <a:pt x="421" y="218"/>
                  </a:cubicBezTo>
                  <a:cubicBezTo>
                    <a:pt x="436" y="221"/>
                    <a:pt x="443" y="235"/>
                    <a:pt x="438" y="250"/>
                  </a:cubicBezTo>
                  <a:close/>
                  <a:moveTo>
                    <a:pt x="490" y="97"/>
                  </a:moveTo>
                  <a:cubicBezTo>
                    <a:pt x="485" y="113"/>
                    <a:pt x="469" y="123"/>
                    <a:pt x="455" y="120"/>
                  </a:cubicBezTo>
                  <a:cubicBezTo>
                    <a:pt x="440" y="118"/>
                    <a:pt x="433" y="104"/>
                    <a:pt x="438" y="89"/>
                  </a:cubicBezTo>
                  <a:cubicBezTo>
                    <a:pt x="444" y="74"/>
                    <a:pt x="459" y="63"/>
                    <a:pt x="474" y="66"/>
                  </a:cubicBezTo>
                  <a:cubicBezTo>
                    <a:pt x="488" y="68"/>
                    <a:pt x="495" y="82"/>
                    <a:pt x="490" y="97"/>
                  </a:cubicBezTo>
                  <a:close/>
                  <a:moveTo>
                    <a:pt x="507" y="182"/>
                  </a:moveTo>
                  <a:cubicBezTo>
                    <a:pt x="502" y="197"/>
                    <a:pt x="486" y="208"/>
                    <a:pt x="472" y="205"/>
                  </a:cubicBezTo>
                  <a:cubicBezTo>
                    <a:pt x="457" y="203"/>
                    <a:pt x="449" y="189"/>
                    <a:pt x="454" y="174"/>
                  </a:cubicBezTo>
                  <a:cubicBezTo>
                    <a:pt x="460" y="158"/>
                    <a:pt x="476" y="148"/>
                    <a:pt x="490" y="151"/>
                  </a:cubicBezTo>
                  <a:cubicBezTo>
                    <a:pt x="504" y="153"/>
                    <a:pt x="512" y="167"/>
                    <a:pt x="507" y="182"/>
                  </a:cubicBezTo>
                  <a:close/>
                  <a:moveTo>
                    <a:pt x="522" y="264"/>
                  </a:moveTo>
                  <a:cubicBezTo>
                    <a:pt x="517" y="279"/>
                    <a:pt x="501" y="289"/>
                    <a:pt x="486" y="287"/>
                  </a:cubicBezTo>
                  <a:cubicBezTo>
                    <a:pt x="471" y="284"/>
                    <a:pt x="463" y="270"/>
                    <a:pt x="468" y="255"/>
                  </a:cubicBezTo>
                  <a:cubicBezTo>
                    <a:pt x="473" y="240"/>
                    <a:pt x="489" y="230"/>
                    <a:pt x="504" y="232"/>
                  </a:cubicBezTo>
                  <a:cubicBezTo>
                    <a:pt x="519" y="234"/>
                    <a:pt x="527" y="249"/>
                    <a:pt x="522" y="264"/>
                  </a:cubicBezTo>
                  <a:close/>
                  <a:moveTo>
                    <a:pt x="571" y="111"/>
                  </a:moveTo>
                  <a:cubicBezTo>
                    <a:pt x="566" y="126"/>
                    <a:pt x="551" y="136"/>
                    <a:pt x="536" y="134"/>
                  </a:cubicBezTo>
                  <a:cubicBezTo>
                    <a:pt x="522" y="132"/>
                    <a:pt x="514" y="117"/>
                    <a:pt x="519" y="102"/>
                  </a:cubicBezTo>
                  <a:cubicBezTo>
                    <a:pt x="525" y="87"/>
                    <a:pt x="540" y="77"/>
                    <a:pt x="554" y="79"/>
                  </a:cubicBezTo>
                  <a:cubicBezTo>
                    <a:pt x="569" y="82"/>
                    <a:pt x="576" y="96"/>
                    <a:pt x="571" y="111"/>
                  </a:cubicBezTo>
                  <a:close/>
                  <a:moveTo>
                    <a:pt x="590" y="196"/>
                  </a:moveTo>
                  <a:cubicBezTo>
                    <a:pt x="585" y="211"/>
                    <a:pt x="569" y="221"/>
                    <a:pt x="554" y="219"/>
                  </a:cubicBezTo>
                  <a:cubicBezTo>
                    <a:pt x="540" y="216"/>
                    <a:pt x="532" y="202"/>
                    <a:pt x="537" y="187"/>
                  </a:cubicBezTo>
                  <a:cubicBezTo>
                    <a:pt x="542" y="172"/>
                    <a:pt x="558" y="162"/>
                    <a:pt x="572" y="164"/>
                  </a:cubicBezTo>
                  <a:cubicBezTo>
                    <a:pt x="586" y="166"/>
                    <a:pt x="594" y="180"/>
                    <a:pt x="590" y="196"/>
                  </a:cubicBezTo>
                  <a:close/>
                  <a:moveTo>
                    <a:pt x="638" y="43"/>
                  </a:moveTo>
                  <a:cubicBezTo>
                    <a:pt x="633" y="58"/>
                    <a:pt x="618" y="68"/>
                    <a:pt x="604" y="66"/>
                  </a:cubicBezTo>
                  <a:cubicBezTo>
                    <a:pt x="589" y="64"/>
                    <a:pt x="582" y="50"/>
                    <a:pt x="587" y="34"/>
                  </a:cubicBezTo>
                  <a:cubicBezTo>
                    <a:pt x="592" y="19"/>
                    <a:pt x="607" y="9"/>
                    <a:pt x="621" y="11"/>
                  </a:cubicBezTo>
                  <a:cubicBezTo>
                    <a:pt x="635" y="14"/>
                    <a:pt x="643" y="28"/>
                    <a:pt x="638" y="43"/>
                  </a:cubicBezTo>
                  <a:close/>
                  <a:moveTo>
                    <a:pt x="653" y="124"/>
                  </a:moveTo>
                  <a:cubicBezTo>
                    <a:pt x="648" y="139"/>
                    <a:pt x="633" y="149"/>
                    <a:pt x="618" y="147"/>
                  </a:cubicBezTo>
                  <a:cubicBezTo>
                    <a:pt x="604" y="145"/>
                    <a:pt x="596" y="131"/>
                    <a:pt x="601" y="116"/>
                  </a:cubicBezTo>
                  <a:cubicBezTo>
                    <a:pt x="606" y="101"/>
                    <a:pt x="621" y="90"/>
                    <a:pt x="635" y="92"/>
                  </a:cubicBezTo>
                  <a:cubicBezTo>
                    <a:pt x="650" y="95"/>
                    <a:pt x="657" y="109"/>
                    <a:pt x="653" y="124"/>
                  </a:cubicBezTo>
                  <a:close/>
                  <a:moveTo>
                    <a:pt x="654" y="177"/>
                  </a:moveTo>
                  <a:cubicBezTo>
                    <a:pt x="669" y="179"/>
                    <a:pt x="677" y="193"/>
                    <a:pt x="672" y="208"/>
                  </a:cubicBezTo>
                  <a:cubicBezTo>
                    <a:pt x="668" y="223"/>
                    <a:pt x="652" y="234"/>
                    <a:pt x="637" y="231"/>
                  </a:cubicBezTo>
                  <a:cubicBezTo>
                    <a:pt x="623" y="229"/>
                    <a:pt x="615" y="215"/>
                    <a:pt x="619" y="200"/>
                  </a:cubicBezTo>
                  <a:cubicBezTo>
                    <a:pt x="624" y="185"/>
                    <a:pt x="640" y="175"/>
                    <a:pt x="654" y="177"/>
                  </a:cubicBezTo>
                  <a:close/>
                  <a:moveTo>
                    <a:pt x="718" y="55"/>
                  </a:moveTo>
                  <a:cubicBezTo>
                    <a:pt x="714" y="70"/>
                    <a:pt x="698" y="81"/>
                    <a:pt x="684" y="79"/>
                  </a:cubicBezTo>
                  <a:cubicBezTo>
                    <a:pt x="670" y="76"/>
                    <a:pt x="662" y="62"/>
                    <a:pt x="667" y="47"/>
                  </a:cubicBezTo>
                  <a:cubicBezTo>
                    <a:pt x="672" y="32"/>
                    <a:pt x="687" y="22"/>
                    <a:pt x="701" y="24"/>
                  </a:cubicBezTo>
                  <a:cubicBezTo>
                    <a:pt x="715" y="26"/>
                    <a:pt x="723" y="40"/>
                    <a:pt x="718" y="55"/>
                  </a:cubicBezTo>
                  <a:close/>
                  <a:moveTo>
                    <a:pt x="734" y="136"/>
                  </a:moveTo>
                  <a:cubicBezTo>
                    <a:pt x="730" y="151"/>
                    <a:pt x="714" y="162"/>
                    <a:pt x="700" y="160"/>
                  </a:cubicBezTo>
                  <a:cubicBezTo>
                    <a:pt x="686" y="157"/>
                    <a:pt x="678" y="143"/>
                    <a:pt x="682" y="128"/>
                  </a:cubicBezTo>
                  <a:cubicBezTo>
                    <a:pt x="687" y="113"/>
                    <a:pt x="702" y="103"/>
                    <a:pt x="716" y="105"/>
                  </a:cubicBezTo>
                  <a:cubicBezTo>
                    <a:pt x="730" y="107"/>
                    <a:pt x="739" y="121"/>
                    <a:pt x="734" y="136"/>
                  </a:cubicBezTo>
                  <a:close/>
                  <a:moveTo>
                    <a:pt x="755" y="220"/>
                  </a:moveTo>
                  <a:cubicBezTo>
                    <a:pt x="750" y="235"/>
                    <a:pt x="735" y="246"/>
                    <a:pt x="720" y="244"/>
                  </a:cubicBezTo>
                  <a:cubicBezTo>
                    <a:pt x="706" y="242"/>
                    <a:pt x="698" y="228"/>
                    <a:pt x="702" y="213"/>
                  </a:cubicBezTo>
                  <a:cubicBezTo>
                    <a:pt x="706" y="197"/>
                    <a:pt x="722" y="187"/>
                    <a:pt x="736" y="189"/>
                  </a:cubicBezTo>
                  <a:cubicBezTo>
                    <a:pt x="751" y="191"/>
                    <a:pt x="759" y="205"/>
                    <a:pt x="755" y="220"/>
                  </a:cubicBezTo>
                  <a:close/>
                  <a:moveTo>
                    <a:pt x="798" y="67"/>
                  </a:moveTo>
                  <a:cubicBezTo>
                    <a:pt x="794" y="82"/>
                    <a:pt x="779" y="93"/>
                    <a:pt x="765" y="91"/>
                  </a:cubicBezTo>
                  <a:cubicBezTo>
                    <a:pt x="751" y="89"/>
                    <a:pt x="743" y="75"/>
                    <a:pt x="747" y="60"/>
                  </a:cubicBezTo>
                  <a:cubicBezTo>
                    <a:pt x="752" y="44"/>
                    <a:pt x="767" y="34"/>
                    <a:pt x="781" y="36"/>
                  </a:cubicBezTo>
                  <a:cubicBezTo>
                    <a:pt x="795" y="38"/>
                    <a:pt x="803" y="52"/>
                    <a:pt x="798" y="67"/>
                  </a:cubicBezTo>
                  <a:close/>
                  <a:moveTo>
                    <a:pt x="816" y="148"/>
                  </a:moveTo>
                  <a:cubicBezTo>
                    <a:pt x="811" y="163"/>
                    <a:pt x="796" y="173"/>
                    <a:pt x="782" y="171"/>
                  </a:cubicBezTo>
                  <a:cubicBezTo>
                    <a:pt x="767" y="169"/>
                    <a:pt x="759" y="155"/>
                    <a:pt x="764" y="140"/>
                  </a:cubicBezTo>
                  <a:cubicBezTo>
                    <a:pt x="768" y="125"/>
                    <a:pt x="783" y="115"/>
                    <a:pt x="797" y="117"/>
                  </a:cubicBezTo>
                  <a:cubicBezTo>
                    <a:pt x="812" y="119"/>
                    <a:pt x="820" y="133"/>
                    <a:pt x="816" y="148"/>
                  </a:cubicBezTo>
                  <a:close/>
                  <a:moveTo>
                    <a:pt x="837" y="232"/>
                  </a:moveTo>
                  <a:cubicBezTo>
                    <a:pt x="833" y="247"/>
                    <a:pt x="818" y="257"/>
                    <a:pt x="804" y="255"/>
                  </a:cubicBezTo>
                  <a:cubicBezTo>
                    <a:pt x="789" y="253"/>
                    <a:pt x="780" y="240"/>
                    <a:pt x="785" y="224"/>
                  </a:cubicBezTo>
                  <a:cubicBezTo>
                    <a:pt x="789" y="209"/>
                    <a:pt x="804" y="199"/>
                    <a:pt x="819" y="201"/>
                  </a:cubicBezTo>
                  <a:cubicBezTo>
                    <a:pt x="833" y="203"/>
                    <a:pt x="842" y="217"/>
                    <a:pt x="837" y="232"/>
                  </a:cubicBezTo>
                  <a:close/>
                  <a:moveTo>
                    <a:pt x="879" y="78"/>
                  </a:moveTo>
                  <a:cubicBezTo>
                    <a:pt x="875" y="93"/>
                    <a:pt x="860" y="104"/>
                    <a:pt x="846" y="102"/>
                  </a:cubicBezTo>
                  <a:cubicBezTo>
                    <a:pt x="831" y="100"/>
                    <a:pt x="823" y="86"/>
                    <a:pt x="827" y="71"/>
                  </a:cubicBezTo>
                  <a:cubicBezTo>
                    <a:pt x="832" y="56"/>
                    <a:pt x="846" y="46"/>
                    <a:pt x="861" y="47"/>
                  </a:cubicBezTo>
                  <a:cubicBezTo>
                    <a:pt x="875" y="49"/>
                    <a:pt x="883" y="63"/>
                    <a:pt x="879" y="78"/>
                  </a:cubicBezTo>
                  <a:close/>
                  <a:moveTo>
                    <a:pt x="897" y="159"/>
                  </a:moveTo>
                  <a:cubicBezTo>
                    <a:pt x="893" y="174"/>
                    <a:pt x="878" y="185"/>
                    <a:pt x="864" y="183"/>
                  </a:cubicBezTo>
                  <a:cubicBezTo>
                    <a:pt x="849" y="181"/>
                    <a:pt x="841" y="167"/>
                    <a:pt x="845" y="152"/>
                  </a:cubicBezTo>
                  <a:cubicBezTo>
                    <a:pt x="849" y="137"/>
                    <a:pt x="864" y="126"/>
                    <a:pt x="878" y="128"/>
                  </a:cubicBezTo>
                  <a:cubicBezTo>
                    <a:pt x="893" y="130"/>
                    <a:pt x="901" y="144"/>
                    <a:pt x="897" y="159"/>
                  </a:cubicBezTo>
                  <a:close/>
                  <a:moveTo>
                    <a:pt x="920" y="243"/>
                  </a:moveTo>
                  <a:cubicBezTo>
                    <a:pt x="916" y="258"/>
                    <a:pt x="901" y="268"/>
                    <a:pt x="887" y="266"/>
                  </a:cubicBezTo>
                  <a:cubicBezTo>
                    <a:pt x="872" y="265"/>
                    <a:pt x="863" y="251"/>
                    <a:pt x="867" y="236"/>
                  </a:cubicBezTo>
                  <a:cubicBezTo>
                    <a:pt x="871" y="221"/>
                    <a:pt x="886" y="210"/>
                    <a:pt x="901" y="212"/>
                  </a:cubicBezTo>
                  <a:cubicBezTo>
                    <a:pt x="915" y="214"/>
                    <a:pt x="924" y="227"/>
                    <a:pt x="920" y="243"/>
                  </a:cubicBezTo>
                  <a:close/>
                  <a:moveTo>
                    <a:pt x="959" y="89"/>
                  </a:moveTo>
                  <a:cubicBezTo>
                    <a:pt x="955" y="104"/>
                    <a:pt x="941" y="115"/>
                    <a:pt x="926" y="113"/>
                  </a:cubicBezTo>
                  <a:cubicBezTo>
                    <a:pt x="912" y="111"/>
                    <a:pt x="904" y="97"/>
                    <a:pt x="908" y="82"/>
                  </a:cubicBezTo>
                  <a:cubicBezTo>
                    <a:pt x="912" y="67"/>
                    <a:pt x="926" y="57"/>
                    <a:pt x="941" y="58"/>
                  </a:cubicBezTo>
                  <a:cubicBezTo>
                    <a:pt x="955" y="60"/>
                    <a:pt x="963" y="74"/>
                    <a:pt x="959" y="89"/>
                  </a:cubicBezTo>
                  <a:close/>
                  <a:moveTo>
                    <a:pt x="979" y="169"/>
                  </a:moveTo>
                  <a:cubicBezTo>
                    <a:pt x="975" y="184"/>
                    <a:pt x="960" y="195"/>
                    <a:pt x="946" y="193"/>
                  </a:cubicBezTo>
                  <a:cubicBezTo>
                    <a:pt x="931" y="192"/>
                    <a:pt x="923" y="178"/>
                    <a:pt x="927" y="163"/>
                  </a:cubicBezTo>
                  <a:cubicBezTo>
                    <a:pt x="930" y="148"/>
                    <a:pt x="945" y="137"/>
                    <a:pt x="959" y="139"/>
                  </a:cubicBezTo>
                  <a:cubicBezTo>
                    <a:pt x="974" y="141"/>
                    <a:pt x="982" y="154"/>
                    <a:pt x="979" y="169"/>
                  </a:cubicBezTo>
                  <a:close/>
                  <a:moveTo>
                    <a:pt x="1003" y="253"/>
                  </a:moveTo>
                  <a:cubicBezTo>
                    <a:pt x="999" y="268"/>
                    <a:pt x="985" y="279"/>
                    <a:pt x="970" y="277"/>
                  </a:cubicBezTo>
                  <a:cubicBezTo>
                    <a:pt x="955" y="275"/>
                    <a:pt x="946" y="261"/>
                    <a:pt x="950" y="246"/>
                  </a:cubicBezTo>
                  <a:cubicBezTo>
                    <a:pt x="954" y="231"/>
                    <a:pt x="969" y="220"/>
                    <a:pt x="983" y="222"/>
                  </a:cubicBezTo>
                  <a:cubicBezTo>
                    <a:pt x="998" y="224"/>
                    <a:pt x="1007" y="238"/>
                    <a:pt x="1003" y="253"/>
                  </a:cubicBezTo>
                  <a:close/>
                  <a:moveTo>
                    <a:pt x="1040" y="99"/>
                  </a:moveTo>
                  <a:cubicBezTo>
                    <a:pt x="1036" y="114"/>
                    <a:pt x="1021" y="125"/>
                    <a:pt x="1007" y="123"/>
                  </a:cubicBezTo>
                  <a:cubicBezTo>
                    <a:pt x="993" y="122"/>
                    <a:pt x="984" y="108"/>
                    <a:pt x="988" y="93"/>
                  </a:cubicBezTo>
                  <a:cubicBezTo>
                    <a:pt x="992" y="78"/>
                    <a:pt x="1006" y="67"/>
                    <a:pt x="1021" y="69"/>
                  </a:cubicBezTo>
                  <a:cubicBezTo>
                    <a:pt x="1035" y="70"/>
                    <a:pt x="1043" y="84"/>
                    <a:pt x="1040" y="99"/>
                  </a:cubicBezTo>
                  <a:close/>
                  <a:moveTo>
                    <a:pt x="1060" y="179"/>
                  </a:moveTo>
                  <a:cubicBezTo>
                    <a:pt x="1057" y="194"/>
                    <a:pt x="1042" y="205"/>
                    <a:pt x="1028" y="204"/>
                  </a:cubicBezTo>
                  <a:cubicBezTo>
                    <a:pt x="1013" y="202"/>
                    <a:pt x="1005" y="188"/>
                    <a:pt x="1008" y="173"/>
                  </a:cubicBezTo>
                  <a:cubicBezTo>
                    <a:pt x="1012" y="158"/>
                    <a:pt x="1026" y="147"/>
                    <a:pt x="1041" y="149"/>
                  </a:cubicBezTo>
                  <a:cubicBezTo>
                    <a:pt x="1055" y="151"/>
                    <a:pt x="1064" y="164"/>
                    <a:pt x="1060" y="179"/>
                  </a:cubicBezTo>
                  <a:close/>
                  <a:moveTo>
                    <a:pt x="1086" y="262"/>
                  </a:moveTo>
                  <a:cubicBezTo>
                    <a:pt x="1083" y="278"/>
                    <a:pt x="1068" y="289"/>
                    <a:pt x="1053" y="287"/>
                  </a:cubicBezTo>
                  <a:cubicBezTo>
                    <a:pt x="1039" y="285"/>
                    <a:pt x="1029" y="271"/>
                    <a:pt x="1033" y="256"/>
                  </a:cubicBezTo>
                  <a:cubicBezTo>
                    <a:pt x="1037" y="241"/>
                    <a:pt x="1051" y="230"/>
                    <a:pt x="1066" y="232"/>
                  </a:cubicBezTo>
                  <a:cubicBezTo>
                    <a:pt x="1080" y="234"/>
                    <a:pt x="1089" y="247"/>
                    <a:pt x="1086" y="262"/>
                  </a:cubicBezTo>
                  <a:close/>
                  <a:moveTo>
                    <a:pt x="1120" y="109"/>
                  </a:moveTo>
                  <a:cubicBezTo>
                    <a:pt x="1117" y="124"/>
                    <a:pt x="1102" y="135"/>
                    <a:pt x="1088" y="133"/>
                  </a:cubicBezTo>
                  <a:cubicBezTo>
                    <a:pt x="1074" y="132"/>
                    <a:pt x="1065" y="118"/>
                    <a:pt x="1069" y="103"/>
                  </a:cubicBezTo>
                  <a:cubicBezTo>
                    <a:pt x="1072" y="88"/>
                    <a:pt x="1086" y="77"/>
                    <a:pt x="1101" y="78"/>
                  </a:cubicBezTo>
                  <a:cubicBezTo>
                    <a:pt x="1115" y="80"/>
                    <a:pt x="1123" y="94"/>
                    <a:pt x="1120" y="109"/>
                  </a:cubicBezTo>
                  <a:close/>
                  <a:moveTo>
                    <a:pt x="1122" y="158"/>
                  </a:moveTo>
                  <a:cubicBezTo>
                    <a:pt x="1136" y="160"/>
                    <a:pt x="1145" y="174"/>
                    <a:pt x="1142" y="189"/>
                  </a:cubicBezTo>
                  <a:cubicBezTo>
                    <a:pt x="1139" y="204"/>
                    <a:pt x="1124" y="215"/>
                    <a:pt x="1110" y="213"/>
                  </a:cubicBezTo>
                  <a:cubicBezTo>
                    <a:pt x="1095" y="212"/>
                    <a:pt x="1086" y="198"/>
                    <a:pt x="1090" y="183"/>
                  </a:cubicBezTo>
                  <a:cubicBezTo>
                    <a:pt x="1093" y="168"/>
                    <a:pt x="1108" y="157"/>
                    <a:pt x="1122" y="158"/>
                  </a:cubicBezTo>
                  <a:close/>
                  <a:moveTo>
                    <a:pt x="1175" y="35"/>
                  </a:moveTo>
                  <a:cubicBezTo>
                    <a:pt x="1172" y="50"/>
                    <a:pt x="1158" y="61"/>
                    <a:pt x="1144" y="60"/>
                  </a:cubicBezTo>
                  <a:cubicBezTo>
                    <a:pt x="1130" y="58"/>
                    <a:pt x="1121" y="44"/>
                    <a:pt x="1124" y="29"/>
                  </a:cubicBezTo>
                  <a:cubicBezTo>
                    <a:pt x="1128" y="14"/>
                    <a:pt x="1142" y="3"/>
                    <a:pt x="1156" y="5"/>
                  </a:cubicBezTo>
                  <a:cubicBezTo>
                    <a:pt x="1170" y="6"/>
                    <a:pt x="1178" y="20"/>
                    <a:pt x="1175" y="35"/>
                  </a:cubicBezTo>
                  <a:close/>
                  <a:moveTo>
                    <a:pt x="1201" y="118"/>
                  </a:moveTo>
                  <a:cubicBezTo>
                    <a:pt x="1198" y="133"/>
                    <a:pt x="1183" y="144"/>
                    <a:pt x="1169" y="142"/>
                  </a:cubicBezTo>
                  <a:cubicBezTo>
                    <a:pt x="1155" y="141"/>
                    <a:pt x="1146" y="127"/>
                    <a:pt x="1149" y="112"/>
                  </a:cubicBezTo>
                  <a:cubicBezTo>
                    <a:pt x="1153" y="97"/>
                    <a:pt x="1167" y="86"/>
                    <a:pt x="1181" y="88"/>
                  </a:cubicBezTo>
                  <a:cubicBezTo>
                    <a:pt x="1195" y="89"/>
                    <a:pt x="1204" y="103"/>
                    <a:pt x="1201" y="118"/>
                  </a:cubicBezTo>
                  <a:close/>
                  <a:moveTo>
                    <a:pt x="1254" y="44"/>
                  </a:moveTo>
                  <a:cubicBezTo>
                    <a:pt x="1251" y="59"/>
                    <a:pt x="1238" y="70"/>
                    <a:pt x="1224" y="68"/>
                  </a:cubicBezTo>
                  <a:cubicBezTo>
                    <a:pt x="1209" y="67"/>
                    <a:pt x="1201" y="53"/>
                    <a:pt x="1204" y="38"/>
                  </a:cubicBezTo>
                  <a:cubicBezTo>
                    <a:pt x="1207" y="23"/>
                    <a:pt x="1221" y="12"/>
                    <a:pt x="1235" y="14"/>
                  </a:cubicBezTo>
                  <a:cubicBezTo>
                    <a:pt x="1249" y="15"/>
                    <a:pt x="1257" y="29"/>
                    <a:pt x="1254" y="44"/>
                  </a:cubicBezTo>
                  <a:close/>
                  <a:moveTo>
                    <a:pt x="1281" y="126"/>
                  </a:moveTo>
                  <a:cubicBezTo>
                    <a:pt x="1278" y="141"/>
                    <a:pt x="1264" y="153"/>
                    <a:pt x="1250" y="151"/>
                  </a:cubicBezTo>
                  <a:cubicBezTo>
                    <a:pt x="1236" y="150"/>
                    <a:pt x="1227" y="136"/>
                    <a:pt x="1230" y="121"/>
                  </a:cubicBezTo>
                  <a:cubicBezTo>
                    <a:pt x="1233" y="106"/>
                    <a:pt x="1247" y="95"/>
                    <a:pt x="1261" y="96"/>
                  </a:cubicBezTo>
                  <a:cubicBezTo>
                    <a:pt x="1275" y="98"/>
                    <a:pt x="1284" y="111"/>
                    <a:pt x="1281" y="126"/>
                  </a:cubicBezTo>
                  <a:close/>
                  <a:moveTo>
                    <a:pt x="1285" y="176"/>
                  </a:moveTo>
                  <a:cubicBezTo>
                    <a:pt x="1299" y="177"/>
                    <a:pt x="1308" y="190"/>
                    <a:pt x="1306" y="206"/>
                  </a:cubicBezTo>
                  <a:cubicBezTo>
                    <a:pt x="1303" y="221"/>
                    <a:pt x="1289" y="232"/>
                    <a:pt x="1274" y="230"/>
                  </a:cubicBezTo>
                  <a:cubicBezTo>
                    <a:pt x="1260" y="229"/>
                    <a:pt x="1250" y="216"/>
                    <a:pt x="1253" y="200"/>
                  </a:cubicBezTo>
                  <a:cubicBezTo>
                    <a:pt x="1256" y="185"/>
                    <a:pt x="1270" y="174"/>
                    <a:pt x="1285" y="176"/>
                  </a:cubicBezTo>
                  <a:close/>
                  <a:moveTo>
                    <a:pt x="1334" y="52"/>
                  </a:moveTo>
                  <a:cubicBezTo>
                    <a:pt x="1331" y="67"/>
                    <a:pt x="1317" y="78"/>
                    <a:pt x="1303" y="77"/>
                  </a:cubicBezTo>
                  <a:cubicBezTo>
                    <a:pt x="1289" y="75"/>
                    <a:pt x="1280" y="62"/>
                    <a:pt x="1283" y="47"/>
                  </a:cubicBezTo>
                  <a:cubicBezTo>
                    <a:pt x="1286" y="32"/>
                    <a:pt x="1300" y="20"/>
                    <a:pt x="1314" y="22"/>
                  </a:cubicBezTo>
                  <a:cubicBezTo>
                    <a:pt x="1328" y="23"/>
                    <a:pt x="1337" y="37"/>
                    <a:pt x="1334" y="52"/>
                  </a:cubicBezTo>
                  <a:close/>
                  <a:moveTo>
                    <a:pt x="1362" y="134"/>
                  </a:moveTo>
                  <a:cubicBezTo>
                    <a:pt x="1359" y="149"/>
                    <a:pt x="1346" y="160"/>
                    <a:pt x="1331" y="159"/>
                  </a:cubicBezTo>
                  <a:cubicBezTo>
                    <a:pt x="1317" y="158"/>
                    <a:pt x="1308" y="144"/>
                    <a:pt x="1310" y="129"/>
                  </a:cubicBezTo>
                  <a:cubicBezTo>
                    <a:pt x="1313" y="114"/>
                    <a:pt x="1327" y="103"/>
                    <a:pt x="1341" y="104"/>
                  </a:cubicBezTo>
                  <a:cubicBezTo>
                    <a:pt x="1355" y="106"/>
                    <a:pt x="1365" y="119"/>
                    <a:pt x="1362" y="134"/>
                  </a:cubicBezTo>
                  <a:close/>
                  <a:moveTo>
                    <a:pt x="1413" y="59"/>
                  </a:moveTo>
                  <a:cubicBezTo>
                    <a:pt x="1411" y="75"/>
                    <a:pt x="1397" y="86"/>
                    <a:pt x="1383" y="84"/>
                  </a:cubicBezTo>
                  <a:cubicBezTo>
                    <a:pt x="1369" y="83"/>
                    <a:pt x="1360" y="70"/>
                    <a:pt x="1363" y="55"/>
                  </a:cubicBezTo>
                  <a:cubicBezTo>
                    <a:pt x="1365" y="39"/>
                    <a:pt x="1379" y="28"/>
                    <a:pt x="1393" y="30"/>
                  </a:cubicBezTo>
                  <a:cubicBezTo>
                    <a:pt x="1407" y="31"/>
                    <a:pt x="1416" y="44"/>
                    <a:pt x="1413" y="59"/>
                  </a:cubicBezTo>
                  <a:close/>
                  <a:moveTo>
                    <a:pt x="1443" y="141"/>
                  </a:moveTo>
                  <a:cubicBezTo>
                    <a:pt x="1440" y="157"/>
                    <a:pt x="1427" y="168"/>
                    <a:pt x="1412" y="167"/>
                  </a:cubicBezTo>
                  <a:cubicBezTo>
                    <a:pt x="1398" y="165"/>
                    <a:pt x="1389" y="152"/>
                    <a:pt x="1391" y="137"/>
                  </a:cubicBezTo>
                  <a:cubicBezTo>
                    <a:pt x="1394" y="122"/>
                    <a:pt x="1407" y="110"/>
                    <a:pt x="1421" y="112"/>
                  </a:cubicBezTo>
                  <a:cubicBezTo>
                    <a:pt x="1436" y="113"/>
                    <a:pt x="1445" y="126"/>
                    <a:pt x="1443" y="141"/>
                  </a:cubicBezTo>
                  <a:close/>
                  <a:moveTo>
                    <a:pt x="1493" y="66"/>
                  </a:moveTo>
                  <a:cubicBezTo>
                    <a:pt x="1491" y="81"/>
                    <a:pt x="1477" y="93"/>
                    <a:pt x="1463" y="92"/>
                  </a:cubicBezTo>
                  <a:cubicBezTo>
                    <a:pt x="1449" y="90"/>
                    <a:pt x="1440" y="77"/>
                    <a:pt x="1442" y="62"/>
                  </a:cubicBezTo>
                  <a:cubicBezTo>
                    <a:pt x="1445" y="47"/>
                    <a:pt x="1458" y="35"/>
                    <a:pt x="1472" y="37"/>
                  </a:cubicBezTo>
                  <a:cubicBezTo>
                    <a:pt x="1486" y="38"/>
                    <a:pt x="1495" y="51"/>
                    <a:pt x="1493" y="66"/>
                  </a:cubicBezTo>
                  <a:close/>
                  <a:moveTo>
                    <a:pt x="1523" y="148"/>
                  </a:moveTo>
                  <a:cubicBezTo>
                    <a:pt x="1521" y="163"/>
                    <a:pt x="1508" y="175"/>
                    <a:pt x="1494" y="173"/>
                  </a:cubicBezTo>
                  <a:cubicBezTo>
                    <a:pt x="1479" y="172"/>
                    <a:pt x="1470" y="159"/>
                    <a:pt x="1472" y="144"/>
                  </a:cubicBezTo>
                  <a:cubicBezTo>
                    <a:pt x="1474" y="129"/>
                    <a:pt x="1488" y="117"/>
                    <a:pt x="1502" y="119"/>
                  </a:cubicBezTo>
                  <a:cubicBezTo>
                    <a:pt x="1516" y="120"/>
                    <a:pt x="1526" y="133"/>
                    <a:pt x="1523" y="148"/>
                  </a:cubicBezTo>
                  <a:close/>
                  <a:moveTo>
                    <a:pt x="1573" y="73"/>
                  </a:moveTo>
                  <a:cubicBezTo>
                    <a:pt x="1570" y="88"/>
                    <a:pt x="1557" y="99"/>
                    <a:pt x="1543" y="98"/>
                  </a:cubicBezTo>
                  <a:cubicBezTo>
                    <a:pt x="1529" y="97"/>
                    <a:pt x="1519" y="84"/>
                    <a:pt x="1522" y="69"/>
                  </a:cubicBezTo>
                  <a:cubicBezTo>
                    <a:pt x="1524" y="54"/>
                    <a:pt x="1537" y="42"/>
                    <a:pt x="1551" y="43"/>
                  </a:cubicBezTo>
                  <a:cubicBezTo>
                    <a:pt x="1565" y="44"/>
                    <a:pt x="1575" y="58"/>
                    <a:pt x="1573" y="73"/>
                  </a:cubicBezTo>
                  <a:close/>
                  <a:moveTo>
                    <a:pt x="1604" y="154"/>
                  </a:moveTo>
                  <a:cubicBezTo>
                    <a:pt x="1602" y="169"/>
                    <a:pt x="1589" y="181"/>
                    <a:pt x="1575" y="180"/>
                  </a:cubicBezTo>
                  <a:cubicBezTo>
                    <a:pt x="1560" y="179"/>
                    <a:pt x="1551" y="165"/>
                    <a:pt x="1553" y="150"/>
                  </a:cubicBezTo>
                  <a:cubicBezTo>
                    <a:pt x="1555" y="135"/>
                    <a:pt x="1568" y="124"/>
                    <a:pt x="1582" y="125"/>
                  </a:cubicBezTo>
                  <a:cubicBezTo>
                    <a:pt x="1596" y="126"/>
                    <a:pt x="1606" y="139"/>
                    <a:pt x="1604" y="154"/>
                  </a:cubicBezTo>
                  <a:close/>
                  <a:moveTo>
                    <a:pt x="1652" y="79"/>
                  </a:moveTo>
                  <a:cubicBezTo>
                    <a:pt x="1650" y="94"/>
                    <a:pt x="1637" y="105"/>
                    <a:pt x="1623" y="104"/>
                  </a:cubicBezTo>
                  <a:cubicBezTo>
                    <a:pt x="1609" y="103"/>
                    <a:pt x="1599" y="90"/>
                    <a:pt x="1601" y="75"/>
                  </a:cubicBezTo>
                  <a:cubicBezTo>
                    <a:pt x="1603" y="60"/>
                    <a:pt x="1616" y="48"/>
                    <a:pt x="1630" y="49"/>
                  </a:cubicBezTo>
                  <a:cubicBezTo>
                    <a:pt x="1644" y="50"/>
                    <a:pt x="1654" y="63"/>
                    <a:pt x="1652" y="79"/>
                  </a:cubicBezTo>
                  <a:close/>
                  <a:moveTo>
                    <a:pt x="1685" y="160"/>
                  </a:moveTo>
                  <a:cubicBezTo>
                    <a:pt x="1683" y="175"/>
                    <a:pt x="1670" y="186"/>
                    <a:pt x="1656" y="185"/>
                  </a:cubicBezTo>
                  <a:cubicBezTo>
                    <a:pt x="1642" y="184"/>
                    <a:pt x="1632" y="171"/>
                    <a:pt x="1633" y="156"/>
                  </a:cubicBezTo>
                  <a:cubicBezTo>
                    <a:pt x="1635" y="141"/>
                    <a:pt x="1648" y="130"/>
                    <a:pt x="1663" y="131"/>
                  </a:cubicBezTo>
                  <a:cubicBezTo>
                    <a:pt x="1677" y="132"/>
                    <a:pt x="1687" y="145"/>
                    <a:pt x="1685" y="160"/>
                  </a:cubicBezTo>
                  <a:close/>
                  <a:moveTo>
                    <a:pt x="1732" y="84"/>
                  </a:moveTo>
                  <a:cubicBezTo>
                    <a:pt x="1730" y="99"/>
                    <a:pt x="1717" y="111"/>
                    <a:pt x="1703" y="110"/>
                  </a:cubicBezTo>
                  <a:cubicBezTo>
                    <a:pt x="1689" y="109"/>
                    <a:pt x="1679" y="96"/>
                    <a:pt x="1681" y="81"/>
                  </a:cubicBezTo>
                  <a:cubicBezTo>
                    <a:pt x="1683" y="65"/>
                    <a:pt x="1696" y="54"/>
                    <a:pt x="1709" y="55"/>
                  </a:cubicBezTo>
                  <a:cubicBezTo>
                    <a:pt x="1723" y="56"/>
                    <a:pt x="1733" y="69"/>
                    <a:pt x="1732" y="84"/>
                  </a:cubicBezTo>
                  <a:close/>
                  <a:moveTo>
                    <a:pt x="1766" y="165"/>
                  </a:moveTo>
                  <a:cubicBezTo>
                    <a:pt x="1764" y="180"/>
                    <a:pt x="1752" y="191"/>
                    <a:pt x="1737" y="191"/>
                  </a:cubicBezTo>
                  <a:cubicBezTo>
                    <a:pt x="1723" y="190"/>
                    <a:pt x="1713" y="177"/>
                    <a:pt x="1714" y="162"/>
                  </a:cubicBezTo>
                  <a:cubicBezTo>
                    <a:pt x="1716" y="146"/>
                    <a:pt x="1729" y="135"/>
                    <a:pt x="1743" y="136"/>
                  </a:cubicBezTo>
                  <a:cubicBezTo>
                    <a:pt x="1757" y="137"/>
                    <a:pt x="1767" y="150"/>
                    <a:pt x="1766" y="165"/>
                  </a:cubicBezTo>
                  <a:close/>
                  <a:moveTo>
                    <a:pt x="1811" y="89"/>
                  </a:moveTo>
                  <a:cubicBezTo>
                    <a:pt x="1810" y="104"/>
                    <a:pt x="1797" y="115"/>
                    <a:pt x="1783" y="115"/>
                  </a:cubicBezTo>
                  <a:cubicBezTo>
                    <a:pt x="1769" y="114"/>
                    <a:pt x="1759" y="101"/>
                    <a:pt x="1761" y="86"/>
                  </a:cubicBezTo>
                  <a:cubicBezTo>
                    <a:pt x="1762" y="70"/>
                    <a:pt x="1775" y="59"/>
                    <a:pt x="1789" y="60"/>
                  </a:cubicBezTo>
                  <a:cubicBezTo>
                    <a:pt x="1803" y="61"/>
                    <a:pt x="1813" y="73"/>
                    <a:pt x="1811" y="89"/>
                  </a:cubicBezTo>
                  <a:close/>
                  <a:moveTo>
                    <a:pt x="1847" y="169"/>
                  </a:moveTo>
                  <a:cubicBezTo>
                    <a:pt x="1846" y="184"/>
                    <a:pt x="1833" y="196"/>
                    <a:pt x="1819" y="195"/>
                  </a:cubicBezTo>
                  <a:cubicBezTo>
                    <a:pt x="1804" y="194"/>
                    <a:pt x="1794" y="181"/>
                    <a:pt x="1795" y="166"/>
                  </a:cubicBezTo>
                  <a:cubicBezTo>
                    <a:pt x="1797" y="151"/>
                    <a:pt x="1809" y="140"/>
                    <a:pt x="1823" y="140"/>
                  </a:cubicBezTo>
                  <a:cubicBezTo>
                    <a:pt x="1838" y="141"/>
                    <a:pt x="1848" y="154"/>
                    <a:pt x="1847" y="169"/>
                  </a:cubicBezTo>
                  <a:close/>
                  <a:moveTo>
                    <a:pt x="1891" y="93"/>
                  </a:moveTo>
                  <a:cubicBezTo>
                    <a:pt x="1890" y="108"/>
                    <a:pt x="1878" y="120"/>
                    <a:pt x="1863" y="119"/>
                  </a:cubicBezTo>
                  <a:cubicBezTo>
                    <a:pt x="1849" y="118"/>
                    <a:pt x="1839" y="105"/>
                    <a:pt x="1840" y="90"/>
                  </a:cubicBezTo>
                  <a:cubicBezTo>
                    <a:pt x="1842" y="75"/>
                    <a:pt x="1854" y="63"/>
                    <a:pt x="1868" y="64"/>
                  </a:cubicBezTo>
                  <a:cubicBezTo>
                    <a:pt x="1882" y="65"/>
                    <a:pt x="1892" y="78"/>
                    <a:pt x="1891" y="93"/>
                  </a:cubicBezTo>
                  <a:close/>
                  <a:moveTo>
                    <a:pt x="1928" y="173"/>
                  </a:moveTo>
                  <a:cubicBezTo>
                    <a:pt x="1927" y="188"/>
                    <a:pt x="1914" y="200"/>
                    <a:pt x="1900" y="199"/>
                  </a:cubicBezTo>
                  <a:cubicBezTo>
                    <a:pt x="1886" y="198"/>
                    <a:pt x="1875" y="186"/>
                    <a:pt x="1876" y="170"/>
                  </a:cubicBezTo>
                  <a:cubicBezTo>
                    <a:pt x="1877" y="155"/>
                    <a:pt x="1890" y="144"/>
                    <a:pt x="1904" y="144"/>
                  </a:cubicBezTo>
                  <a:cubicBezTo>
                    <a:pt x="1918" y="145"/>
                    <a:pt x="1929" y="158"/>
                    <a:pt x="1928" y="173"/>
                  </a:cubicBezTo>
                  <a:close/>
                  <a:moveTo>
                    <a:pt x="1971" y="96"/>
                  </a:moveTo>
                  <a:cubicBezTo>
                    <a:pt x="1970" y="111"/>
                    <a:pt x="1958" y="123"/>
                    <a:pt x="1944" y="123"/>
                  </a:cubicBezTo>
                  <a:cubicBezTo>
                    <a:pt x="1929" y="122"/>
                    <a:pt x="1919" y="109"/>
                    <a:pt x="1920" y="94"/>
                  </a:cubicBezTo>
                  <a:cubicBezTo>
                    <a:pt x="1921" y="79"/>
                    <a:pt x="1933" y="67"/>
                    <a:pt x="1947" y="68"/>
                  </a:cubicBezTo>
                  <a:cubicBezTo>
                    <a:pt x="1961" y="68"/>
                    <a:pt x="1972" y="81"/>
                    <a:pt x="1971" y="96"/>
                  </a:cubicBezTo>
                  <a:close/>
                  <a:moveTo>
                    <a:pt x="2009" y="176"/>
                  </a:moveTo>
                  <a:cubicBezTo>
                    <a:pt x="2008" y="191"/>
                    <a:pt x="1996" y="203"/>
                    <a:pt x="1981" y="203"/>
                  </a:cubicBezTo>
                  <a:cubicBezTo>
                    <a:pt x="1967" y="202"/>
                    <a:pt x="1956" y="189"/>
                    <a:pt x="1957" y="174"/>
                  </a:cubicBezTo>
                  <a:cubicBezTo>
                    <a:pt x="1958" y="159"/>
                    <a:pt x="1970" y="147"/>
                    <a:pt x="1984" y="148"/>
                  </a:cubicBezTo>
                  <a:cubicBezTo>
                    <a:pt x="1999" y="148"/>
                    <a:pt x="2009" y="161"/>
                    <a:pt x="2009" y="176"/>
                  </a:cubicBezTo>
                  <a:close/>
                  <a:moveTo>
                    <a:pt x="2051" y="99"/>
                  </a:moveTo>
                  <a:cubicBezTo>
                    <a:pt x="2050" y="114"/>
                    <a:pt x="2038" y="126"/>
                    <a:pt x="2024" y="126"/>
                  </a:cubicBezTo>
                  <a:cubicBezTo>
                    <a:pt x="2010" y="125"/>
                    <a:pt x="1999" y="113"/>
                    <a:pt x="2000" y="97"/>
                  </a:cubicBezTo>
                  <a:cubicBezTo>
                    <a:pt x="2001" y="82"/>
                    <a:pt x="2013" y="70"/>
                    <a:pt x="2027" y="71"/>
                  </a:cubicBezTo>
                  <a:cubicBezTo>
                    <a:pt x="2041" y="72"/>
                    <a:pt x="2051" y="84"/>
                    <a:pt x="2051" y="99"/>
                  </a:cubicBezTo>
                  <a:close/>
                  <a:moveTo>
                    <a:pt x="2090" y="179"/>
                  </a:moveTo>
                  <a:cubicBezTo>
                    <a:pt x="2089" y="194"/>
                    <a:pt x="2077" y="206"/>
                    <a:pt x="2063" y="205"/>
                  </a:cubicBezTo>
                  <a:cubicBezTo>
                    <a:pt x="2048" y="205"/>
                    <a:pt x="2037" y="192"/>
                    <a:pt x="2038" y="177"/>
                  </a:cubicBezTo>
                  <a:cubicBezTo>
                    <a:pt x="2039" y="162"/>
                    <a:pt x="2051" y="150"/>
                    <a:pt x="2065" y="151"/>
                  </a:cubicBezTo>
                  <a:cubicBezTo>
                    <a:pt x="2079" y="151"/>
                    <a:pt x="2090" y="164"/>
                    <a:pt x="2090" y="179"/>
                  </a:cubicBezTo>
                  <a:close/>
                  <a:moveTo>
                    <a:pt x="2130" y="102"/>
                  </a:moveTo>
                  <a:cubicBezTo>
                    <a:pt x="2130" y="117"/>
                    <a:pt x="2118" y="129"/>
                    <a:pt x="2104" y="128"/>
                  </a:cubicBezTo>
                  <a:cubicBezTo>
                    <a:pt x="2090" y="128"/>
                    <a:pt x="2079" y="115"/>
                    <a:pt x="2080" y="100"/>
                  </a:cubicBezTo>
                  <a:cubicBezTo>
                    <a:pt x="2080" y="85"/>
                    <a:pt x="2092" y="73"/>
                    <a:pt x="2106" y="74"/>
                  </a:cubicBezTo>
                  <a:cubicBezTo>
                    <a:pt x="2120" y="74"/>
                    <a:pt x="2131" y="87"/>
                    <a:pt x="2130" y="102"/>
                  </a:cubicBezTo>
                  <a:close/>
                  <a:moveTo>
                    <a:pt x="2171" y="181"/>
                  </a:moveTo>
                  <a:cubicBezTo>
                    <a:pt x="2170" y="196"/>
                    <a:pt x="2158" y="208"/>
                    <a:pt x="2144" y="208"/>
                  </a:cubicBezTo>
                  <a:cubicBezTo>
                    <a:pt x="2130" y="207"/>
                    <a:pt x="2118" y="195"/>
                    <a:pt x="2119" y="180"/>
                  </a:cubicBezTo>
                  <a:cubicBezTo>
                    <a:pt x="2119" y="164"/>
                    <a:pt x="2131" y="152"/>
                    <a:pt x="2146" y="153"/>
                  </a:cubicBezTo>
                  <a:cubicBezTo>
                    <a:pt x="2160" y="153"/>
                    <a:pt x="2171" y="166"/>
                    <a:pt x="2171" y="181"/>
                  </a:cubicBezTo>
                  <a:close/>
                  <a:moveTo>
                    <a:pt x="2210" y="104"/>
                  </a:moveTo>
                  <a:cubicBezTo>
                    <a:pt x="2210" y="119"/>
                    <a:pt x="2198" y="131"/>
                    <a:pt x="2184" y="130"/>
                  </a:cubicBezTo>
                  <a:cubicBezTo>
                    <a:pt x="2170" y="130"/>
                    <a:pt x="2159" y="118"/>
                    <a:pt x="2159" y="102"/>
                  </a:cubicBezTo>
                  <a:cubicBezTo>
                    <a:pt x="2160" y="87"/>
                    <a:pt x="2171" y="75"/>
                    <a:pt x="2185" y="76"/>
                  </a:cubicBezTo>
                  <a:cubicBezTo>
                    <a:pt x="2199" y="76"/>
                    <a:pt x="2210" y="88"/>
                    <a:pt x="2210" y="104"/>
                  </a:cubicBezTo>
                  <a:close/>
                  <a:moveTo>
                    <a:pt x="2253" y="29"/>
                  </a:moveTo>
                  <a:cubicBezTo>
                    <a:pt x="2253" y="44"/>
                    <a:pt x="2241" y="56"/>
                    <a:pt x="2227" y="56"/>
                  </a:cubicBezTo>
                  <a:cubicBezTo>
                    <a:pt x="2213" y="56"/>
                    <a:pt x="2202" y="43"/>
                    <a:pt x="2203" y="28"/>
                  </a:cubicBezTo>
                  <a:cubicBezTo>
                    <a:pt x="2203" y="13"/>
                    <a:pt x="2214" y="1"/>
                    <a:pt x="2228" y="1"/>
                  </a:cubicBezTo>
                  <a:cubicBezTo>
                    <a:pt x="2242" y="2"/>
                    <a:pt x="2253" y="14"/>
                    <a:pt x="2253" y="29"/>
                  </a:cubicBezTo>
                  <a:close/>
                  <a:moveTo>
                    <a:pt x="2265" y="77"/>
                  </a:moveTo>
                  <a:cubicBezTo>
                    <a:pt x="2279" y="77"/>
                    <a:pt x="2290" y="90"/>
                    <a:pt x="2290" y="105"/>
                  </a:cubicBezTo>
                  <a:cubicBezTo>
                    <a:pt x="2290" y="120"/>
                    <a:pt x="2279" y="132"/>
                    <a:pt x="2264" y="132"/>
                  </a:cubicBezTo>
                  <a:cubicBezTo>
                    <a:pt x="2250" y="132"/>
                    <a:pt x="2239" y="119"/>
                    <a:pt x="2239" y="104"/>
                  </a:cubicBezTo>
                  <a:cubicBezTo>
                    <a:pt x="2239" y="89"/>
                    <a:pt x="2251" y="77"/>
                    <a:pt x="2265" y="77"/>
                  </a:cubicBezTo>
                  <a:close/>
                  <a:moveTo>
                    <a:pt x="2332" y="30"/>
                  </a:moveTo>
                  <a:cubicBezTo>
                    <a:pt x="2332" y="45"/>
                    <a:pt x="2320" y="57"/>
                    <a:pt x="2306" y="57"/>
                  </a:cubicBezTo>
                  <a:cubicBezTo>
                    <a:pt x="2293" y="57"/>
                    <a:pt x="2281" y="45"/>
                    <a:pt x="2281" y="30"/>
                  </a:cubicBezTo>
                  <a:cubicBezTo>
                    <a:pt x="2281" y="14"/>
                    <a:pt x="2293" y="2"/>
                    <a:pt x="2306" y="3"/>
                  </a:cubicBezTo>
                  <a:cubicBezTo>
                    <a:pt x="2320" y="3"/>
                    <a:pt x="2331" y="15"/>
                    <a:pt x="2332" y="30"/>
                  </a:cubicBezTo>
                  <a:close/>
                  <a:moveTo>
                    <a:pt x="2344" y="78"/>
                  </a:moveTo>
                  <a:cubicBezTo>
                    <a:pt x="2358" y="78"/>
                    <a:pt x="2370" y="91"/>
                    <a:pt x="2370" y="106"/>
                  </a:cubicBezTo>
                  <a:cubicBezTo>
                    <a:pt x="2370" y="121"/>
                    <a:pt x="2359" y="133"/>
                    <a:pt x="2345" y="133"/>
                  </a:cubicBezTo>
                  <a:cubicBezTo>
                    <a:pt x="2330" y="133"/>
                    <a:pt x="2319" y="120"/>
                    <a:pt x="2319" y="105"/>
                  </a:cubicBezTo>
                  <a:cubicBezTo>
                    <a:pt x="2319" y="90"/>
                    <a:pt x="2330" y="78"/>
                    <a:pt x="2344" y="78"/>
                  </a:cubicBezTo>
                  <a:close/>
                  <a:moveTo>
                    <a:pt x="2410" y="31"/>
                  </a:moveTo>
                  <a:cubicBezTo>
                    <a:pt x="2411" y="46"/>
                    <a:pt x="2399" y="58"/>
                    <a:pt x="2386" y="58"/>
                  </a:cubicBezTo>
                  <a:cubicBezTo>
                    <a:pt x="2372" y="58"/>
                    <a:pt x="2360" y="46"/>
                    <a:pt x="2360" y="30"/>
                  </a:cubicBezTo>
                  <a:cubicBezTo>
                    <a:pt x="2360" y="15"/>
                    <a:pt x="2371" y="3"/>
                    <a:pt x="2385" y="3"/>
                  </a:cubicBezTo>
                  <a:cubicBezTo>
                    <a:pt x="2398" y="3"/>
                    <a:pt x="2410" y="16"/>
                    <a:pt x="2410" y="31"/>
                  </a:cubicBezTo>
                  <a:close/>
                  <a:moveTo>
                    <a:pt x="2424" y="79"/>
                  </a:moveTo>
                  <a:cubicBezTo>
                    <a:pt x="2438" y="79"/>
                    <a:pt x="2449" y="91"/>
                    <a:pt x="2450" y="106"/>
                  </a:cubicBezTo>
                  <a:cubicBezTo>
                    <a:pt x="2450" y="121"/>
                    <a:pt x="2439" y="133"/>
                    <a:pt x="2425" y="133"/>
                  </a:cubicBezTo>
                  <a:cubicBezTo>
                    <a:pt x="2411" y="133"/>
                    <a:pt x="2399" y="121"/>
                    <a:pt x="2399" y="106"/>
                  </a:cubicBezTo>
                  <a:cubicBezTo>
                    <a:pt x="2398" y="91"/>
                    <a:pt x="2410" y="79"/>
                    <a:pt x="2424" y="79"/>
                  </a:cubicBezTo>
                  <a:close/>
                  <a:moveTo>
                    <a:pt x="2489" y="31"/>
                  </a:moveTo>
                  <a:cubicBezTo>
                    <a:pt x="2489" y="46"/>
                    <a:pt x="2479" y="58"/>
                    <a:pt x="2465" y="58"/>
                  </a:cubicBezTo>
                  <a:cubicBezTo>
                    <a:pt x="2451" y="58"/>
                    <a:pt x="2439" y="46"/>
                    <a:pt x="2439" y="31"/>
                  </a:cubicBezTo>
                  <a:cubicBezTo>
                    <a:pt x="2438" y="16"/>
                    <a:pt x="2449" y="3"/>
                    <a:pt x="2463" y="3"/>
                  </a:cubicBezTo>
                  <a:cubicBezTo>
                    <a:pt x="2477" y="3"/>
                    <a:pt x="2488" y="16"/>
                    <a:pt x="2489" y="31"/>
                  </a:cubicBezTo>
                  <a:close/>
                  <a:moveTo>
                    <a:pt x="2503" y="78"/>
                  </a:moveTo>
                  <a:cubicBezTo>
                    <a:pt x="2517" y="78"/>
                    <a:pt x="2529" y="90"/>
                    <a:pt x="2529" y="105"/>
                  </a:cubicBezTo>
                  <a:cubicBezTo>
                    <a:pt x="2530" y="120"/>
                    <a:pt x="2519" y="133"/>
                    <a:pt x="2505" y="133"/>
                  </a:cubicBezTo>
                  <a:cubicBezTo>
                    <a:pt x="2491" y="133"/>
                    <a:pt x="2479" y="121"/>
                    <a:pt x="2479" y="106"/>
                  </a:cubicBezTo>
                  <a:cubicBezTo>
                    <a:pt x="2478" y="91"/>
                    <a:pt x="2489" y="78"/>
                    <a:pt x="2503" y="78"/>
                  </a:cubicBezTo>
                  <a:close/>
                  <a:moveTo>
                    <a:pt x="2544" y="58"/>
                  </a:moveTo>
                  <a:cubicBezTo>
                    <a:pt x="2530" y="58"/>
                    <a:pt x="2518" y="46"/>
                    <a:pt x="2517" y="30"/>
                  </a:cubicBezTo>
                  <a:cubicBezTo>
                    <a:pt x="2517" y="15"/>
                    <a:pt x="2527" y="3"/>
                    <a:pt x="2541" y="3"/>
                  </a:cubicBezTo>
                  <a:cubicBezTo>
                    <a:pt x="2555" y="3"/>
                    <a:pt x="2567" y="15"/>
                    <a:pt x="2568" y="30"/>
                  </a:cubicBezTo>
                  <a:cubicBezTo>
                    <a:pt x="2568" y="45"/>
                    <a:pt x="2558" y="57"/>
                    <a:pt x="2544" y="58"/>
                  </a:cubicBezTo>
                  <a:close/>
                  <a:moveTo>
                    <a:pt x="2582" y="78"/>
                  </a:moveTo>
                  <a:cubicBezTo>
                    <a:pt x="2596" y="77"/>
                    <a:pt x="2608" y="89"/>
                    <a:pt x="2609" y="104"/>
                  </a:cubicBezTo>
                  <a:cubicBezTo>
                    <a:pt x="2610" y="119"/>
                    <a:pt x="2599" y="132"/>
                    <a:pt x="2585" y="132"/>
                  </a:cubicBezTo>
                  <a:cubicBezTo>
                    <a:pt x="2571" y="132"/>
                    <a:pt x="2559" y="120"/>
                    <a:pt x="2558" y="105"/>
                  </a:cubicBezTo>
                  <a:cubicBezTo>
                    <a:pt x="2558" y="90"/>
                    <a:pt x="2568" y="78"/>
                    <a:pt x="2582" y="78"/>
                  </a:cubicBezTo>
                  <a:close/>
                  <a:moveTo>
                    <a:pt x="2623" y="56"/>
                  </a:moveTo>
                  <a:cubicBezTo>
                    <a:pt x="2609" y="57"/>
                    <a:pt x="2597" y="45"/>
                    <a:pt x="2596" y="30"/>
                  </a:cubicBezTo>
                  <a:cubicBezTo>
                    <a:pt x="2595" y="15"/>
                    <a:pt x="2606" y="2"/>
                    <a:pt x="2619" y="2"/>
                  </a:cubicBezTo>
                  <a:cubicBezTo>
                    <a:pt x="2633" y="2"/>
                    <a:pt x="2645" y="14"/>
                    <a:pt x="2646" y="29"/>
                  </a:cubicBezTo>
                  <a:cubicBezTo>
                    <a:pt x="2647" y="44"/>
                    <a:pt x="2637" y="56"/>
                    <a:pt x="2623" y="56"/>
                  </a:cubicBezTo>
                  <a:close/>
                  <a:moveTo>
                    <a:pt x="2662" y="76"/>
                  </a:moveTo>
                  <a:cubicBezTo>
                    <a:pt x="2676" y="76"/>
                    <a:pt x="2688" y="88"/>
                    <a:pt x="2689" y="103"/>
                  </a:cubicBezTo>
                  <a:cubicBezTo>
                    <a:pt x="2690" y="118"/>
                    <a:pt x="2680" y="130"/>
                    <a:pt x="2666" y="131"/>
                  </a:cubicBezTo>
                  <a:cubicBezTo>
                    <a:pt x="2651" y="131"/>
                    <a:pt x="2639" y="119"/>
                    <a:pt x="2638" y="104"/>
                  </a:cubicBezTo>
                  <a:cubicBezTo>
                    <a:pt x="2637" y="89"/>
                    <a:pt x="2648" y="77"/>
                    <a:pt x="2662" y="76"/>
                  </a:cubicBezTo>
                  <a:close/>
                  <a:moveTo>
                    <a:pt x="2702" y="55"/>
                  </a:moveTo>
                  <a:cubicBezTo>
                    <a:pt x="2688" y="55"/>
                    <a:pt x="2676" y="43"/>
                    <a:pt x="2675" y="28"/>
                  </a:cubicBezTo>
                  <a:cubicBezTo>
                    <a:pt x="2674" y="13"/>
                    <a:pt x="2684" y="1"/>
                    <a:pt x="2698" y="1"/>
                  </a:cubicBezTo>
                  <a:cubicBezTo>
                    <a:pt x="2711" y="0"/>
                    <a:pt x="2724" y="12"/>
                    <a:pt x="2725" y="27"/>
                  </a:cubicBezTo>
                  <a:cubicBezTo>
                    <a:pt x="2726" y="42"/>
                    <a:pt x="2716" y="55"/>
                    <a:pt x="2702" y="55"/>
                  </a:cubicBezTo>
                  <a:close/>
                  <a:moveTo>
                    <a:pt x="2746" y="129"/>
                  </a:moveTo>
                  <a:cubicBezTo>
                    <a:pt x="2732" y="129"/>
                    <a:pt x="2719" y="117"/>
                    <a:pt x="2718" y="102"/>
                  </a:cubicBezTo>
                  <a:cubicBezTo>
                    <a:pt x="2717" y="87"/>
                    <a:pt x="2727" y="75"/>
                    <a:pt x="2741" y="74"/>
                  </a:cubicBezTo>
                  <a:cubicBezTo>
                    <a:pt x="2755" y="74"/>
                    <a:pt x="2768" y="86"/>
                    <a:pt x="2769" y="101"/>
                  </a:cubicBezTo>
                  <a:cubicBezTo>
                    <a:pt x="2770" y="116"/>
                    <a:pt x="2760" y="128"/>
                    <a:pt x="2746" y="129"/>
                  </a:cubicBezTo>
                  <a:close/>
                  <a:moveTo>
                    <a:pt x="2819" y="177"/>
                  </a:moveTo>
                  <a:cubicBezTo>
                    <a:pt x="2820" y="192"/>
                    <a:pt x="2810" y="204"/>
                    <a:pt x="2795" y="205"/>
                  </a:cubicBezTo>
                  <a:cubicBezTo>
                    <a:pt x="2781" y="205"/>
                    <a:pt x="2768" y="193"/>
                    <a:pt x="2767" y="178"/>
                  </a:cubicBezTo>
                  <a:cubicBezTo>
                    <a:pt x="2766" y="163"/>
                    <a:pt x="2776" y="151"/>
                    <a:pt x="2790" y="150"/>
                  </a:cubicBezTo>
                  <a:cubicBezTo>
                    <a:pt x="2804" y="150"/>
                    <a:pt x="2817" y="162"/>
                    <a:pt x="2819" y="177"/>
                  </a:cubicBezTo>
                  <a:close/>
                  <a:moveTo>
                    <a:pt x="2826" y="126"/>
                  </a:moveTo>
                  <a:cubicBezTo>
                    <a:pt x="2812" y="127"/>
                    <a:pt x="2799" y="115"/>
                    <a:pt x="2798" y="100"/>
                  </a:cubicBezTo>
                  <a:cubicBezTo>
                    <a:pt x="2796" y="85"/>
                    <a:pt x="2807" y="72"/>
                    <a:pt x="2821" y="72"/>
                  </a:cubicBezTo>
                  <a:cubicBezTo>
                    <a:pt x="2835" y="71"/>
                    <a:pt x="2847" y="83"/>
                    <a:pt x="2849" y="98"/>
                  </a:cubicBezTo>
                  <a:cubicBezTo>
                    <a:pt x="2850" y="113"/>
                    <a:pt x="2840" y="126"/>
                    <a:pt x="2826" y="126"/>
                  </a:cubicBezTo>
                  <a:close/>
                  <a:moveTo>
                    <a:pt x="2900" y="173"/>
                  </a:moveTo>
                  <a:cubicBezTo>
                    <a:pt x="2901" y="188"/>
                    <a:pt x="2891" y="201"/>
                    <a:pt x="2877" y="202"/>
                  </a:cubicBezTo>
                  <a:cubicBezTo>
                    <a:pt x="2862" y="202"/>
                    <a:pt x="2849" y="190"/>
                    <a:pt x="2848" y="176"/>
                  </a:cubicBezTo>
                  <a:cubicBezTo>
                    <a:pt x="2846" y="161"/>
                    <a:pt x="2857" y="148"/>
                    <a:pt x="2871" y="147"/>
                  </a:cubicBezTo>
                  <a:cubicBezTo>
                    <a:pt x="2885" y="147"/>
                    <a:pt x="2898" y="159"/>
                    <a:pt x="2900" y="173"/>
                  </a:cubicBezTo>
                  <a:close/>
                  <a:moveTo>
                    <a:pt x="2906" y="123"/>
                  </a:moveTo>
                  <a:cubicBezTo>
                    <a:pt x="2892" y="124"/>
                    <a:pt x="2879" y="112"/>
                    <a:pt x="2878" y="97"/>
                  </a:cubicBezTo>
                  <a:cubicBezTo>
                    <a:pt x="2876" y="82"/>
                    <a:pt x="2886" y="69"/>
                    <a:pt x="2900" y="69"/>
                  </a:cubicBezTo>
                  <a:cubicBezTo>
                    <a:pt x="2914" y="68"/>
                    <a:pt x="2927" y="80"/>
                    <a:pt x="2929" y="95"/>
                  </a:cubicBezTo>
                  <a:cubicBezTo>
                    <a:pt x="2930" y="110"/>
                    <a:pt x="2920" y="122"/>
                    <a:pt x="2906" y="123"/>
                  </a:cubicBezTo>
                  <a:close/>
                  <a:moveTo>
                    <a:pt x="2981" y="170"/>
                  </a:moveTo>
                  <a:cubicBezTo>
                    <a:pt x="2983" y="185"/>
                    <a:pt x="2972" y="197"/>
                    <a:pt x="2958" y="198"/>
                  </a:cubicBezTo>
                  <a:cubicBezTo>
                    <a:pt x="2944" y="199"/>
                    <a:pt x="2931" y="187"/>
                    <a:pt x="2929" y="172"/>
                  </a:cubicBezTo>
                  <a:cubicBezTo>
                    <a:pt x="2927" y="157"/>
                    <a:pt x="2937" y="145"/>
                    <a:pt x="2951" y="144"/>
                  </a:cubicBezTo>
                  <a:cubicBezTo>
                    <a:pt x="2966" y="143"/>
                    <a:pt x="2979" y="155"/>
                    <a:pt x="2981" y="170"/>
                  </a:cubicBezTo>
                  <a:close/>
                  <a:moveTo>
                    <a:pt x="2986" y="119"/>
                  </a:moveTo>
                  <a:cubicBezTo>
                    <a:pt x="2972" y="120"/>
                    <a:pt x="2959" y="108"/>
                    <a:pt x="2957" y="93"/>
                  </a:cubicBezTo>
                  <a:cubicBezTo>
                    <a:pt x="2955" y="79"/>
                    <a:pt x="2965" y="66"/>
                    <a:pt x="2979" y="65"/>
                  </a:cubicBezTo>
                  <a:cubicBezTo>
                    <a:pt x="2993" y="65"/>
                    <a:pt x="3006" y="76"/>
                    <a:pt x="3008" y="91"/>
                  </a:cubicBezTo>
                  <a:cubicBezTo>
                    <a:pt x="3010" y="106"/>
                    <a:pt x="3001" y="118"/>
                    <a:pt x="2986" y="119"/>
                  </a:cubicBezTo>
                  <a:close/>
                  <a:moveTo>
                    <a:pt x="3062" y="165"/>
                  </a:moveTo>
                  <a:cubicBezTo>
                    <a:pt x="3064" y="180"/>
                    <a:pt x="3054" y="193"/>
                    <a:pt x="3040" y="194"/>
                  </a:cubicBezTo>
                  <a:cubicBezTo>
                    <a:pt x="3025" y="195"/>
                    <a:pt x="3012" y="183"/>
                    <a:pt x="3010" y="168"/>
                  </a:cubicBezTo>
                  <a:cubicBezTo>
                    <a:pt x="3008" y="153"/>
                    <a:pt x="3018" y="141"/>
                    <a:pt x="3032" y="140"/>
                  </a:cubicBezTo>
                  <a:cubicBezTo>
                    <a:pt x="3046" y="139"/>
                    <a:pt x="3059" y="151"/>
                    <a:pt x="3062" y="165"/>
                  </a:cubicBezTo>
                  <a:close/>
                  <a:moveTo>
                    <a:pt x="3067" y="115"/>
                  </a:moveTo>
                  <a:cubicBezTo>
                    <a:pt x="3053" y="116"/>
                    <a:pt x="3039" y="104"/>
                    <a:pt x="3037" y="89"/>
                  </a:cubicBezTo>
                  <a:cubicBezTo>
                    <a:pt x="3035" y="75"/>
                    <a:pt x="3045" y="62"/>
                    <a:pt x="3059" y="61"/>
                  </a:cubicBezTo>
                  <a:cubicBezTo>
                    <a:pt x="3073" y="60"/>
                    <a:pt x="3086" y="72"/>
                    <a:pt x="3088" y="87"/>
                  </a:cubicBezTo>
                  <a:cubicBezTo>
                    <a:pt x="3090" y="101"/>
                    <a:pt x="3081" y="114"/>
                    <a:pt x="3067" y="115"/>
                  </a:cubicBezTo>
                  <a:close/>
                  <a:moveTo>
                    <a:pt x="3142" y="161"/>
                  </a:moveTo>
                  <a:cubicBezTo>
                    <a:pt x="3145" y="175"/>
                    <a:pt x="3135" y="188"/>
                    <a:pt x="3121" y="189"/>
                  </a:cubicBezTo>
                  <a:cubicBezTo>
                    <a:pt x="3107" y="190"/>
                    <a:pt x="3093" y="179"/>
                    <a:pt x="3091" y="164"/>
                  </a:cubicBezTo>
                  <a:cubicBezTo>
                    <a:pt x="3089" y="149"/>
                    <a:pt x="3098" y="136"/>
                    <a:pt x="3112" y="135"/>
                  </a:cubicBezTo>
                  <a:cubicBezTo>
                    <a:pt x="3127" y="134"/>
                    <a:pt x="3140" y="146"/>
                    <a:pt x="3142" y="161"/>
                  </a:cubicBezTo>
                  <a:close/>
                  <a:moveTo>
                    <a:pt x="3147" y="110"/>
                  </a:moveTo>
                  <a:cubicBezTo>
                    <a:pt x="3133" y="111"/>
                    <a:pt x="3119" y="100"/>
                    <a:pt x="3117" y="85"/>
                  </a:cubicBezTo>
                  <a:cubicBezTo>
                    <a:pt x="3115" y="70"/>
                    <a:pt x="3124" y="57"/>
                    <a:pt x="3138" y="56"/>
                  </a:cubicBezTo>
                  <a:cubicBezTo>
                    <a:pt x="3152" y="55"/>
                    <a:pt x="3165" y="67"/>
                    <a:pt x="3168" y="82"/>
                  </a:cubicBezTo>
                  <a:cubicBezTo>
                    <a:pt x="3170" y="96"/>
                    <a:pt x="3161" y="109"/>
                    <a:pt x="3147" y="110"/>
                  </a:cubicBezTo>
                  <a:close/>
                  <a:moveTo>
                    <a:pt x="3223" y="155"/>
                  </a:moveTo>
                  <a:cubicBezTo>
                    <a:pt x="3226" y="170"/>
                    <a:pt x="3217" y="183"/>
                    <a:pt x="3202" y="184"/>
                  </a:cubicBezTo>
                  <a:cubicBezTo>
                    <a:pt x="3188" y="185"/>
                    <a:pt x="3174" y="174"/>
                    <a:pt x="3172" y="159"/>
                  </a:cubicBezTo>
                  <a:cubicBezTo>
                    <a:pt x="3169" y="144"/>
                    <a:pt x="3179" y="131"/>
                    <a:pt x="3193" y="130"/>
                  </a:cubicBezTo>
                  <a:cubicBezTo>
                    <a:pt x="3207" y="129"/>
                    <a:pt x="3221" y="140"/>
                    <a:pt x="3223" y="155"/>
                  </a:cubicBezTo>
                  <a:close/>
                  <a:moveTo>
                    <a:pt x="3227" y="105"/>
                  </a:moveTo>
                  <a:cubicBezTo>
                    <a:pt x="3213" y="106"/>
                    <a:pt x="3199" y="94"/>
                    <a:pt x="3197" y="80"/>
                  </a:cubicBezTo>
                  <a:cubicBezTo>
                    <a:pt x="3194" y="65"/>
                    <a:pt x="3203" y="52"/>
                    <a:pt x="3217" y="51"/>
                  </a:cubicBezTo>
                  <a:cubicBezTo>
                    <a:pt x="3231" y="50"/>
                    <a:pt x="3245" y="61"/>
                    <a:pt x="3248" y="76"/>
                  </a:cubicBezTo>
                  <a:cubicBezTo>
                    <a:pt x="3250" y="91"/>
                    <a:pt x="3241" y="104"/>
                    <a:pt x="3227" y="105"/>
                  </a:cubicBezTo>
                  <a:close/>
                  <a:moveTo>
                    <a:pt x="3304" y="149"/>
                  </a:moveTo>
                  <a:cubicBezTo>
                    <a:pt x="3307" y="164"/>
                    <a:pt x="3298" y="177"/>
                    <a:pt x="3284" y="178"/>
                  </a:cubicBezTo>
                  <a:cubicBezTo>
                    <a:pt x="3269" y="179"/>
                    <a:pt x="3255" y="168"/>
                    <a:pt x="3253" y="153"/>
                  </a:cubicBezTo>
                  <a:cubicBezTo>
                    <a:pt x="3250" y="138"/>
                    <a:pt x="3259" y="125"/>
                    <a:pt x="3273" y="124"/>
                  </a:cubicBezTo>
                  <a:cubicBezTo>
                    <a:pt x="3288" y="123"/>
                    <a:pt x="3301" y="134"/>
                    <a:pt x="3304" y="149"/>
                  </a:cubicBezTo>
                  <a:close/>
                  <a:moveTo>
                    <a:pt x="3307" y="99"/>
                  </a:moveTo>
                  <a:cubicBezTo>
                    <a:pt x="3293" y="100"/>
                    <a:pt x="3279" y="89"/>
                    <a:pt x="3276" y="74"/>
                  </a:cubicBezTo>
                  <a:cubicBezTo>
                    <a:pt x="3274" y="59"/>
                    <a:pt x="3283" y="46"/>
                    <a:pt x="3297" y="45"/>
                  </a:cubicBezTo>
                  <a:cubicBezTo>
                    <a:pt x="3311" y="44"/>
                    <a:pt x="3324" y="55"/>
                    <a:pt x="3327" y="70"/>
                  </a:cubicBezTo>
                  <a:cubicBezTo>
                    <a:pt x="3330" y="85"/>
                    <a:pt x="3321" y="98"/>
                    <a:pt x="3307" y="99"/>
                  </a:cubicBezTo>
                  <a:close/>
                  <a:moveTo>
                    <a:pt x="3357" y="220"/>
                  </a:moveTo>
                  <a:cubicBezTo>
                    <a:pt x="3360" y="234"/>
                    <a:pt x="3351" y="247"/>
                    <a:pt x="3336" y="248"/>
                  </a:cubicBezTo>
                  <a:cubicBezTo>
                    <a:pt x="3322" y="250"/>
                    <a:pt x="3308" y="239"/>
                    <a:pt x="3305" y="224"/>
                  </a:cubicBezTo>
                  <a:cubicBezTo>
                    <a:pt x="3302" y="209"/>
                    <a:pt x="3312" y="196"/>
                    <a:pt x="3326" y="195"/>
                  </a:cubicBezTo>
                  <a:cubicBezTo>
                    <a:pt x="3340" y="194"/>
                    <a:pt x="3354" y="205"/>
                    <a:pt x="3357" y="220"/>
                  </a:cubicBezTo>
                  <a:close/>
                  <a:moveTo>
                    <a:pt x="3354" y="118"/>
                  </a:moveTo>
                  <a:cubicBezTo>
                    <a:pt x="3368" y="117"/>
                    <a:pt x="3382" y="128"/>
                    <a:pt x="3385" y="143"/>
                  </a:cubicBezTo>
                  <a:cubicBezTo>
                    <a:pt x="3388" y="157"/>
                    <a:pt x="3379" y="170"/>
                    <a:pt x="3365" y="171"/>
                  </a:cubicBezTo>
                  <a:cubicBezTo>
                    <a:pt x="3350" y="173"/>
                    <a:pt x="3336" y="162"/>
                    <a:pt x="3334" y="147"/>
                  </a:cubicBezTo>
                  <a:cubicBezTo>
                    <a:pt x="3331" y="132"/>
                    <a:pt x="3340" y="119"/>
                    <a:pt x="3354" y="118"/>
                  </a:cubicBezTo>
                  <a:close/>
                  <a:moveTo>
                    <a:pt x="3387" y="92"/>
                  </a:moveTo>
                  <a:cubicBezTo>
                    <a:pt x="3373" y="93"/>
                    <a:pt x="3359" y="82"/>
                    <a:pt x="3356" y="68"/>
                  </a:cubicBezTo>
                  <a:cubicBezTo>
                    <a:pt x="3353" y="53"/>
                    <a:pt x="3362" y="40"/>
                    <a:pt x="3376" y="39"/>
                  </a:cubicBezTo>
                  <a:cubicBezTo>
                    <a:pt x="3390" y="38"/>
                    <a:pt x="3404" y="49"/>
                    <a:pt x="3407" y="63"/>
                  </a:cubicBezTo>
                  <a:cubicBezTo>
                    <a:pt x="3410" y="78"/>
                    <a:pt x="3401" y="91"/>
                    <a:pt x="3387" y="92"/>
                  </a:cubicBezTo>
                  <a:close/>
                  <a:moveTo>
                    <a:pt x="3439" y="213"/>
                  </a:moveTo>
                  <a:cubicBezTo>
                    <a:pt x="3443" y="227"/>
                    <a:pt x="3433" y="240"/>
                    <a:pt x="3419" y="242"/>
                  </a:cubicBezTo>
                  <a:cubicBezTo>
                    <a:pt x="3404" y="243"/>
                    <a:pt x="3390" y="232"/>
                    <a:pt x="3387" y="217"/>
                  </a:cubicBezTo>
                  <a:cubicBezTo>
                    <a:pt x="3384" y="202"/>
                    <a:pt x="3393" y="189"/>
                    <a:pt x="3408" y="188"/>
                  </a:cubicBezTo>
                  <a:cubicBezTo>
                    <a:pt x="3422" y="187"/>
                    <a:pt x="3436" y="198"/>
                    <a:pt x="3439" y="213"/>
                  </a:cubicBezTo>
                  <a:close/>
                  <a:moveTo>
                    <a:pt x="3434" y="111"/>
                  </a:moveTo>
                  <a:cubicBezTo>
                    <a:pt x="3448" y="110"/>
                    <a:pt x="3463" y="121"/>
                    <a:pt x="3466" y="135"/>
                  </a:cubicBezTo>
                  <a:cubicBezTo>
                    <a:pt x="3469" y="150"/>
                    <a:pt x="3460" y="163"/>
                    <a:pt x="3446" y="164"/>
                  </a:cubicBezTo>
                  <a:cubicBezTo>
                    <a:pt x="3432" y="166"/>
                    <a:pt x="3418" y="155"/>
                    <a:pt x="3414" y="140"/>
                  </a:cubicBezTo>
                  <a:cubicBezTo>
                    <a:pt x="3411" y="125"/>
                    <a:pt x="3420" y="112"/>
                    <a:pt x="3434" y="111"/>
                  </a:cubicBezTo>
                  <a:close/>
                  <a:moveTo>
                    <a:pt x="3467" y="85"/>
                  </a:moveTo>
                  <a:cubicBezTo>
                    <a:pt x="3453" y="86"/>
                    <a:pt x="3439" y="75"/>
                    <a:pt x="3436" y="61"/>
                  </a:cubicBezTo>
                  <a:cubicBezTo>
                    <a:pt x="3432" y="46"/>
                    <a:pt x="3441" y="33"/>
                    <a:pt x="3455" y="32"/>
                  </a:cubicBezTo>
                  <a:cubicBezTo>
                    <a:pt x="3469" y="31"/>
                    <a:pt x="3483" y="41"/>
                    <a:pt x="3487" y="56"/>
                  </a:cubicBezTo>
                  <a:cubicBezTo>
                    <a:pt x="3490" y="71"/>
                    <a:pt x="3481" y="84"/>
                    <a:pt x="3467" y="85"/>
                  </a:cubicBezTo>
                  <a:close/>
                  <a:moveTo>
                    <a:pt x="3521" y="205"/>
                  </a:moveTo>
                  <a:cubicBezTo>
                    <a:pt x="3525" y="220"/>
                    <a:pt x="3516" y="233"/>
                    <a:pt x="3501" y="234"/>
                  </a:cubicBezTo>
                  <a:cubicBezTo>
                    <a:pt x="3487" y="235"/>
                    <a:pt x="3472" y="225"/>
                    <a:pt x="3469" y="210"/>
                  </a:cubicBezTo>
                  <a:cubicBezTo>
                    <a:pt x="3466" y="195"/>
                    <a:pt x="3475" y="182"/>
                    <a:pt x="3489" y="181"/>
                  </a:cubicBezTo>
                  <a:cubicBezTo>
                    <a:pt x="3503" y="179"/>
                    <a:pt x="3518" y="190"/>
                    <a:pt x="3521" y="205"/>
                  </a:cubicBezTo>
                  <a:close/>
                  <a:moveTo>
                    <a:pt x="3515" y="104"/>
                  </a:moveTo>
                  <a:cubicBezTo>
                    <a:pt x="3529" y="102"/>
                    <a:pt x="3543" y="113"/>
                    <a:pt x="3547" y="128"/>
                  </a:cubicBezTo>
                  <a:cubicBezTo>
                    <a:pt x="3550" y="142"/>
                    <a:pt x="3542" y="155"/>
                    <a:pt x="3527" y="157"/>
                  </a:cubicBezTo>
                  <a:cubicBezTo>
                    <a:pt x="3513" y="158"/>
                    <a:pt x="3499" y="147"/>
                    <a:pt x="3495" y="133"/>
                  </a:cubicBezTo>
                  <a:cubicBezTo>
                    <a:pt x="3492" y="118"/>
                    <a:pt x="3501" y="105"/>
                    <a:pt x="3515" y="104"/>
                  </a:cubicBezTo>
                  <a:close/>
                  <a:moveTo>
                    <a:pt x="3547" y="77"/>
                  </a:moveTo>
                  <a:cubicBezTo>
                    <a:pt x="3533" y="79"/>
                    <a:pt x="3519" y="68"/>
                    <a:pt x="3515" y="53"/>
                  </a:cubicBezTo>
                  <a:cubicBezTo>
                    <a:pt x="3512" y="39"/>
                    <a:pt x="3520" y="26"/>
                    <a:pt x="3534" y="24"/>
                  </a:cubicBezTo>
                  <a:cubicBezTo>
                    <a:pt x="3548" y="23"/>
                    <a:pt x="3562" y="34"/>
                    <a:pt x="3566" y="48"/>
                  </a:cubicBezTo>
                  <a:cubicBezTo>
                    <a:pt x="3570" y="63"/>
                    <a:pt x="3561" y="76"/>
                    <a:pt x="3547" y="77"/>
                  </a:cubicBezTo>
                  <a:close/>
                  <a:moveTo>
                    <a:pt x="3603" y="197"/>
                  </a:moveTo>
                  <a:cubicBezTo>
                    <a:pt x="3607" y="211"/>
                    <a:pt x="3598" y="224"/>
                    <a:pt x="3584" y="226"/>
                  </a:cubicBezTo>
                  <a:cubicBezTo>
                    <a:pt x="3569" y="227"/>
                    <a:pt x="3554" y="217"/>
                    <a:pt x="3551" y="202"/>
                  </a:cubicBezTo>
                  <a:cubicBezTo>
                    <a:pt x="3547" y="187"/>
                    <a:pt x="3556" y="174"/>
                    <a:pt x="3571" y="173"/>
                  </a:cubicBezTo>
                  <a:cubicBezTo>
                    <a:pt x="3585" y="171"/>
                    <a:pt x="3600" y="182"/>
                    <a:pt x="3603" y="197"/>
                  </a:cubicBezTo>
                  <a:close/>
                  <a:moveTo>
                    <a:pt x="3595" y="96"/>
                  </a:moveTo>
                  <a:cubicBezTo>
                    <a:pt x="3609" y="94"/>
                    <a:pt x="3624" y="105"/>
                    <a:pt x="3627" y="119"/>
                  </a:cubicBezTo>
                  <a:cubicBezTo>
                    <a:pt x="3631" y="134"/>
                    <a:pt x="3623" y="147"/>
                    <a:pt x="3608" y="149"/>
                  </a:cubicBezTo>
                  <a:cubicBezTo>
                    <a:pt x="3594" y="150"/>
                    <a:pt x="3580" y="139"/>
                    <a:pt x="3576" y="125"/>
                  </a:cubicBezTo>
                  <a:cubicBezTo>
                    <a:pt x="3572" y="110"/>
                    <a:pt x="3581" y="97"/>
                    <a:pt x="3595" y="96"/>
                  </a:cubicBezTo>
                  <a:close/>
                  <a:moveTo>
                    <a:pt x="3627" y="69"/>
                  </a:moveTo>
                  <a:cubicBezTo>
                    <a:pt x="3613" y="71"/>
                    <a:pt x="3599" y="60"/>
                    <a:pt x="3595" y="45"/>
                  </a:cubicBezTo>
                  <a:cubicBezTo>
                    <a:pt x="3591" y="31"/>
                    <a:pt x="3599" y="18"/>
                    <a:pt x="3613" y="16"/>
                  </a:cubicBezTo>
                  <a:cubicBezTo>
                    <a:pt x="3627" y="15"/>
                    <a:pt x="3642" y="25"/>
                    <a:pt x="3646" y="40"/>
                  </a:cubicBezTo>
                  <a:cubicBezTo>
                    <a:pt x="3650" y="54"/>
                    <a:pt x="3641" y="67"/>
                    <a:pt x="3627" y="69"/>
                  </a:cubicBezTo>
                  <a:close/>
                  <a:moveTo>
                    <a:pt x="3685" y="188"/>
                  </a:moveTo>
                  <a:cubicBezTo>
                    <a:pt x="3689" y="202"/>
                    <a:pt x="3680" y="216"/>
                    <a:pt x="3666" y="217"/>
                  </a:cubicBezTo>
                  <a:cubicBezTo>
                    <a:pt x="3651" y="219"/>
                    <a:pt x="3637" y="208"/>
                    <a:pt x="3633" y="194"/>
                  </a:cubicBezTo>
                  <a:cubicBezTo>
                    <a:pt x="3629" y="179"/>
                    <a:pt x="3638" y="166"/>
                    <a:pt x="3652" y="164"/>
                  </a:cubicBezTo>
                  <a:cubicBezTo>
                    <a:pt x="3666" y="163"/>
                    <a:pt x="3681" y="173"/>
                    <a:pt x="3685" y="188"/>
                  </a:cubicBezTo>
                  <a:close/>
                  <a:moveTo>
                    <a:pt x="3675" y="87"/>
                  </a:moveTo>
                  <a:cubicBezTo>
                    <a:pt x="3689" y="85"/>
                    <a:pt x="3704" y="96"/>
                    <a:pt x="3708" y="110"/>
                  </a:cubicBezTo>
                  <a:cubicBezTo>
                    <a:pt x="3712" y="125"/>
                    <a:pt x="3704" y="138"/>
                    <a:pt x="3690" y="140"/>
                  </a:cubicBezTo>
                  <a:cubicBezTo>
                    <a:pt x="3675" y="141"/>
                    <a:pt x="3661" y="131"/>
                    <a:pt x="3657" y="116"/>
                  </a:cubicBezTo>
                  <a:cubicBezTo>
                    <a:pt x="3653" y="102"/>
                    <a:pt x="3661" y="88"/>
                    <a:pt x="3675" y="87"/>
                  </a:cubicBezTo>
                  <a:close/>
                  <a:moveTo>
                    <a:pt x="3707" y="60"/>
                  </a:moveTo>
                  <a:cubicBezTo>
                    <a:pt x="3693" y="62"/>
                    <a:pt x="3678" y="51"/>
                    <a:pt x="3674" y="37"/>
                  </a:cubicBezTo>
                  <a:cubicBezTo>
                    <a:pt x="3670" y="22"/>
                    <a:pt x="3679" y="9"/>
                    <a:pt x="3693" y="7"/>
                  </a:cubicBezTo>
                  <a:cubicBezTo>
                    <a:pt x="3706" y="6"/>
                    <a:pt x="3721" y="16"/>
                    <a:pt x="3725" y="31"/>
                  </a:cubicBezTo>
                  <a:cubicBezTo>
                    <a:pt x="3729" y="45"/>
                    <a:pt x="3721" y="59"/>
                    <a:pt x="3707" y="60"/>
                  </a:cubicBezTo>
                  <a:close/>
                  <a:moveTo>
                    <a:pt x="3767" y="178"/>
                  </a:moveTo>
                  <a:cubicBezTo>
                    <a:pt x="3771" y="193"/>
                    <a:pt x="3763" y="206"/>
                    <a:pt x="3748" y="208"/>
                  </a:cubicBezTo>
                  <a:cubicBezTo>
                    <a:pt x="3734" y="210"/>
                    <a:pt x="3719" y="199"/>
                    <a:pt x="3715" y="185"/>
                  </a:cubicBezTo>
                  <a:cubicBezTo>
                    <a:pt x="3711" y="170"/>
                    <a:pt x="3719" y="157"/>
                    <a:pt x="3733" y="155"/>
                  </a:cubicBezTo>
                  <a:cubicBezTo>
                    <a:pt x="3748" y="154"/>
                    <a:pt x="3763" y="164"/>
                    <a:pt x="3767" y="178"/>
                  </a:cubicBezTo>
                  <a:close/>
                  <a:moveTo>
                    <a:pt x="3771" y="130"/>
                  </a:moveTo>
                  <a:cubicBezTo>
                    <a:pt x="3756" y="132"/>
                    <a:pt x="3741" y="122"/>
                    <a:pt x="3737" y="107"/>
                  </a:cubicBezTo>
                  <a:cubicBezTo>
                    <a:pt x="3733" y="92"/>
                    <a:pt x="3741" y="79"/>
                    <a:pt x="3756" y="78"/>
                  </a:cubicBezTo>
                  <a:cubicBezTo>
                    <a:pt x="3770" y="76"/>
                    <a:pt x="3785" y="86"/>
                    <a:pt x="3789" y="101"/>
                  </a:cubicBezTo>
                  <a:cubicBezTo>
                    <a:pt x="3793" y="115"/>
                    <a:pt x="3785" y="129"/>
                    <a:pt x="3771" y="130"/>
                  </a:cubicBezTo>
                  <a:close/>
                  <a:moveTo>
                    <a:pt x="3815" y="145"/>
                  </a:moveTo>
                  <a:cubicBezTo>
                    <a:pt x="3829" y="144"/>
                    <a:pt x="3844" y="154"/>
                    <a:pt x="3849" y="168"/>
                  </a:cubicBezTo>
                  <a:cubicBezTo>
                    <a:pt x="3853" y="183"/>
                    <a:pt x="3845" y="196"/>
                    <a:pt x="3830" y="198"/>
                  </a:cubicBezTo>
                  <a:cubicBezTo>
                    <a:pt x="3816" y="200"/>
                    <a:pt x="3801" y="189"/>
                    <a:pt x="3796" y="175"/>
                  </a:cubicBezTo>
                  <a:cubicBezTo>
                    <a:pt x="3792" y="160"/>
                    <a:pt x="3800" y="147"/>
                    <a:pt x="3815" y="145"/>
                  </a:cubicBezTo>
                  <a:close/>
                  <a:moveTo>
                    <a:pt x="3852" y="120"/>
                  </a:moveTo>
                  <a:cubicBezTo>
                    <a:pt x="3837" y="122"/>
                    <a:pt x="3822" y="112"/>
                    <a:pt x="3818" y="97"/>
                  </a:cubicBezTo>
                  <a:cubicBezTo>
                    <a:pt x="3814" y="83"/>
                    <a:pt x="3822" y="70"/>
                    <a:pt x="3836" y="68"/>
                  </a:cubicBezTo>
                  <a:cubicBezTo>
                    <a:pt x="3850" y="66"/>
                    <a:pt x="3865" y="76"/>
                    <a:pt x="3869" y="91"/>
                  </a:cubicBezTo>
                  <a:cubicBezTo>
                    <a:pt x="3874" y="105"/>
                    <a:pt x="3866" y="119"/>
                    <a:pt x="3852" y="120"/>
                  </a:cubicBezTo>
                  <a:close/>
                  <a:moveTo>
                    <a:pt x="3896" y="135"/>
                  </a:moveTo>
                  <a:cubicBezTo>
                    <a:pt x="3910" y="133"/>
                    <a:pt x="3926" y="143"/>
                    <a:pt x="3930" y="158"/>
                  </a:cubicBezTo>
                  <a:cubicBezTo>
                    <a:pt x="3935" y="172"/>
                    <a:pt x="3927" y="186"/>
                    <a:pt x="3912" y="188"/>
                  </a:cubicBezTo>
                  <a:cubicBezTo>
                    <a:pt x="3898" y="189"/>
                    <a:pt x="3883" y="179"/>
                    <a:pt x="3878" y="165"/>
                  </a:cubicBezTo>
                  <a:cubicBezTo>
                    <a:pt x="3874" y="150"/>
                    <a:pt x="3882" y="137"/>
                    <a:pt x="3896" y="135"/>
                  </a:cubicBezTo>
                  <a:close/>
                  <a:moveTo>
                    <a:pt x="3933" y="110"/>
                  </a:moveTo>
                  <a:cubicBezTo>
                    <a:pt x="3918" y="112"/>
                    <a:pt x="3903" y="102"/>
                    <a:pt x="3899" y="87"/>
                  </a:cubicBezTo>
                  <a:cubicBezTo>
                    <a:pt x="3894" y="73"/>
                    <a:pt x="3902" y="59"/>
                    <a:pt x="3916" y="57"/>
                  </a:cubicBezTo>
                  <a:cubicBezTo>
                    <a:pt x="3930" y="56"/>
                    <a:pt x="3945" y="66"/>
                    <a:pt x="3950" y="80"/>
                  </a:cubicBezTo>
                  <a:cubicBezTo>
                    <a:pt x="3955" y="95"/>
                    <a:pt x="3947" y="108"/>
                    <a:pt x="3933" y="110"/>
                  </a:cubicBezTo>
                  <a:close/>
                  <a:moveTo>
                    <a:pt x="3977" y="124"/>
                  </a:moveTo>
                  <a:cubicBezTo>
                    <a:pt x="3992" y="122"/>
                    <a:pt x="4007" y="132"/>
                    <a:pt x="4012" y="147"/>
                  </a:cubicBezTo>
                  <a:cubicBezTo>
                    <a:pt x="4017" y="161"/>
                    <a:pt x="4009" y="174"/>
                    <a:pt x="3994" y="176"/>
                  </a:cubicBezTo>
                  <a:cubicBezTo>
                    <a:pt x="3980" y="178"/>
                    <a:pt x="3965" y="168"/>
                    <a:pt x="3960" y="154"/>
                  </a:cubicBezTo>
                  <a:cubicBezTo>
                    <a:pt x="3955" y="139"/>
                    <a:pt x="3963" y="126"/>
                    <a:pt x="3977" y="124"/>
                  </a:cubicBezTo>
                  <a:close/>
                  <a:moveTo>
                    <a:pt x="4014" y="99"/>
                  </a:moveTo>
                  <a:cubicBezTo>
                    <a:pt x="3999" y="101"/>
                    <a:pt x="3984" y="91"/>
                    <a:pt x="3979" y="76"/>
                  </a:cubicBezTo>
                  <a:cubicBezTo>
                    <a:pt x="3974" y="62"/>
                    <a:pt x="3982" y="49"/>
                    <a:pt x="3996" y="47"/>
                  </a:cubicBezTo>
                  <a:cubicBezTo>
                    <a:pt x="4010" y="45"/>
                    <a:pt x="4026" y="55"/>
                    <a:pt x="4031" y="69"/>
                  </a:cubicBezTo>
                  <a:cubicBezTo>
                    <a:pt x="4035" y="83"/>
                    <a:pt x="4028" y="97"/>
                    <a:pt x="4014" y="99"/>
                  </a:cubicBezTo>
                  <a:close/>
                  <a:moveTo>
                    <a:pt x="4045" y="193"/>
                  </a:moveTo>
                  <a:cubicBezTo>
                    <a:pt x="4060" y="191"/>
                    <a:pt x="4075" y="200"/>
                    <a:pt x="4080" y="215"/>
                  </a:cubicBezTo>
                  <a:cubicBezTo>
                    <a:pt x="4085" y="229"/>
                    <a:pt x="4077" y="243"/>
                    <a:pt x="4063" y="245"/>
                  </a:cubicBezTo>
                  <a:cubicBezTo>
                    <a:pt x="4048" y="247"/>
                    <a:pt x="4032" y="237"/>
                    <a:pt x="4027" y="222"/>
                  </a:cubicBezTo>
                  <a:cubicBezTo>
                    <a:pt x="4023" y="208"/>
                    <a:pt x="4031" y="195"/>
                    <a:pt x="4045" y="193"/>
                  </a:cubicBezTo>
                  <a:close/>
                  <a:moveTo>
                    <a:pt x="4059" y="113"/>
                  </a:moveTo>
                  <a:cubicBezTo>
                    <a:pt x="4073" y="111"/>
                    <a:pt x="4089" y="121"/>
                    <a:pt x="4094" y="135"/>
                  </a:cubicBezTo>
                  <a:cubicBezTo>
                    <a:pt x="4099" y="149"/>
                    <a:pt x="4091" y="163"/>
                    <a:pt x="4077" y="165"/>
                  </a:cubicBezTo>
                  <a:cubicBezTo>
                    <a:pt x="4062" y="167"/>
                    <a:pt x="4046" y="157"/>
                    <a:pt x="4042" y="143"/>
                  </a:cubicBezTo>
                  <a:cubicBezTo>
                    <a:pt x="4037" y="128"/>
                    <a:pt x="4044" y="115"/>
                    <a:pt x="4059" y="113"/>
                  </a:cubicBezTo>
                  <a:close/>
                  <a:moveTo>
                    <a:pt x="4094" y="87"/>
                  </a:moveTo>
                  <a:cubicBezTo>
                    <a:pt x="4080" y="89"/>
                    <a:pt x="4065" y="79"/>
                    <a:pt x="4060" y="65"/>
                  </a:cubicBezTo>
                  <a:cubicBezTo>
                    <a:pt x="4055" y="50"/>
                    <a:pt x="4062" y="37"/>
                    <a:pt x="4076" y="35"/>
                  </a:cubicBezTo>
                  <a:cubicBezTo>
                    <a:pt x="4090" y="33"/>
                    <a:pt x="4106" y="43"/>
                    <a:pt x="4111" y="57"/>
                  </a:cubicBezTo>
                  <a:cubicBezTo>
                    <a:pt x="4116" y="71"/>
                    <a:pt x="4109" y="85"/>
                    <a:pt x="4094" y="87"/>
                  </a:cubicBezTo>
                  <a:close/>
                  <a:moveTo>
                    <a:pt x="4127" y="181"/>
                  </a:moveTo>
                  <a:cubicBezTo>
                    <a:pt x="4142" y="178"/>
                    <a:pt x="4158" y="188"/>
                    <a:pt x="4163" y="203"/>
                  </a:cubicBezTo>
                  <a:cubicBezTo>
                    <a:pt x="4168" y="217"/>
                    <a:pt x="4160" y="230"/>
                    <a:pt x="4146" y="233"/>
                  </a:cubicBezTo>
                  <a:cubicBezTo>
                    <a:pt x="4131" y="235"/>
                    <a:pt x="4115" y="225"/>
                    <a:pt x="4110" y="210"/>
                  </a:cubicBezTo>
                  <a:cubicBezTo>
                    <a:pt x="4105" y="196"/>
                    <a:pt x="4113" y="183"/>
                    <a:pt x="4127" y="181"/>
                  </a:cubicBezTo>
                  <a:close/>
                  <a:moveTo>
                    <a:pt x="4140" y="101"/>
                  </a:moveTo>
                  <a:cubicBezTo>
                    <a:pt x="4154" y="99"/>
                    <a:pt x="4170" y="108"/>
                    <a:pt x="4175" y="123"/>
                  </a:cubicBezTo>
                  <a:cubicBezTo>
                    <a:pt x="4180" y="137"/>
                    <a:pt x="4173" y="150"/>
                    <a:pt x="4158" y="153"/>
                  </a:cubicBezTo>
                  <a:cubicBezTo>
                    <a:pt x="4144" y="155"/>
                    <a:pt x="4128" y="145"/>
                    <a:pt x="4123" y="131"/>
                  </a:cubicBezTo>
                  <a:cubicBezTo>
                    <a:pt x="4118" y="116"/>
                    <a:pt x="4125" y="103"/>
                    <a:pt x="4140" y="101"/>
                  </a:cubicBezTo>
                  <a:close/>
                  <a:moveTo>
                    <a:pt x="4175" y="75"/>
                  </a:moveTo>
                  <a:cubicBezTo>
                    <a:pt x="4161" y="77"/>
                    <a:pt x="4145" y="67"/>
                    <a:pt x="4140" y="53"/>
                  </a:cubicBezTo>
                  <a:cubicBezTo>
                    <a:pt x="4135" y="38"/>
                    <a:pt x="4142" y="25"/>
                    <a:pt x="4156" y="23"/>
                  </a:cubicBezTo>
                  <a:cubicBezTo>
                    <a:pt x="4170" y="21"/>
                    <a:pt x="4186" y="30"/>
                    <a:pt x="4191" y="45"/>
                  </a:cubicBezTo>
                  <a:cubicBezTo>
                    <a:pt x="4197" y="59"/>
                    <a:pt x="4190" y="72"/>
                    <a:pt x="4175" y="75"/>
                  </a:cubicBezTo>
                  <a:close/>
                  <a:moveTo>
                    <a:pt x="4210" y="168"/>
                  </a:moveTo>
                  <a:cubicBezTo>
                    <a:pt x="4224" y="166"/>
                    <a:pt x="4240" y="175"/>
                    <a:pt x="4246" y="190"/>
                  </a:cubicBezTo>
                  <a:cubicBezTo>
                    <a:pt x="4251" y="204"/>
                    <a:pt x="4244" y="217"/>
                    <a:pt x="4229" y="220"/>
                  </a:cubicBezTo>
                  <a:cubicBezTo>
                    <a:pt x="4214" y="222"/>
                    <a:pt x="4198" y="212"/>
                    <a:pt x="4193" y="198"/>
                  </a:cubicBezTo>
                  <a:cubicBezTo>
                    <a:pt x="4188" y="184"/>
                    <a:pt x="4195" y="170"/>
                    <a:pt x="4210" y="168"/>
                  </a:cubicBezTo>
                  <a:close/>
                  <a:moveTo>
                    <a:pt x="4221" y="88"/>
                  </a:moveTo>
                  <a:cubicBezTo>
                    <a:pt x="4235" y="86"/>
                    <a:pt x="4251" y="95"/>
                    <a:pt x="4257" y="110"/>
                  </a:cubicBezTo>
                  <a:cubicBezTo>
                    <a:pt x="4262" y="124"/>
                    <a:pt x="4255" y="137"/>
                    <a:pt x="4240" y="140"/>
                  </a:cubicBezTo>
                  <a:cubicBezTo>
                    <a:pt x="4226" y="142"/>
                    <a:pt x="4210" y="132"/>
                    <a:pt x="4205" y="118"/>
                  </a:cubicBezTo>
                  <a:cubicBezTo>
                    <a:pt x="4199" y="104"/>
                    <a:pt x="4207" y="90"/>
                    <a:pt x="4221" y="88"/>
                  </a:cubicBezTo>
                  <a:close/>
                  <a:moveTo>
                    <a:pt x="4256" y="62"/>
                  </a:moveTo>
                  <a:cubicBezTo>
                    <a:pt x="4242" y="64"/>
                    <a:pt x="4226" y="54"/>
                    <a:pt x="4220" y="40"/>
                  </a:cubicBezTo>
                  <a:cubicBezTo>
                    <a:pt x="4215" y="26"/>
                    <a:pt x="4222" y="13"/>
                    <a:pt x="4236" y="10"/>
                  </a:cubicBezTo>
                  <a:cubicBezTo>
                    <a:pt x="4250" y="8"/>
                    <a:pt x="4266" y="18"/>
                    <a:pt x="4272" y="32"/>
                  </a:cubicBezTo>
                  <a:cubicBezTo>
                    <a:pt x="4277" y="46"/>
                    <a:pt x="4270" y="59"/>
                    <a:pt x="4256" y="62"/>
                  </a:cubicBezTo>
                  <a:close/>
                  <a:moveTo>
                    <a:pt x="4292" y="155"/>
                  </a:moveTo>
                  <a:cubicBezTo>
                    <a:pt x="4306" y="152"/>
                    <a:pt x="4323" y="162"/>
                    <a:pt x="4328" y="176"/>
                  </a:cubicBezTo>
                  <a:cubicBezTo>
                    <a:pt x="4334" y="190"/>
                    <a:pt x="4327" y="204"/>
                    <a:pt x="4312" y="206"/>
                  </a:cubicBezTo>
                  <a:cubicBezTo>
                    <a:pt x="4297" y="209"/>
                    <a:pt x="4281" y="199"/>
                    <a:pt x="4276" y="185"/>
                  </a:cubicBezTo>
                  <a:cubicBezTo>
                    <a:pt x="4270" y="171"/>
                    <a:pt x="4277" y="157"/>
                    <a:pt x="4292" y="155"/>
                  </a:cubicBezTo>
                  <a:close/>
                  <a:moveTo>
                    <a:pt x="4322" y="126"/>
                  </a:moveTo>
                  <a:cubicBezTo>
                    <a:pt x="4308" y="129"/>
                    <a:pt x="4292" y="119"/>
                    <a:pt x="4286" y="105"/>
                  </a:cubicBezTo>
                  <a:cubicBezTo>
                    <a:pt x="4281" y="91"/>
                    <a:pt x="4288" y="77"/>
                    <a:pt x="4302" y="75"/>
                  </a:cubicBezTo>
                  <a:cubicBezTo>
                    <a:pt x="4316" y="72"/>
                    <a:pt x="4332" y="82"/>
                    <a:pt x="4338" y="96"/>
                  </a:cubicBezTo>
                  <a:cubicBezTo>
                    <a:pt x="4344" y="110"/>
                    <a:pt x="4337" y="124"/>
                    <a:pt x="4322" y="126"/>
                  </a:cubicBezTo>
                  <a:close/>
                  <a:moveTo>
                    <a:pt x="4359" y="219"/>
                  </a:moveTo>
                  <a:cubicBezTo>
                    <a:pt x="4374" y="217"/>
                    <a:pt x="4390" y="226"/>
                    <a:pt x="4396" y="240"/>
                  </a:cubicBezTo>
                  <a:cubicBezTo>
                    <a:pt x="4401" y="254"/>
                    <a:pt x="4394" y="268"/>
                    <a:pt x="4379" y="271"/>
                  </a:cubicBezTo>
                  <a:cubicBezTo>
                    <a:pt x="4364" y="273"/>
                    <a:pt x="4348" y="264"/>
                    <a:pt x="4342" y="249"/>
                  </a:cubicBezTo>
                  <a:cubicBezTo>
                    <a:pt x="4337" y="235"/>
                    <a:pt x="4344" y="222"/>
                    <a:pt x="4359" y="219"/>
                  </a:cubicBezTo>
                  <a:close/>
                  <a:moveTo>
                    <a:pt x="4374" y="141"/>
                  </a:moveTo>
                  <a:cubicBezTo>
                    <a:pt x="4389" y="138"/>
                    <a:pt x="4405" y="148"/>
                    <a:pt x="4411" y="162"/>
                  </a:cubicBezTo>
                  <a:cubicBezTo>
                    <a:pt x="4417" y="176"/>
                    <a:pt x="4410" y="190"/>
                    <a:pt x="4395" y="192"/>
                  </a:cubicBezTo>
                  <a:cubicBezTo>
                    <a:pt x="4380" y="195"/>
                    <a:pt x="4364" y="185"/>
                    <a:pt x="4358" y="171"/>
                  </a:cubicBezTo>
                  <a:cubicBezTo>
                    <a:pt x="4353" y="157"/>
                    <a:pt x="4360" y="143"/>
                    <a:pt x="4374" y="141"/>
                  </a:cubicBezTo>
                  <a:close/>
                  <a:moveTo>
                    <a:pt x="4404" y="112"/>
                  </a:moveTo>
                  <a:cubicBezTo>
                    <a:pt x="4390" y="115"/>
                    <a:pt x="4373" y="105"/>
                    <a:pt x="4367" y="91"/>
                  </a:cubicBezTo>
                  <a:cubicBezTo>
                    <a:pt x="4362" y="77"/>
                    <a:pt x="4369" y="64"/>
                    <a:pt x="4383" y="61"/>
                  </a:cubicBezTo>
                  <a:cubicBezTo>
                    <a:pt x="4397" y="59"/>
                    <a:pt x="4413" y="68"/>
                    <a:pt x="4419" y="82"/>
                  </a:cubicBezTo>
                  <a:cubicBezTo>
                    <a:pt x="4425" y="96"/>
                    <a:pt x="4418" y="110"/>
                    <a:pt x="4404" y="112"/>
                  </a:cubicBezTo>
                  <a:close/>
                  <a:moveTo>
                    <a:pt x="4442" y="205"/>
                  </a:moveTo>
                  <a:cubicBezTo>
                    <a:pt x="4457" y="202"/>
                    <a:pt x="4473" y="211"/>
                    <a:pt x="4479" y="226"/>
                  </a:cubicBezTo>
                  <a:cubicBezTo>
                    <a:pt x="4485" y="240"/>
                    <a:pt x="4478" y="253"/>
                    <a:pt x="4463" y="256"/>
                  </a:cubicBezTo>
                  <a:cubicBezTo>
                    <a:pt x="4448" y="259"/>
                    <a:pt x="4432" y="249"/>
                    <a:pt x="4426" y="235"/>
                  </a:cubicBezTo>
                  <a:cubicBezTo>
                    <a:pt x="4420" y="221"/>
                    <a:pt x="4427" y="207"/>
                    <a:pt x="4442" y="205"/>
                  </a:cubicBezTo>
                  <a:close/>
                  <a:moveTo>
                    <a:pt x="4456" y="126"/>
                  </a:moveTo>
                  <a:cubicBezTo>
                    <a:pt x="4471" y="124"/>
                    <a:pt x="4487" y="133"/>
                    <a:pt x="4493" y="147"/>
                  </a:cubicBezTo>
                  <a:cubicBezTo>
                    <a:pt x="4499" y="161"/>
                    <a:pt x="4492" y="175"/>
                    <a:pt x="4478" y="178"/>
                  </a:cubicBezTo>
                  <a:cubicBezTo>
                    <a:pt x="4463" y="180"/>
                    <a:pt x="4447" y="171"/>
                    <a:pt x="4441" y="157"/>
                  </a:cubicBezTo>
                  <a:cubicBezTo>
                    <a:pt x="4435" y="143"/>
                    <a:pt x="4442" y="129"/>
                    <a:pt x="4456" y="126"/>
                  </a:cubicBezTo>
                  <a:close/>
                  <a:moveTo>
                    <a:pt x="4486" y="98"/>
                  </a:moveTo>
                  <a:cubicBezTo>
                    <a:pt x="4471" y="100"/>
                    <a:pt x="4455" y="91"/>
                    <a:pt x="4449" y="77"/>
                  </a:cubicBezTo>
                  <a:cubicBezTo>
                    <a:pt x="4443" y="63"/>
                    <a:pt x="4449" y="49"/>
                    <a:pt x="4464" y="47"/>
                  </a:cubicBezTo>
                  <a:cubicBezTo>
                    <a:pt x="4478" y="44"/>
                    <a:pt x="4495" y="53"/>
                    <a:pt x="4501" y="67"/>
                  </a:cubicBezTo>
                  <a:cubicBezTo>
                    <a:pt x="4507" y="82"/>
                    <a:pt x="4500" y="95"/>
                    <a:pt x="4486" y="98"/>
                  </a:cubicBezTo>
                  <a:close/>
                  <a:moveTo>
                    <a:pt x="4517" y="270"/>
                  </a:moveTo>
                  <a:cubicBezTo>
                    <a:pt x="4532" y="267"/>
                    <a:pt x="4548" y="276"/>
                    <a:pt x="4554" y="290"/>
                  </a:cubicBezTo>
                  <a:cubicBezTo>
                    <a:pt x="4561" y="305"/>
                    <a:pt x="4553" y="318"/>
                    <a:pt x="4538" y="321"/>
                  </a:cubicBezTo>
                  <a:cubicBezTo>
                    <a:pt x="4523" y="324"/>
                    <a:pt x="4506" y="314"/>
                    <a:pt x="4500" y="300"/>
                  </a:cubicBezTo>
                  <a:cubicBezTo>
                    <a:pt x="4495" y="286"/>
                    <a:pt x="4502" y="273"/>
                    <a:pt x="4517" y="270"/>
                  </a:cubicBezTo>
                  <a:close/>
                  <a:moveTo>
                    <a:pt x="4525" y="190"/>
                  </a:moveTo>
                  <a:cubicBezTo>
                    <a:pt x="4540" y="187"/>
                    <a:pt x="4557" y="196"/>
                    <a:pt x="4563" y="210"/>
                  </a:cubicBezTo>
                  <a:cubicBezTo>
                    <a:pt x="4569" y="224"/>
                    <a:pt x="4562" y="238"/>
                    <a:pt x="4547" y="241"/>
                  </a:cubicBezTo>
                  <a:cubicBezTo>
                    <a:pt x="4532" y="243"/>
                    <a:pt x="4516" y="234"/>
                    <a:pt x="4510" y="220"/>
                  </a:cubicBezTo>
                  <a:cubicBezTo>
                    <a:pt x="4504" y="206"/>
                    <a:pt x="4511" y="192"/>
                    <a:pt x="4525" y="190"/>
                  </a:cubicBezTo>
                  <a:close/>
                  <a:moveTo>
                    <a:pt x="4538" y="111"/>
                  </a:moveTo>
                  <a:cubicBezTo>
                    <a:pt x="4553" y="109"/>
                    <a:pt x="4569" y="118"/>
                    <a:pt x="4576" y="132"/>
                  </a:cubicBezTo>
                  <a:cubicBezTo>
                    <a:pt x="4582" y="146"/>
                    <a:pt x="4575" y="160"/>
                    <a:pt x="4561" y="162"/>
                  </a:cubicBezTo>
                  <a:cubicBezTo>
                    <a:pt x="4546" y="165"/>
                    <a:pt x="4529" y="156"/>
                    <a:pt x="4523" y="142"/>
                  </a:cubicBezTo>
                  <a:cubicBezTo>
                    <a:pt x="4517" y="128"/>
                    <a:pt x="4524" y="114"/>
                    <a:pt x="4538" y="111"/>
                  </a:cubicBezTo>
                  <a:close/>
                  <a:moveTo>
                    <a:pt x="4567" y="83"/>
                  </a:moveTo>
                  <a:cubicBezTo>
                    <a:pt x="4553" y="85"/>
                    <a:pt x="4536" y="76"/>
                    <a:pt x="4530" y="62"/>
                  </a:cubicBezTo>
                  <a:cubicBezTo>
                    <a:pt x="4524" y="48"/>
                    <a:pt x="4530" y="34"/>
                    <a:pt x="4545" y="32"/>
                  </a:cubicBezTo>
                  <a:cubicBezTo>
                    <a:pt x="4559" y="29"/>
                    <a:pt x="4575" y="38"/>
                    <a:pt x="4582" y="52"/>
                  </a:cubicBezTo>
                  <a:cubicBezTo>
                    <a:pt x="4588" y="66"/>
                    <a:pt x="4582" y="80"/>
                    <a:pt x="4567" y="83"/>
                  </a:cubicBezTo>
                  <a:close/>
                  <a:moveTo>
                    <a:pt x="4601" y="254"/>
                  </a:moveTo>
                  <a:cubicBezTo>
                    <a:pt x="4616" y="251"/>
                    <a:pt x="4633" y="260"/>
                    <a:pt x="4639" y="275"/>
                  </a:cubicBezTo>
                  <a:cubicBezTo>
                    <a:pt x="4645" y="289"/>
                    <a:pt x="4638" y="302"/>
                    <a:pt x="4623" y="305"/>
                  </a:cubicBezTo>
                  <a:cubicBezTo>
                    <a:pt x="4608" y="308"/>
                    <a:pt x="4591" y="299"/>
                    <a:pt x="4585" y="285"/>
                  </a:cubicBezTo>
                  <a:cubicBezTo>
                    <a:pt x="4579" y="271"/>
                    <a:pt x="4586" y="257"/>
                    <a:pt x="4601" y="254"/>
                  </a:cubicBezTo>
                  <a:close/>
                  <a:moveTo>
                    <a:pt x="4608" y="174"/>
                  </a:moveTo>
                  <a:cubicBezTo>
                    <a:pt x="4623" y="171"/>
                    <a:pt x="4640" y="180"/>
                    <a:pt x="4646" y="194"/>
                  </a:cubicBezTo>
                  <a:cubicBezTo>
                    <a:pt x="4653" y="208"/>
                    <a:pt x="4646" y="222"/>
                    <a:pt x="4631" y="225"/>
                  </a:cubicBezTo>
                  <a:cubicBezTo>
                    <a:pt x="4616" y="228"/>
                    <a:pt x="4599" y="219"/>
                    <a:pt x="4593" y="205"/>
                  </a:cubicBezTo>
                  <a:cubicBezTo>
                    <a:pt x="4587" y="191"/>
                    <a:pt x="4594" y="177"/>
                    <a:pt x="4608" y="174"/>
                  </a:cubicBezTo>
                  <a:close/>
                  <a:moveTo>
                    <a:pt x="4643" y="147"/>
                  </a:moveTo>
                  <a:cubicBezTo>
                    <a:pt x="4629" y="149"/>
                    <a:pt x="4612" y="140"/>
                    <a:pt x="4605" y="126"/>
                  </a:cubicBezTo>
                  <a:cubicBezTo>
                    <a:pt x="4599" y="112"/>
                    <a:pt x="4606" y="99"/>
                    <a:pt x="4620" y="96"/>
                  </a:cubicBezTo>
                  <a:cubicBezTo>
                    <a:pt x="4635" y="93"/>
                    <a:pt x="4651" y="102"/>
                    <a:pt x="4658" y="116"/>
                  </a:cubicBezTo>
                  <a:cubicBezTo>
                    <a:pt x="4664" y="130"/>
                    <a:pt x="4658" y="144"/>
                    <a:pt x="4643" y="147"/>
                  </a:cubicBezTo>
                  <a:close/>
                  <a:moveTo>
                    <a:pt x="4672" y="317"/>
                  </a:moveTo>
                  <a:cubicBezTo>
                    <a:pt x="4687" y="314"/>
                    <a:pt x="4705" y="323"/>
                    <a:pt x="4711" y="337"/>
                  </a:cubicBezTo>
                  <a:cubicBezTo>
                    <a:pt x="4717" y="351"/>
                    <a:pt x="4710" y="364"/>
                    <a:pt x="4695" y="367"/>
                  </a:cubicBezTo>
                  <a:cubicBezTo>
                    <a:pt x="4680" y="370"/>
                    <a:pt x="4662" y="361"/>
                    <a:pt x="4656" y="347"/>
                  </a:cubicBezTo>
                  <a:cubicBezTo>
                    <a:pt x="4650" y="333"/>
                    <a:pt x="4657" y="319"/>
                    <a:pt x="4672" y="317"/>
                  </a:cubicBezTo>
                  <a:close/>
                  <a:moveTo>
                    <a:pt x="4708" y="289"/>
                  </a:moveTo>
                  <a:cubicBezTo>
                    <a:pt x="4693" y="292"/>
                    <a:pt x="4676" y="283"/>
                    <a:pt x="4670" y="269"/>
                  </a:cubicBezTo>
                  <a:cubicBezTo>
                    <a:pt x="4663" y="255"/>
                    <a:pt x="4670" y="241"/>
                    <a:pt x="4685" y="238"/>
                  </a:cubicBezTo>
                  <a:cubicBezTo>
                    <a:pt x="4700" y="235"/>
                    <a:pt x="4717" y="244"/>
                    <a:pt x="4724" y="258"/>
                  </a:cubicBezTo>
                  <a:cubicBezTo>
                    <a:pt x="4730" y="272"/>
                    <a:pt x="4723" y="286"/>
                    <a:pt x="4708" y="289"/>
                  </a:cubicBezTo>
                  <a:close/>
                </a:path>
              </a:pathLst>
            </a:custGeom>
            <a:solidFill>
              <a:srgbClr val="FFFFFF">
                <a:alpha val="5098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11288" name="Freeform 4"/>
            <p:cNvSpPr>
              <a:spLocks noChangeArrowheads="1"/>
            </p:cNvSpPr>
            <p:nvPr/>
          </p:nvSpPr>
          <p:spPr bwMode="auto">
            <a:xfrm>
              <a:off x="1" y="3765"/>
              <a:ext cx="5755" cy="557"/>
            </a:xfrm>
            <a:custGeom>
              <a:avLst/>
              <a:gdLst>
                <a:gd name="T0" fmla="*/ 59 w 5759"/>
                <a:gd name="T1" fmla="*/ 8 h 560"/>
                <a:gd name="T2" fmla="*/ 2866 w 5759"/>
                <a:gd name="T3" fmla="*/ 208 h 560"/>
                <a:gd name="T4" fmla="*/ 5667 w 5759"/>
                <a:gd name="T5" fmla="*/ 8 h 560"/>
                <a:gd name="T6" fmla="*/ 5735 w 5759"/>
                <a:gd name="T7" fmla="*/ 0 h 560"/>
                <a:gd name="T8" fmla="*/ 5734 w 5759"/>
                <a:gd name="T9" fmla="*/ 535 h 560"/>
                <a:gd name="T10" fmla="*/ 0 w 5759"/>
                <a:gd name="T11" fmla="*/ 542 h 560"/>
                <a:gd name="T12" fmla="*/ 0 w 5759"/>
                <a:gd name="T13" fmla="*/ 2 h 560"/>
                <a:gd name="T14" fmla="*/ 59 w 5759"/>
                <a:gd name="T15" fmla="*/ 8 h 56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5759" h="560">
                  <a:moveTo>
                    <a:pt x="59" y="8"/>
                  </a:moveTo>
                  <a:cubicBezTo>
                    <a:pt x="445" y="59"/>
                    <a:pt x="1400" y="214"/>
                    <a:pt x="2878" y="214"/>
                  </a:cubicBezTo>
                  <a:cubicBezTo>
                    <a:pt x="4357" y="214"/>
                    <a:pt x="5305" y="59"/>
                    <a:pt x="5691" y="8"/>
                  </a:cubicBezTo>
                  <a:cubicBezTo>
                    <a:pt x="5716" y="8"/>
                    <a:pt x="5739" y="0"/>
                    <a:pt x="5759" y="0"/>
                  </a:cubicBezTo>
                  <a:cubicBezTo>
                    <a:pt x="5759" y="95"/>
                    <a:pt x="5758" y="241"/>
                    <a:pt x="5758" y="553"/>
                  </a:cubicBezTo>
                  <a:cubicBezTo>
                    <a:pt x="5401" y="553"/>
                    <a:pt x="947" y="560"/>
                    <a:pt x="0" y="560"/>
                  </a:cubicBezTo>
                  <a:cubicBezTo>
                    <a:pt x="0" y="226"/>
                    <a:pt x="0" y="217"/>
                    <a:pt x="0" y="2"/>
                  </a:cubicBezTo>
                  <a:cubicBezTo>
                    <a:pt x="15" y="2"/>
                    <a:pt x="34" y="8"/>
                    <a:pt x="59" y="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grpSp>
          <p:nvGrpSpPr>
            <p:cNvPr id="11289" name="Group 5"/>
            <p:cNvGrpSpPr>
              <a:grpSpLocks/>
            </p:cNvGrpSpPr>
            <p:nvPr/>
          </p:nvGrpSpPr>
          <p:grpSpPr bwMode="auto">
            <a:xfrm>
              <a:off x="0" y="3702"/>
              <a:ext cx="5755" cy="269"/>
              <a:chOff x="0" y="3702"/>
              <a:chExt cx="5755" cy="269"/>
            </a:xfrm>
          </p:grpSpPr>
          <p:sp>
            <p:nvSpPr>
              <p:cNvPr id="2" name="Freeform 6"/>
              <p:cNvSpPr>
                <a:spLocks noChangeArrowheads="1"/>
              </p:cNvSpPr>
              <p:nvPr/>
            </p:nvSpPr>
            <p:spPr bwMode="auto">
              <a:xfrm>
                <a:off x="1" y="3702"/>
                <a:ext cx="5754" cy="205"/>
              </a:xfrm>
              <a:custGeom>
                <a:avLst/>
                <a:gdLst>
                  <a:gd name="T0" fmla="*/ 2147483647 w 1134"/>
                  <a:gd name="T1" fmla="*/ 0 h 41"/>
                  <a:gd name="T2" fmla="*/ 0 w 1134"/>
                  <a:gd name="T3" fmla="*/ 2147483647 h 41"/>
                  <a:gd name="T4" fmla="*/ 283797139 w 1134"/>
                  <a:gd name="T5" fmla="*/ 2147483647 h 41"/>
                  <a:gd name="T6" fmla="*/ 748446496 w 1134"/>
                  <a:gd name="T7" fmla="*/ 2147483647 h 41"/>
                  <a:gd name="T8" fmla="*/ 2147483647 w 1134"/>
                  <a:gd name="T9" fmla="*/ 683609375 h 41"/>
                  <a:gd name="T10" fmla="*/ 2147483647 w 1134"/>
                  <a:gd name="T11" fmla="*/ 2147483647 h 41"/>
                  <a:gd name="T12" fmla="*/ 2147483647 w 1134"/>
                  <a:gd name="T13" fmla="*/ 2147483647 h 41"/>
                  <a:gd name="T14" fmla="*/ 2147483647 w 1134"/>
                  <a:gd name="T15" fmla="*/ 2147483647 h 41"/>
                  <a:gd name="T16" fmla="*/ 2147483647 w 1134"/>
                  <a:gd name="T17" fmla="*/ 2147483647 h 41"/>
                  <a:gd name="T18" fmla="*/ 2147483647 w 1134"/>
                  <a:gd name="T19" fmla="*/ 0 h 41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1134" h="41">
                    <a:moveTo>
                      <a:pt x="567" y="0"/>
                    </a:moveTo>
                    <a:cubicBezTo>
                      <a:pt x="264" y="0"/>
                      <a:pt x="69" y="29"/>
                      <a:pt x="0" y="41"/>
                    </a:cubicBezTo>
                    <a:cubicBezTo>
                      <a:pt x="5" y="41"/>
                      <a:pt x="5" y="41"/>
                      <a:pt x="5" y="41"/>
                    </a:cubicBezTo>
                    <a:cubicBezTo>
                      <a:pt x="13" y="41"/>
                      <a:pt x="13" y="41"/>
                      <a:pt x="13" y="41"/>
                    </a:cubicBezTo>
                    <a:cubicBezTo>
                      <a:pt x="89" y="31"/>
                      <a:pt x="276" y="13"/>
                      <a:pt x="567" y="13"/>
                    </a:cubicBezTo>
                    <a:cubicBezTo>
                      <a:pt x="858" y="13"/>
                      <a:pt x="1046" y="31"/>
                      <a:pt x="1122" y="41"/>
                    </a:cubicBezTo>
                    <a:cubicBezTo>
                      <a:pt x="1129" y="41"/>
                      <a:pt x="1129" y="41"/>
                      <a:pt x="1129" y="41"/>
                    </a:cubicBezTo>
                    <a:cubicBezTo>
                      <a:pt x="1134" y="41"/>
                      <a:pt x="1134" y="41"/>
                      <a:pt x="1134" y="41"/>
                    </a:cubicBezTo>
                    <a:cubicBezTo>
                      <a:pt x="1134" y="41"/>
                      <a:pt x="1134" y="41"/>
                      <a:pt x="1134" y="41"/>
                    </a:cubicBezTo>
                    <a:cubicBezTo>
                      <a:pt x="1066" y="29"/>
                      <a:pt x="870" y="0"/>
                      <a:pt x="567" y="0"/>
                    </a:cubicBezTo>
                    <a:close/>
                  </a:path>
                </a:pathLst>
              </a:custGeom>
              <a:solidFill>
                <a:srgbClr val="006699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176" name="Freeform 7"/>
              <p:cNvSpPr>
                <a:spLocks noChangeArrowheads="1"/>
              </p:cNvSpPr>
              <p:nvPr/>
            </p:nvSpPr>
            <p:spPr bwMode="auto">
              <a:xfrm>
                <a:off x="0" y="3768"/>
                <a:ext cx="5754" cy="203"/>
              </a:xfrm>
              <a:custGeom>
                <a:avLst/>
                <a:gdLst>
                  <a:gd name="T0" fmla="*/ 5673 w 5758"/>
                  <a:gd name="T1" fmla="*/ 130 h 206"/>
                  <a:gd name="T2" fmla="*/ 2867 w 5758"/>
                  <a:gd name="T3" fmla="*/ 0 h 206"/>
                  <a:gd name="T4" fmla="*/ 66 w 5758"/>
                  <a:gd name="T5" fmla="*/ 130 h 206"/>
                  <a:gd name="T6" fmla="*/ 0 w 5758"/>
                  <a:gd name="T7" fmla="*/ 135 h 206"/>
                  <a:gd name="T8" fmla="*/ 0 w 5758"/>
                  <a:gd name="T9" fmla="*/ 179 h 206"/>
                  <a:gd name="T10" fmla="*/ 2862 w 5758"/>
                  <a:gd name="T11" fmla="*/ 184 h 206"/>
                  <a:gd name="T12" fmla="*/ 5733 w 5758"/>
                  <a:gd name="T13" fmla="*/ 177 h 206"/>
                  <a:gd name="T14" fmla="*/ 5734 w 5758"/>
                  <a:gd name="T15" fmla="*/ 135 h 206"/>
                  <a:gd name="T16" fmla="*/ 5673 w 5758"/>
                  <a:gd name="T17" fmla="*/ 130 h 20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5758" h="206">
                    <a:moveTo>
                      <a:pt x="5697" y="142"/>
                    </a:moveTo>
                    <a:cubicBezTo>
                      <a:pt x="5311" y="91"/>
                      <a:pt x="4357" y="0"/>
                      <a:pt x="2879" y="0"/>
                    </a:cubicBezTo>
                    <a:cubicBezTo>
                      <a:pt x="1401" y="0"/>
                      <a:pt x="452" y="91"/>
                      <a:pt x="66" y="142"/>
                    </a:cubicBezTo>
                    <a:cubicBezTo>
                      <a:pt x="41" y="142"/>
                      <a:pt x="20" y="147"/>
                      <a:pt x="0" y="147"/>
                    </a:cubicBezTo>
                    <a:cubicBezTo>
                      <a:pt x="0" y="181"/>
                      <a:pt x="0" y="197"/>
                      <a:pt x="0" y="197"/>
                    </a:cubicBezTo>
                    <a:cubicBezTo>
                      <a:pt x="479" y="206"/>
                      <a:pt x="1915" y="202"/>
                      <a:pt x="2874" y="202"/>
                    </a:cubicBezTo>
                    <a:cubicBezTo>
                      <a:pt x="3833" y="202"/>
                      <a:pt x="5276" y="204"/>
                      <a:pt x="5757" y="195"/>
                    </a:cubicBezTo>
                    <a:cubicBezTo>
                      <a:pt x="5758" y="166"/>
                      <a:pt x="5758" y="147"/>
                      <a:pt x="5758" y="147"/>
                    </a:cubicBezTo>
                    <a:cubicBezTo>
                      <a:pt x="5743" y="147"/>
                      <a:pt x="5722" y="142"/>
                      <a:pt x="5697" y="142"/>
                    </a:cubicBezTo>
                    <a:close/>
                  </a:path>
                </a:pathLst>
              </a:custGeom>
              <a:gradFill rotWithShape="0">
                <a:gsLst>
                  <a:gs pos="0">
                    <a:srgbClr val="000000"/>
                  </a:gs>
                  <a:gs pos="100000">
                    <a:srgbClr val="000000">
                      <a:alpha val="50000"/>
                    </a:srgbClr>
                  </a:gs>
                </a:gsLst>
                <a:lin ang="5400000" scaled="1"/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</p:grpSp>
        <p:grpSp>
          <p:nvGrpSpPr>
            <p:cNvPr id="11290" name="Group 8"/>
            <p:cNvGrpSpPr>
              <a:grpSpLocks/>
            </p:cNvGrpSpPr>
            <p:nvPr/>
          </p:nvGrpSpPr>
          <p:grpSpPr bwMode="auto">
            <a:xfrm>
              <a:off x="4921" y="0"/>
              <a:ext cx="836" cy="759"/>
              <a:chOff x="4921" y="0"/>
              <a:chExt cx="836" cy="759"/>
            </a:xfrm>
          </p:grpSpPr>
          <p:sp>
            <p:nvSpPr>
              <p:cNvPr id="11294" name="Freeform 9"/>
              <p:cNvSpPr>
                <a:spLocks noChangeArrowheads="1"/>
              </p:cNvSpPr>
              <p:nvPr/>
            </p:nvSpPr>
            <p:spPr bwMode="auto">
              <a:xfrm>
                <a:off x="5601" y="14"/>
                <a:ext cx="12" cy="10"/>
              </a:xfrm>
              <a:custGeom>
                <a:avLst/>
                <a:gdLst>
                  <a:gd name="T0" fmla="*/ 1993 w 9"/>
                  <a:gd name="T1" fmla="*/ 1780 h 8"/>
                  <a:gd name="T2" fmla="*/ 0 w 9"/>
                  <a:gd name="T3" fmla="*/ 868 h 8"/>
                  <a:gd name="T4" fmla="*/ 1495 w 9"/>
                  <a:gd name="T5" fmla="*/ 0 h 8"/>
                  <a:gd name="T6" fmla="*/ 1993 w 9"/>
                  <a:gd name="T7" fmla="*/ 0 h 8"/>
                  <a:gd name="T8" fmla="*/ 3489 w 9"/>
                  <a:gd name="T9" fmla="*/ 868 h 8"/>
                  <a:gd name="T10" fmla="*/ 1993 w 9"/>
                  <a:gd name="T11" fmla="*/ 1780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8">
                    <a:moveTo>
                      <a:pt x="5" y="8"/>
                    </a:moveTo>
                    <a:cubicBezTo>
                      <a:pt x="2" y="8"/>
                      <a:pt x="0" y="6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6"/>
                      <a:pt x="7" y="8"/>
                      <a:pt x="5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295" name="Freeform 10"/>
              <p:cNvSpPr>
                <a:spLocks noChangeArrowheads="1"/>
              </p:cNvSpPr>
              <p:nvPr/>
            </p:nvSpPr>
            <p:spPr bwMode="auto">
              <a:xfrm>
                <a:off x="5581" y="0"/>
                <a:ext cx="10" cy="13"/>
              </a:xfrm>
              <a:custGeom>
                <a:avLst/>
                <a:gdLst>
                  <a:gd name="T0" fmla="*/ 868 w 8"/>
                  <a:gd name="T1" fmla="*/ 5642 h 9"/>
                  <a:gd name="T2" fmla="*/ 0 w 8"/>
                  <a:gd name="T3" fmla="*/ 2417 h 9"/>
                  <a:gd name="T4" fmla="*/ 0 w 8"/>
                  <a:gd name="T5" fmla="*/ 2417 h 9"/>
                  <a:gd name="T6" fmla="*/ 868 w 8"/>
                  <a:gd name="T7" fmla="*/ 0 h 9"/>
                  <a:gd name="T8" fmla="*/ 1780 w 8"/>
                  <a:gd name="T9" fmla="*/ 2417 h 9"/>
                  <a:gd name="T10" fmla="*/ 868 w 8"/>
                  <a:gd name="T11" fmla="*/ 5642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2" y="9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296" name="Oval 11"/>
              <p:cNvSpPr>
                <a:spLocks noChangeArrowheads="1"/>
              </p:cNvSpPr>
              <p:nvPr/>
            </p:nvSpPr>
            <p:spPr bwMode="auto">
              <a:xfrm>
                <a:off x="5744" y="0"/>
                <a:ext cx="13" cy="13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US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297" name="Freeform 12"/>
              <p:cNvSpPr>
                <a:spLocks noChangeArrowheads="1"/>
              </p:cNvSpPr>
              <p:nvPr/>
            </p:nvSpPr>
            <p:spPr bwMode="auto">
              <a:xfrm>
                <a:off x="5723" y="14"/>
                <a:ext cx="13" cy="10"/>
              </a:xfrm>
              <a:custGeom>
                <a:avLst/>
                <a:gdLst>
                  <a:gd name="T0" fmla="*/ 3225 w 9"/>
                  <a:gd name="T1" fmla="*/ 1780 h 8"/>
                  <a:gd name="T2" fmla="*/ 0 w 9"/>
                  <a:gd name="T3" fmla="*/ 868 h 8"/>
                  <a:gd name="T4" fmla="*/ 0 w 9"/>
                  <a:gd name="T5" fmla="*/ 868 h 8"/>
                  <a:gd name="T6" fmla="*/ 3225 w 9"/>
                  <a:gd name="T7" fmla="*/ 0 h 8"/>
                  <a:gd name="T8" fmla="*/ 3225 w 9"/>
                  <a:gd name="T9" fmla="*/ 0 h 8"/>
                  <a:gd name="T10" fmla="*/ 5642 w 9"/>
                  <a:gd name="T11" fmla="*/ 868 h 8"/>
                  <a:gd name="T12" fmla="*/ 3225 w 9"/>
                  <a:gd name="T13" fmla="*/ 1780 h 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8">
                    <a:moveTo>
                      <a:pt x="5" y="8"/>
                    </a:moveTo>
                    <a:cubicBezTo>
                      <a:pt x="2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6"/>
                      <a:pt x="7" y="8"/>
                      <a:pt x="5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298" name="Freeform 13"/>
              <p:cNvSpPr>
                <a:spLocks noChangeArrowheads="1"/>
              </p:cNvSpPr>
              <p:nvPr/>
            </p:nvSpPr>
            <p:spPr bwMode="auto">
              <a:xfrm>
                <a:off x="5704" y="0"/>
                <a:ext cx="11" cy="13"/>
              </a:xfrm>
              <a:custGeom>
                <a:avLst/>
                <a:gdLst>
                  <a:gd name="T0" fmla="*/ 2164 w 8"/>
                  <a:gd name="T1" fmla="*/ 5642 h 9"/>
                  <a:gd name="T2" fmla="*/ 0 w 8"/>
                  <a:gd name="T3" fmla="*/ 2417 h 9"/>
                  <a:gd name="T4" fmla="*/ 0 w 8"/>
                  <a:gd name="T5" fmla="*/ 2417 h 9"/>
                  <a:gd name="T6" fmla="*/ 2164 w 8"/>
                  <a:gd name="T7" fmla="*/ 0 h 9"/>
                  <a:gd name="T8" fmla="*/ 4077 w 8"/>
                  <a:gd name="T9" fmla="*/ 2417 h 9"/>
                  <a:gd name="T10" fmla="*/ 2164 w 8"/>
                  <a:gd name="T11" fmla="*/ 5642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2" y="9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299" name="Freeform 14"/>
              <p:cNvSpPr>
                <a:spLocks noChangeArrowheads="1"/>
              </p:cNvSpPr>
              <p:nvPr/>
            </p:nvSpPr>
            <p:spPr bwMode="auto">
              <a:xfrm>
                <a:off x="5683" y="14"/>
                <a:ext cx="13" cy="10"/>
              </a:xfrm>
              <a:custGeom>
                <a:avLst/>
                <a:gdLst>
                  <a:gd name="T0" fmla="*/ 2417 w 9"/>
                  <a:gd name="T1" fmla="*/ 1780 h 8"/>
                  <a:gd name="T2" fmla="*/ 0 w 9"/>
                  <a:gd name="T3" fmla="*/ 868 h 8"/>
                  <a:gd name="T4" fmla="*/ 2417 w 9"/>
                  <a:gd name="T5" fmla="*/ 0 h 8"/>
                  <a:gd name="T6" fmla="*/ 2417 w 9"/>
                  <a:gd name="T7" fmla="*/ 0 h 8"/>
                  <a:gd name="T8" fmla="*/ 5642 w 9"/>
                  <a:gd name="T9" fmla="*/ 868 h 8"/>
                  <a:gd name="T10" fmla="*/ 2417 w 9"/>
                  <a:gd name="T11" fmla="*/ 1780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8">
                    <a:moveTo>
                      <a:pt x="4" y="8"/>
                    </a:moveTo>
                    <a:cubicBezTo>
                      <a:pt x="2" y="8"/>
                      <a:pt x="0" y="6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6"/>
                      <a:pt x="7" y="8"/>
                      <a:pt x="4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300" name="Freeform 15"/>
              <p:cNvSpPr>
                <a:spLocks noChangeArrowheads="1"/>
              </p:cNvSpPr>
              <p:nvPr/>
            </p:nvSpPr>
            <p:spPr bwMode="auto">
              <a:xfrm>
                <a:off x="5662" y="0"/>
                <a:ext cx="13" cy="13"/>
              </a:xfrm>
              <a:custGeom>
                <a:avLst/>
                <a:gdLst>
                  <a:gd name="T0" fmla="*/ 3860 w 9"/>
                  <a:gd name="T1" fmla="*/ 5642 h 9"/>
                  <a:gd name="T2" fmla="*/ 0 w 9"/>
                  <a:gd name="T3" fmla="*/ 2417 h 9"/>
                  <a:gd name="T4" fmla="*/ 0 w 9"/>
                  <a:gd name="T5" fmla="*/ 2417 h 9"/>
                  <a:gd name="T6" fmla="*/ 3860 w 9"/>
                  <a:gd name="T7" fmla="*/ 0 h 9"/>
                  <a:gd name="T8" fmla="*/ 7173 w 9"/>
                  <a:gd name="T9" fmla="*/ 2417 h 9"/>
                  <a:gd name="T10" fmla="*/ 3860 w 9"/>
                  <a:gd name="T11" fmla="*/ 5642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2" y="9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301" name="Freeform 16"/>
              <p:cNvSpPr>
                <a:spLocks noChangeArrowheads="1"/>
              </p:cNvSpPr>
              <p:nvPr/>
            </p:nvSpPr>
            <p:spPr bwMode="auto">
              <a:xfrm>
                <a:off x="5642" y="14"/>
                <a:ext cx="11" cy="10"/>
              </a:xfrm>
              <a:custGeom>
                <a:avLst/>
                <a:gdLst>
                  <a:gd name="T0" fmla="*/ 2164 w 8"/>
                  <a:gd name="T1" fmla="*/ 1780 h 8"/>
                  <a:gd name="T2" fmla="*/ 0 w 8"/>
                  <a:gd name="T3" fmla="*/ 868 h 8"/>
                  <a:gd name="T4" fmla="*/ 0 w 8"/>
                  <a:gd name="T5" fmla="*/ 868 h 8"/>
                  <a:gd name="T6" fmla="*/ 2164 w 8"/>
                  <a:gd name="T7" fmla="*/ 0 h 8"/>
                  <a:gd name="T8" fmla="*/ 2164 w 8"/>
                  <a:gd name="T9" fmla="*/ 0 h 8"/>
                  <a:gd name="T10" fmla="*/ 4077 w 8"/>
                  <a:gd name="T11" fmla="*/ 868 h 8"/>
                  <a:gd name="T12" fmla="*/ 4077 w 8"/>
                  <a:gd name="T13" fmla="*/ 868 h 8"/>
                  <a:gd name="T14" fmla="*/ 2164 w 8"/>
                  <a:gd name="T15" fmla="*/ 1780 h 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8" h="8">
                    <a:moveTo>
                      <a:pt x="4" y="8"/>
                    </a:moveTo>
                    <a:cubicBezTo>
                      <a:pt x="2" y="8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6"/>
                      <a:pt x="6" y="8"/>
                      <a:pt x="4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302" name="Oval 17"/>
              <p:cNvSpPr>
                <a:spLocks noChangeArrowheads="1"/>
              </p:cNvSpPr>
              <p:nvPr/>
            </p:nvSpPr>
            <p:spPr bwMode="auto">
              <a:xfrm>
                <a:off x="5621" y="0"/>
                <a:ext cx="13" cy="13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US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303" name="Freeform 18"/>
              <p:cNvSpPr>
                <a:spLocks noChangeArrowheads="1"/>
              </p:cNvSpPr>
              <p:nvPr/>
            </p:nvSpPr>
            <p:spPr bwMode="auto">
              <a:xfrm>
                <a:off x="5415" y="21"/>
                <a:ext cx="13" cy="11"/>
              </a:xfrm>
              <a:custGeom>
                <a:avLst/>
                <a:gdLst>
                  <a:gd name="T0" fmla="*/ 3225 w 9"/>
                  <a:gd name="T1" fmla="*/ 4077 h 8"/>
                  <a:gd name="T2" fmla="*/ 2417 w 9"/>
                  <a:gd name="T3" fmla="*/ 4077 h 8"/>
                  <a:gd name="T4" fmla="*/ 0 w 9"/>
                  <a:gd name="T5" fmla="*/ 2164 h 8"/>
                  <a:gd name="T6" fmla="*/ 0 w 9"/>
                  <a:gd name="T7" fmla="*/ 2164 h 8"/>
                  <a:gd name="T8" fmla="*/ 2417 w 9"/>
                  <a:gd name="T9" fmla="*/ 0 h 8"/>
                  <a:gd name="T10" fmla="*/ 5642 w 9"/>
                  <a:gd name="T11" fmla="*/ 2164 h 8"/>
                  <a:gd name="T12" fmla="*/ 3225 w 9"/>
                  <a:gd name="T13" fmla="*/ 4077 h 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8">
                    <a:moveTo>
                      <a:pt x="5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6"/>
                      <a:pt x="7" y="8"/>
                      <a:pt x="5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304" name="Oval 19"/>
              <p:cNvSpPr>
                <a:spLocks noChangeArrowheads="1"/>
              </p:cNvSpPr>
              <p:nvPr/>
            </p:nvSpPr>
            <p:spPr bwMode="auto">
              <a:xfrm>
                <a:off x="5601" y="33"/>
                <a:ext cx="12" cy="13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US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305" name="Freeform 20"/>
              <p:cNvSpPr>
                <a:spLocks noChangeArrowheads="1"/>
              </p:cNvSpPr>
              <p:nvPr/>
            </p:nvSpPr>
            <p:spPr bwMode="auto">
              <a:xfrm>
                <a:off x="5581" y="21"/>
                <a:ext cx="10" cy="11"/>
              </a:xfrm>
              <a:custGeom>
                <a:avLst/>
                <a:gdLst>
                  <a:gd name="T0" fmla="*/ 868 w 8"/>
                  <a:gd name="T1" fmla="*/ 4077 h 8"/>
                  <a:gd name="T2" fmla="*/ 868 w 8"/>
                  <a:gd name="T3" fmla="*/ 4077 h 8"/>
                  <a:gd name="T4" fmla="*/ 0 w 8"/>
                  <a:gd name="T5" fmla="*/ 2164 h 8"/>
                  <a:gd name="T6" fmla="*/ 0 w 8"/>
                  <a:gd name="T7" fmla="*/ 2164 h 8"/>
                  <a:gd name="T8" fmla="*/ 868 w 8"/>
                  <a:gd name="T9" fmla="*/ 0 h 8"/>
                  <a:gd name="T10" fmla="*/ 1780 w 8"/>
                  <a:gd name="T11" fmla="*/ 2164 h 8"/>
                  <a:gd name="T12" fmla="*/ 868 w 8"/>
                  <a:gd name="T13" fmla="*/ 4077 h 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8" h="8">
                    <a:moveTo>
                      <a:pt x="4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6"/>
                      <a:pt x="6" y="8"/>
                      <a:pt x="4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306" name="Freeform 21"/>
              <p:cNvSpPr>
                <a:spLocks noChangeArrowheads="1"/>
              </p:cNvSpPr>
              <p:nvPr/>
            </p:nvSpPr>
            <p:spPr bwMode="auto">
              <a:xfrm>
                <a:off x="5559" y="33"/>
                <a:ext cx="13" cy="13"/>
              </a:xfrm>
              <a:custGeom>
                <a:avLst/>
                <a:gdLst>
                  <a:gd name="T0" fmla="*/ 3194 w 9"/>
                  <a:gd name="T1" fmla="*/ 7173 h 9"/>
                  <a:gd name="T2" fmla="*/ 0 w 9"/>
                  <a:gd name="T3" fmla="*/ 3860 h 9"/>
                  <a:gd name="T4" fmla="*/ 0 w 9"/>
                  <a:gd name="T5" fmla="*/ 3860 h 9"/>
                  <a:gd name="T6" fmla="*/ 3194 w 9"/>
                  <a:gd name="T7" fmla="*/ 0 h 9"/>
                  <a:gd name="T8" fmla="*/ 7173 w 9"/>
                  <a:gd name="T9" fmla="*/ 3860 h 9"/>
                  <a:gd name="T10" fmla="*/ 3194 w 9"/>
                  <a:gd name="T11" fmla="*/ 7173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5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307" name="Freeform 22"/>
              <p:cNvSpPr>
                <a:spLocks noChangeArrowheads="1"/>
              </p:cNvSpPr>
              <p:nvPr/>
            </p:nvSpPr>
            <p:spPr bwMode="auto">
              <a:xfrm>
                <a:off x="5744" y="21"/>
                <a:ext cx="13" cy="11"/>
              </a:xfrm>
              <a:custGeom>
                <a:avLst/>
                <a:gdLst>
                  <a:gd name="T0" fmla="*/ 3860 w 9"/>
                  <a:gd name="T1" fmla="*/ 4077 h 8"/>
                  <a:gd name="T2" fmla="*/ 3194 w 9"/>
                  <a:gd name="T3" fmla="*/ 4077 h 8"/>
                  <a:gd name="T4" fmla="*/ 0 w 9"/>
                  <a:gd name="T5" fmla="*/ 2164 h 8"/>
                  <a:gd name="T6" fmla="*/ 3194 w 9"/>
                  <a:gd name="T7" fmla="*/ 0 h 8"/>
                  <a:gd name="T8" fmla="*/ 7173 w 9"/>
                  <a:gd name="T9" fmla="*/ 2164 h 8"/>
                  <a:gd name="T10" fmla="*/ 3860 w 9"/>
                  <a:gd name="T11" fmla="*/ 4077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8">
                    <a:moveTo>
                      <a:pt x="5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0" y="6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6"/>
                      <a:pt x="7" y="8"/>
                      <a:pt x="5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308" name="Freeform 23"/>
              <p:cNvSpPr>
                <a:spLocks noChangeArrowheads="1"/>
              </p:cNvSpPr>
              <p:nvPr/>
            </p:nvSpPr>
            <p:spPr bwMode="auto">
              <a:xfrm>
                <a:off x="5723" y="33"/>
                <a:ext cx="13" cy="13"/>
              </a:xfrm>
              <a:custGeom>
                <a:avLst/>
                <a:gdLst>
                  <a:gd name="T0" fmla="*/ 3225 w 9"/>
                  <a:gd name="T1" fmla="*/ 7173 h 9"/>
                  <a:gd name="T2" fmla="*/ 0 w 9"/>
                  <a:gd name="T3" fmla="*/ 3860 h 9"/>
                  <a:gd name="T4" fmla="*/ 0 w 9"/>
                  <a:gd name="T5" fmla="*/ 3860 h 9"/>
                  <a:gd name="T6" fmla="*/ 3225 w 9"/>
                  <a:gd name="T7" fmla="*/ 0 h 9"/>
                  <a:gd name="T8" fmla="*/ 5642 w 9"/>
                  <a:gd name="T9" fmla="*/ 3860 h 9"/>
                  <a:gd name="T10" fmla="*/ 3225 w 9"/>
                  <a:gd name="T11" fmla="*/ 7173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5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309" name="Freeform 24"/>
              <p:cNvSpPr>
                <a:spLocks noChangeArrowheads="1"/>
              </p:cNvSpPr>
              <p:nvPr/>
            </p:nvSpPr>
            <p:spPr bwMode="auto">
              <a:xfrm>
                <a:off x="5704" y="21"/>
                <a:ext cx="11" cy="11"/>
              </a:xfrm>
              <a:custGeom>
                <a:avLst/>
                <a:gdLst>
                  <a:gd name="T0" fmla="*/ 2164 w 8"/>
                  <a:gd name="T1" fmla="*/ 4077 h 8"/>
                  <a:gd name="T2" fmla="*/ 2164 w 8"/>
                  <a:gd name="T3" fmla="*/ 4077 h 8"/>
                  <a:gd name="T4" fmla="*/ 0 w 8"/>
                  <a:gd name="T5" fmla="*/ 2164 h 8"/>
                  <a:gd name="T6" fmla="*/ 0 w 8"/>
                  <a:gd name="T7" fmla="*/ 2164 h 8"/>
                  <a:gd name="T8" fmla="*/ 2164 w 8"/>
                  <a:gd name="T9" fmla="*/ 0 h 8"/>
                  <a:gd name="T10" fmla="*/ 4077 w 8"/>
                  <a:gd name="T11" fmla="*/ 2164 h 8"/>
                  <a:gd name="T12" fmla="*/ 2164 w 8"/>
                  <a:gd name="T13" fmla="*/ 4077 h 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8" h="8">
                    <a:moveTo>
                      <a:pt x="4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6"/>
                      <a:pt x="7" y="8"/>
                      <a:pt x="4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310" name="Oval 25"/>
              <p:cNvSpPr>
                <a:spLocks noChangeArrowheads="1"/>
              </p:cNvSpPr>
              <p:nvPr/>
            </p:nvSpPr>
            <p:spPr bwMode="auto">
              <a:xfrm>
                <a:off x="5683" y="33"/>
                <a:ext cx="13" cy="13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US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311" name="Freeform 26"/>
              <p:cNvSpPr>
                <a:spLocks noChangeArrowheads="1"/>
              </p:cNvSpPr>
              <p:nvPr/>
            </p:nvSpPr>
            <p:spPr bwMode="auto">
              <a:xfrm>
                <a:off x="5662" y="21"/>
                <a:ext cx="13" cy="11"/>
              </a:xfrm>
              <a:custGeom>
                <a:avLst/>
                <a:gdLst>
                  <a:gd name="T0" fmla="*/ 3860 w 9"/>
                  <a:gd name="T1" fmla="*/ 4077 h 8"/>
                  <a:gd name="T2" fmla="*/ 3860 w 9"/>
                  <a:gd name="T3" fmla="*/ 4077 h 8"/>
                  <a:gd name="T4" fmla="*/ 0 w 9"/>
                  <a:gd name="T5" fmla="*/ 2164 h 8"/>
                  <a:gd name="T6" fmla="*/ 0 w 9"/>
                  <a:gd name="T7" fmla="*/ 2164 h 8"/>
                  <a:gd name="T8" fmla="*/ 3860 w 9"/>
                  <a:gd name="T9" fmla="*/ 0 h 8"/>
                  <a:gd name="T10" fmla="*/ 7173 w 9"/>
                  <a:gd name="T11" fmla="*/ 2164 h 8"/>
                  <a:gd name="T12" fmla="*/ 3860 w 9"/>
                  <a:gd name="T13" fmla="*/ 4077 h 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8">
                    <a:moveTo>
                      <a:pt x="5" y="8"/>
                    </a:moveTo>
                    <a:cubicBezTo>
                      <a:pt x="5" y="8"/>
                      <a:pt x="5" y="8"/>
                      <a:pt x="5" y="8"/>
                    </a:cubicBezTo>
                    <a:cubicBezTo>
                      <a:pt x="2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6"/>
                      <a:pt x="7" y="8"/>
                      <a:pt x="5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312" name="Freeform 27"/>
              <p:cNvSpPr>
                <a:spLocks noChangeArrowheads="1"/>
              </p:cNvSpPr>
              <p:nvPr/>
            </p:nvSpPr>
            <p:spPr bwMode="auto">
              <a:xfrm>
                <a:off x="5642" y="33"/>
                <a:ext cx="11" cy="13"/>
              </a:xfrm>
              <a:custGeom>
                <a:avLst/>
                <a:gdLst>
                  <a:gd name="T0" fmla="*/ 2164 w 8"/>
                  <a:gd name="T1" fmla="*/ 7173 h 9"/>
                  <a:gd name="T2" fmla="*/ 0 w 8"/>
                  <a:gd name="T3" fmla="*/ 3860 h 9"/>
                  <a:gd name="T4" fmla="*/ 0 w 8"/>
                  <a:gd name="T5" fmla="*/ 3860 h 9"/>
                  <a:gd name="T6" fmla="*/ 2164 w 8"/>
                  <a:gd name="T7" fmla="*/ 0 h 9"/>
                  <a:gd name="T8" fmla="*/ 4077 w 8"/>
                  <a:gd name="T9" fmla="*/ 3860 h 9"/>
                  <a:gd name="T10" fmla="*/ 4077 w 8"/>
                  <a:gd name="T11" fmla="*/ 3860 h 9"/>
                  <a:gd name="T12" fmla="*/ 2164 w 8"/>
                  <a:gd name="T13" fmla="*/ 7173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5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313" name="Freeform 28"/>
              <p:cNvSpPr>
                <a:spLocks noChangeArrowheads="1"/>
              </p:cNvSpPr>
              <p:nvPr/>
            </p:nvSpPr>
            <p:spPr bwMode="auto">
              <a:xfrm>
                <a:off x="5621" y="21"/>
                <a:ext cx="13" cy="11"/>
              </a:xfrm>
              <a:custGeom>
                <a:avLst/>
                <a:gdLst>
                  <a:gd name="T0" fmla="*/ 2417 w 9"/>
                  <a:gd name="T1" fmla="*/ 4077 h 8"/>
                  <a:gd name="T2" fmla="*/ 2417 w 9"/>
                  <a:gd name="T3" fmla="*/ 4077 h 8"/>
                  <a:gd name="T4" fmla="*/ 0 w 9"/>
                  <a:gd name="T5" fmla="*/ 2164 h 8"/>
                  <a:gd name="T6" fmla="*/ 2417 w 9"/>
                  <a:gd name="T7" fmla="*/ 0 h 8"/>
                  <a:gd name="T8" fmla="*/ 5642 w 9"/>
                  <a:gd name="T9" fmla="*/ 2164 h 8"/>
                  <a:gd name="T10" fmla="*/ 2417 w 9"/>
                  <a:gd name="T11" fmla="*/ 4077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8">
                    <a:moveTo>
                      <a:pt x="4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0" y="6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6"/>
                      <a:pt x="7" y="8"/>
                      <a:pt x="4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314" name="Freeform 29"/>
              <p:cNvSpPr>
                <a:spLocks noChangeArrowheads="1"/>
              </p:cNvSpPr>
              <p:nvPr/>
            </p:nvSpPr>
            <p:spPr bwMode="auto">
              <a:xfrm>
                <a:off x="5393" y="33"/>
                <a:ext cx="13" cy="13"/>
              </a:xfrm>
              <a:custGeom>
                <a:avLst/>
                <a:gdLst>
                  <a:gd name="T0" fmla="*/ 3225 w 9"/>
                  <a:gd name="T1" fmla="*/ 7173 h 9"/>
                  <a:gd name="T2" fmla="*/ 0 w 9"/>
                  <a:gd name="T3" fmla="*/ 3860 h 9"/>
                  <a:gd name="T4" fmla="*/ 0 w 9"/>
                  <a:gd name="T5" fmla="*/ 3860 h 9"/>
                  <a:gd name="T6" fmla="*/ 3225 w 9"/>
                  <a:gd name="T7" fmla="*/ 0 h 9"/>
                  <a:gd name="T8" fmla="*/ 5642 w 9"/>
                  <a:gd name="T9" fmla="*/ 3860 h 9"/>
                  <a:gd name="T10" fmla="*/ 3225 w 9"/>
                  <a:gd name="T11" fmla="*/ 7173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5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315" name="Freeform 30"/>
              <p:cNvSpPr>
                <a:spLocks noChangeArrowheads="1"/>
              </p:cNvSpPr>
              <p:nvPr/>
            </p:nvSpPr>
            <p:spPr bwMode="auto">
              <a:xfrm>
                <a:off x="5373" y="21"/>
                <a:ext cx="11" cy="11"/>
              </a:xfrm>
              <a:custGeom>
                <a:avLst/>
                <a:gdLst>
                  <a:gd name="T0" fmla="*/ 2164 w 8"/>
                  <a:gd name="T1" fmla="*/ 4077 h 8"/>
                  <a:gd name="T2" fmla="*/ 2164 w 8"/>
                  <a:gd name="T3" fmla="*/ 4077 h 8"/>
                  <a:gd name="T4" fmla="*/ 0 w 8"/>
                  <a:gd name="T5" fmla="*/ 2164 h 8"/>
                  <a:gd name="T6" fmla="*/ 0 w 8"/>
                  <a:gd name="T7" fmla="*/ 2164 h 8"/>
                  <a:gd name="T8" fmla="*/ 2164 w 8"/>
                  <a:gd name="T9" fmla="*/ 0 h 8"/>
                  <a:gd name="T10" fmla="*/ 4077 w 8"/>
                  <a:gd name="T11" fmla="*/ 2164 h 8"/>
                  <a:gd name="T12" fmla="*/ 2164 w 8"/>
                  <a:gd name="T13" fmla="*/ 4077 h 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8" h="8">
                    <a:moveTo>
                      <a:pt x="4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6"/>
                      <a:pt x="6" y="8"/>
                      <a:pt x="4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316" name="Freeform 31"/>
              <p:cNvSpPr>
                <a:spLocks noChangeArrowheads="1"/>
              </p:cNvSpPr>
              <p:nvPr/>
            </p:nvSpPr>
            <p:spPr bwMode="auto">
              <a:xfrm>
                <a:off x="5354" y="33"/>
                <a:ext cx="13" cy="13"/>
              </a:xfrm>
              <a:custGeom>
                <a:avLst/>
                <a:gdLst>
                  <a:gd name="T0" fmla="*/ 2417 w 9"/>
                  <a:gd name="T1" fmla="*/ 7173 h 9"/>
                  <a:gd name="T2" fmla="*/ 0 w 9"/>
                  <a:gd name="T3" fmla="*/ 3860 h 9"/>
                  <a:gd name="T4" fmla="*/ 0 w 9"/>
                  <a:gd name="T5" fmla="*/ 3860 h 9"/>
                  <a:gd name="T6" fmla="*/ 2417 w 9"/>
                  <a:gd name="T7" fmla="*/ 0 h 9"/>
                  <a:gd name="T8" fmla="*/ 5642 w 9"/>
                  <a:gd name="T9" fmla="*/ 3860 h 9"/>
                  <a:gd name="T10" fmla="*/ 2417 w 9"/>
                  <a:gd name="T11" fmla="*/ 7173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5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317" name="Freeform 32"/>
              <p:cNvSpPr>
                <a:spLocks noChangeArrowheads="1"/>
              </p:cNvSpPr>
              <p:nvPr/>
            </p:nvSpPr>
            <p:spPr bwMode="auto">
              <a:xfrm>
                <a:off x="5476" y="54"/>
                <a:ext cx="12" cy="13"/>
              </a:xfrm>
              <a:custGeom>
                <a:avLst/>
                <a:gdLst>
                  <a:gd name="T0" fmla="*/ 1495 w 9"/>
                  <a:gd name="T1" fmla="*/ 5642 h 9"/>
                  <a:gd name="T2" fmla="*/ 0 w 9"/>
                  <a:gd name="T3" fmla="*/ 3225 h 9"/>
                  <a:gd name="T4" fmla="*/ 0 w 9"/>
                  <a:gd name="T5" fmla="*/ 3225 h 9"/>
                  <a:gd name="T6" fmla="*/ 1495 w 9"/>
                  <a:gd name="T7" fmla="*/ 0 h 9"/>
                  <a:gd name="T8" fmla="*/ 3489 w 9"/>
                  <a:gd name="T9" fmla="*/ 3225 h 9"/>
                  <a:gd name="T10" fmla="*/ 1495 w 9"/>
                  <a:gd name="T11" fmla="*/ 5642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5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318" name="Freeform 33"/>
              <p:cNvSpPr>
                <a:spLocks noChangeArrowheads="1"/>
              </p:cNvSpPr>
              <p:nvPr/>
            </p:nvSpPr>
            <p:spPr bwMode="auto">
              <a:xfrm>
                <a:off x="5435" y="54"/>
                <a:ext cx="11" cy="13"/>
              </a:xfrm>
              <a:custGeom>
                <a:avLst/>
                <a:gdLst>
                  <a:gd name="T0" fmla="*/ 2164 w 8"/>
                  <a:gd name="T1" fmla="*/ 5642 h 9"/>
                  <a:gd name="T2" fmla="*/ 0 w 8"/>
                  <a:gd name="T3" fmla="*/ 3225 h 9"/>
                  <a:gd name="T4" fmla="*/ 0 w 8"/>
                  <a:gd name="T5" fmla="*/ 3225 h 9"/>
                  <a:gd name="T6" fmla="*/ 2164 w 8"/>
                  <a:gd name="T7" fmla="*/ 0 h 9"/>
                  <a:gd name="T8" fmla="*/ 4077 w 8"/>
                  <a:gd name="T9" fmla="*/ 3225 h 9"/>
                  <a:gd name="T10" fmla="*/ 2164 w 8"/>
                  <a:gd name="T11" fmla="*/ 5642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5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319" name="Freeform 34"/>
              <p:cNvSpPr>
                <a:spLocks noChangeArrowheads="1"/>
              </p:cNvSpPr>
              <p:nvPr/>
            </p:nvSpPr>
            <p:spPr bwMode="auto">
              <a:xfrm>
                <a:off x="5415" y="40"/>
                <a:ext cx="13" cy="13"/>
              </a:xfrm>
              <a:custGeom>
                <a:avLst/>
                <a:gdLst>
                  <a:gd name="T0" fmla="*/ 2417 w 9"/>
                  <a:gd name="T1" fmla="*/ 5642 h 9"/>
                  <a:gd name="T2" fmla="*/ 0 w 9"/>
                  <a:gd name="T3" fmla="*/ 3225 h 9"/>
                  <a:gd name="T4" fmla="*/ 0 w 9"/>
                  <a:gd name="T5" fmla="*/ 3225 h 9"/>
                  <a:gd name="T6" fmla="*/ 2417 w 9"/>
                  <a:gd name="T7" fmla="*/ 0 h 9"/>
                  <a:gd name="T8" fmla="*/ 5642 w 9"/>
                  <a:gd name="T9" fmla="*/ 3225 h 9"/>
                  <a:gd name="T10" fmla="*/ 2417 w 9"/>
                  <a:gd name="T11" fmla="*/ 5642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5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320" name="Freeform 35"/>
              <p:cNvSpPr>
                <a:spLocks noChangeArrowheads="1"/>
              </p:cNvSpPr>
              <p:nvPr/>
            </p:nvSpPr>
            <p:spPr bwMode="auto">
              <a:xfrm>
                <a:off x="5331" y="40"/>
                <a:ext cx="13" cy="13"/>
              </a:xfrm>
              <a:custGeom>
                <a:avLst/>
                <a:gdLst>
                  <a:gd name="T0" fmla="*/ 3860 w 9"/>
                  <a:gd name="T1" fmla="*/ 5642 h 9"/>
                  <a:gd name="T2" fmla="*/ 0 w 9"/>
                  <a:gd name="T3" fmla="*/ 3225 h 9"/>
                  <a:gd name="T4" fmla="*/ 0 w 9"/>
                  <a:gd name="T5" fmla="*/ 3225 h 9"/>
                  <a:gd name="T6" fmla="*/ 3860 w 9"/>
                  <a:gd name="T7" fmla="*/ 0 h 9"/>
                  <a:gd name="T8" fmla="*/ 7173 w 9"/>
                  <a:gd name="T9" fmla="*/ 3225 h 9"/>
                  <a:gd name="T10" fmla="*/ 3860 w 9"/>
                  <a:gd name="T11" fmla="*/ 5642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5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321" name="Oval 36"/>
              <p:cNvSpPr>
                <a:spLocks noChangeArrowheads="1"/>
              </p:cNvSpPr>
              <p:nvPr/>
            </p:nvSpPr>
            <p:spPr bwMode="auto">
              <a:xfrm>
                <a:off x="5601" y="54"/>
                <a:ext cx="12" cy="13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US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322" name="Freeform 37"/>
              <p:cNvSpPr>
                <a:spLocks noChangeArrowheads="1"/>
              </p:cNvSpPr>
              <p:nvPr/>
            </p:nvSpPr>
            <p:spPr bwMode="auto">
              <a:xfrm>
                <a:off x="5581" y="40"/>
                <a:ext cx="10" cy="13"/>
              </a:xfrm>
              <a:custGeom>
                <a:avLst/>
                <a:gdLst>
                  <a:gd name="T0" fmla="*/ 868 w 8"/>
                  <a:gd name="T1" fmla="*/ 5642 h 9"/>
                  <a:gd name="T2" fmla="*/ 0 w 8"/>
                  <a:gd name="T3" fmla="*/ 3225 h 9"/>
                  <a:gd name="T4" fmla="*/ 0 w 8"/>
                  <a:gd name="T5" fmla="*/ 3225 h 9"/>
                  <a:gd name="T6" fmla="*/ 868 w 8"/>
                  <a:gd name="T7" fmla="*/ 0 h 9"/>
                  <a:gd name="T8" fmla="*/ 1780 w 8"/>
                  <a:gd name="T9" fmla="*/ 3225 h 9"/>
                  <a:gd name="T10" fmla="*/ 868 w 8"/>
                  <a:gd name="T11" fmla="*/ 5642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5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323" name="Freeform 38"/>
              <p:cNvSpPr>
                <a:spLocks noChangeArrowheads="1"/>
              </p:cNvSpPr>
              <p:nvPr/>
            </p:nvSpPr>
            <p:spPr bwMode="auto">
              <a:xfrm>
                <a:off x="5559" y="54"/>
                <a:ext cx="13" cy="13"/>
              </a:xfrm>
              <a:custGeom>
                <a:avLst/>
                <a:gdLst>
                  <a:gd name="T0" fmla="*/ 3194 w 9"/>
                  <a:gd name="T1" fmla="*/ 5642 h 9"/>
                  <a:gd name="T2" fmla="*/ 0 w 9"/>
                  <a:gd name="T3" fmla="*/ 3225 h 9"/>
                  <a:gd name="T4" fmla="*/ 0 w 9"/>
                  <a:gd name="T5" fmla="*/ 3225 h 9"/>
                  <a:gd name="T6" fmla="*/ 3194 w 9"/>
                  <a:gd name="T7" fmla="*/ 0 h 9"/>
                  <a:gd name="T8" fmla="*/ 7173 w 9"/>
                  <a:gd name="T9" fmla="*/ 3225 h 9"/>
                  <a:gd name="T10" fmla="*/ 3194 w 9"/>
                  <a:gd name="T11" fmla="*/ 5642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5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324" name="Freeform 39"/>
              <p:cNvSpPr>
                <a:spLocks noChangeArrowheads="1"/>
              </p:cNvSpPr>
              <p:nvPr/>
            </p:nvSpPr>
            <p:spPr bwMode="auto">
              <a:xfrm>
                <a:off x="5538" y="40"/>
                <a:ext cx="12" cy="13"/>
              </a:xfrm>
              <a:custGeom>
                <a:avLst/>
                <a:gdLst>
                  <a:gd name="T0" fmla="*/ 1993 w 9"/>
                  <a:gd name="T1" fmla="*/ 5642 h 9"/>
                  <a:gd name="T2" fmla="*/ 0 w 9"/>
                  <a:gd name="T3" fmla="*/ 3225 h 9"/>
                  <a:gd name="T4" fmla="*/ 0 w 9"/>
                  <a:gd name="T5" fmla="*/ 3225 h 9"/>
                  <a:gd name="T6" fmla="*/ 1993 w 9"/>
                  <a:gd name="T7" fmla="*/ 0 h 9"/>
                  <a:gd name="T8" fmla="*/ 3489 w 9"/>
                  <a:gd name="T9" fmla="*/ 3225 h 9"/>
                  <a:gd name="T10" fmla="*/ 1993 w 9"/>
                  <a:gd name="T11" fmla="*/ 5642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5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325" name="Oval 40"/>
              <p:cNvSpPr>
                <a:spLocks noChangeArrowheads="1"/>
              </p:cNvSpPr>
              <p:nvPr/>
            </p:nvSpPr>
            <p:spPr bwMode="auto">
              <a:xfrm>
                <a:off x="5455" y="40"/>
                <a:ext cx="13" cy="13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US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326" name="Oval 41"/>
              <p:cNvSpPr>
                <a:spLocks noChangeArrowheads="1"/>
              </p:cNvSpPr>
              <p:nvPr/>
            </p:nvSpPr>
            <p:spPr bwMode="auto">
              <a:xfrm>
                <a:off x="5744" y="40"/>
                <a:ext cx="13" cy="13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US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327" name="Freeform 42"/>
              <p:cNvSpPr>
                <a:spLocks noChangeArrowheads="1"/>
              </p:cNvSpPr>
              <p:nvPr/>
            </p:nvSpPr>
            <p:spPr bwMode="auto">
              <a:xfrm>
                <a:off x="5723" y="54"/>
                <a:ext cx="13" cy="13"/>
              </a:xfrm>
              <a:custGeom>
                <a:avLst/>
                <a:gdLst>
                  <a:gd name="T0" fmla="*/ 3225 w 9"/>
                  <a:gd name="T1" fmla="*/ 5642 h 9"/>
                  <a:gd name="T2" fmla="*/ 0 w 9"/>
                  <a:gd name="T3" fmla="*/ 3225 h 9"/>
                  <a:gd name="T4" fmla="*/ 0 w 9"/>
                  <a:gd name="T5" fmla="*/ 3225 h 9"/>
                  <a:gd name="T6" fmla="*/ 3225 w 9"/>
                  <a:gd name="T7" fmla="*/ 0 h 9"/>
                  <a:gd name="T8" fmla="*/ 5642 w 9"/>
                  <a:gd name="T9" fmla="*/ 3225 h 9"/>
                  <a:gd name="T10" fmla="*/ 3225 w 9"/>
                  <a:gd name="T11" fmla="*/ 5642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5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328" name="Freeform 43"/>
              <p:cNvSpPr>
                <a:spLocks noChangeArrowheads="1"/>
              </p:cNvSpPr>
              <p:nvPr/>
            </p:nvSpPr>
            <p:spPr bwMode="auto">
              <a:xfrm>
                <a:off x="5704" y="40"/>
                <a:ext cx="11" cy="13"/>
              </a:xfrm>
              <a:custGeom>
                <a:avLst/>
                <a:gdLst>
                  <a:gd name="T0" fmla="*/ 2164 w 8"/>
                  <a:gd name="T1" fmla="*/ 5642 h 9"/>
                  <a:gd name="T2" fmla="*/ 0 w 8"/>
                  <a:gd name="T3" fmla="*/ 3225 h 9"/>
                  <a:gd name="T4" fmla="*/ 0 w 8"/>
                  <a:gd name="T5" fmla="*/ 3225 h 9"/>
                  <a:gd name="T6" fmla="*/ 2164 w 8"/>
                  <a:gd name="T7" fmla="*/ 0 h 9"/>
                  <a:gd name="T8" fmla="*/ 4077 w 8"/>
                  <a:gd name="T9" fmla="*/ 3225 h 9"/>
                  <a:gd name="T10" fmla="*/ 2164 w 8"/>
                  <a:gd name="T11" fmla="*/ 5642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5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329" name="Oval 44"/>
              <p:cNvSpPr>
                <a:spLocks noChangeArrowheads="1"/>
              </p:cNvSpPr>
              <p:nvPr/>
            </p:nvSpPr>
            <p:spPr bwMode="auto">
              <a:xfrm>
                <a:off x="5683" y="54"/>
                <a:ext cx="13" cy="13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US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330" name="Freeform 45"/>
              <p:cNvSpPr>
                <a:spLocks noChangeArrowheads="1"/>
              </p:cNvSpPr>
              <p:nvPr/>
            </p:nvSpPr>
            <p:spPr bwMode="auto">
              <a:xfrm>
                <a:off x="5662" y="40"/>
                <a:ext cx="13" cy="13"/>
              </a:xfrm>
              <a:custGeom>
                <a:avLst/>
                <a:gdLst>
                  <a:gd name="T0" fmla="*/ 3860 w 9"/>
                  <a:gd name="T1" fmla="*/ 5642 h 9"/>
                  <a:gd name="T2" fmla="*/ 0 w 9"/>
                  <a:gd name="T3" fmla="*/ 3225 h 9"/>
                  <a:gd name="T4" fmla="*/ 0 w 9"/>
                  <a:gd name="T5" fmla="*/ 3225 h 9"/>
                  <a:gd name="T6" fmla="*/ 3860 w 9"/>
                  <a:gd name="T7" fmla="*/ 0 h 9"/>
                  <a:gd name="T8" fmla="*/ 7173 w 9"/>
                  <a:gd name="T9" fmla="*/ 3225 h 9"/>
                  <a:gd name="T10" fmla="*/ 3860 w 9"/>
                  <a:gd name="T11" fmla="*/ 5642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5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331" name="Freeform 46"/>
              <p:cNvSpPr>
                <a:spLocks noChangeArrowheads="1"/>
              </p:cNvSpPr>
              <p:nvPr/>
            </p:nvSpPr>
            <p:spPr bwMode="auto">
              <a:xfrm>
                <a:off x="5642" y="54"/>
                <a:ext cx="11" cy="13"/>
              </a:xfrm>
              <a:custGeom>
                <a:avLst/>
                <a:gdLst>
                  <a:gd name="T0" fmla="*/ 2164 w 8"/>
                  <a:gd name="T1" fmla="*/ 5642 h 9"/>
                  <a:gd name="T2" fmla="*/ 0 w 8"/>
                  <a:gd name="T3" fmla="*/ 3225 h 9"/>
                  <a:gd name="T4" fmla="*/ 0 w 8"/>
                  <a:gd name="T5" fmla="*/ 2417 h 9"/>
                  <a:gd name="T6" fmla="*/ 2164 w 8"/>
                  <a:gd name="T7" fmla="*/ 0 h 9"/>
                  <a:gd name="T8" fmla="*/ 4077 w 8"/>
                  <a:gd name="T9" fmla="*/ 3225 h 9"/>
                  <a:gd name="T10" fmla="*/ 4077 w 8"/>
                  <a:gd name="T11" fmla="*/ 3225 h 9"/>
                  <a:gd name="T12" fmla="*/ 2164 w 8"/>
                  <a:gd name="T13" fmla="*/ 5642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5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332" name="Oval 47"/>
              <p:cNvSpPr>
                <a:spLocks noChangeArrowheads="1"/>
              </p:cNvSpPr>
              <p:nvPr/>
            </p:nvSpPr>
            <p:spPr bwMode="auto">
              <a:xfrm>
                <a:off x="5621" y="40"/>
                <a:ext cx="13" cy="13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US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333" name="Freeform 48"/>
              <p:cNvSpPr>
                <a:spLocks noChangeArrowheads="1"/>
              </p:cNvSpPr>
              <p:nvPr/>
            </p:nvSpPr>
            <p:spPr bwMode="auto">
              <a:xfrm>
                <a:off x="5393" y="54"/>
                <a:ext cx="13" cy="13"/>
              </a:xfrm>
              <a:custGeom>
                <a:avLst/>
                <a:gdLst>
                  <a:gd name="T0" fmla="*/ 3225 w 9"/>
                  <a:gd name="T1" fmla="*/ 5642 h 9"/>
                  <a:gd name="T2" fmla="*/ 0 w 9"/>
                  <a:gd name="T3" fmla="*/ 3225 h 9"/>
                  <a:gd name="T4" fmla="*/ 0 w 9"/>
                  <a:gd name="T5" fmla="*/ 3225 h 9"/>
                  <a:gd name="T6" fmla="*/ 3225 w 9"/>
                  <a:gd name="T7" fmla="*/ 0 h 9"/>
                  <a:gd name="T8" fmla="*/ 5642 w 9"/>
                  <a:gd name="T9" fmla="*/ 3225 h 9"/>
                  <a:gd name="T10" fmla="*/ 3225 w 9"/>
                  <a:gd name="T11" fmla="*/ 5642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5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334" name="Freeform 49"/>
              <p:cNvSpPr>
                <a:spLocks noChangeArrowheads="1"/>
              </p:cNvSpPr>
              <p:nvPr/>
            </p:nvSpPr>
            <p:spPr bwMode="auto">
              <a:xfrm>
                <a:off x="5373" y="40"/>
                <a:ext cx="11" cy="13"/>
              </a:xfrm>
              <a:custGeom>
                <a:avLst/>
                <a:gdLst>
                  <a:gd name="T0" fmla="*/ 2164 w 8"/>
                  <a:gd name="T1" fmla="*/ 5642 h 9"/>
                  <a:gd name="T2" fmla="*/ 0 w 8"/>
                  <a:gd name="T3" fmla="*/ 3225 h 9"/>
                  <a:gd name="T4" fmla="*/ 0 w 8"/>
                  <a:gd name="T5" fmla="*/ 3225 h 9"/>
                  <a:gd name="T6" fmla="*/ 2164 w 8"/>
                  <a:gd name="T7" fmla="*/ 0 h 9"/>
                  <a:gd name="T8" fmla="*/ 4077 w 8"/>
                  <a:gd name="T9" fmla="*/ 3225 h 9"/>
                  <a:gd name="T10" fmla="*/ 2164 w 8"/>
                  <a:gd name="T11" fmla="*/ 5642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5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335" name="Freeform 50"/>
              <p:cNvSpPr>
                <a:spLocks noChangeArrowheads="1"/>
              </p:cNvSpPr>
              <p:nvPr/>
            </p:nvSpPr>
            <p:spPr bwMode="auto">
              <a:xfrm>
                <a:off x="5354" y="54"/>
                <a:ext cx="13" cy="13"/>
              </a:xfrm>
              <a:custGeom>
                <a:avLst/>
                <a:gdLst>
                  <a:gd name="T0" fmla="*/ 2417 w 9"/>
                  <a:gd name="T1" fmla="*/ 5642 h 9"/>
                  <a:gd name="T2" fmla="*/ 0 w 9"/>
                  <a:gd name="T3" fmla="*/ 3225 h 9"/>
                  <a:gd name="T4" fmla="*/ 0 w 9"/>
                  <a:gd name="T5" fmla="*/ 3225 h 9"/>
                  <a:gd name="T6" fmla="*/ 2417 w 9"/>
                  <a:gd name="T7" fmla="*/ 0 h 9"/>
                  <a:gd name="T8" fmla="*/ 5642 w 9"/>
                  <a:gd name="T9" fmla="*/ 3225 h 9"/>
                  <a:gd name="T10" fmla="*/ 2417 w 9"/>
                  <a:gd name="T11" fmla="*/ 5642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5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336" name="Freeform 51"/>
              <p:cNvSpPr>
                <a:spLocks noChangeArrowheads="1"/>
              </p:cNvSpPr>
              <p:nvPr/>
            </p:nvSpPr>
            <p:spPr bwMode="auto">
              <a:xfrm>
                <a:off x="5476" y="75"/>
                <a:ext cx="12" cy="12"/>
              </a:xfrm>
              <a:custGeom>
                <a:avLst/>
                <a:gdLst>
                  <a:gd name="T0" fmla="*/ 1993 w 9"/>
                  <a:gd name="T1" fmla="*/ 3489 h 9"/>
                  <a:gd name="T2" fmla="*/ 1495 w 9"/>
                  <a:gd name="T3" fmla="*/ 3489 h 9"/>
                  <a:gd name="T4" fmla="*/ 0 w 9"/>
                  <a:gd name="T5" fmla="*/ 1993 h 9"/>
                  <a:gd name="T6" fmla="*/ 0 w 9"/>
                  <a:gd name="T7" fmla="*/ 1495 h 9"/>
                  <a:gd name="T8" fmla="*/ 1495 w 9"/>
                  <a:gd name="T9" fmla="*/ 0 h 9"/>
                  <a:gd name="T10" fmla="*/ 1993 w 9"/>
                  <a:gd name="T11" fmla="*/ 0 h 9"/>
                  <a:gd name="T12" fmla="*/ 3489 w 9"/>
                  <a:gd name="T13" fmla="*/ 1495 h 9"/>
                  <a:gd name="T14" fmla="*/ 1993 w 9"/>
                  <a:gd name="T15" fmla="*/ 3489 h 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4" y="9"/>
                      <a:pt x="4" y="9"/>
                      <a:pt x="4" y="9"/>
                    </a:cubicBez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337" name="Freeform 52"/>
              <p:cNvSpPr>
                <a:spLocks noChangeArrowheads="1"/>
              </p:cNvSpPr>
              <p:nvPr/>
            </p:nvSpPr>
            <p:spPr bwMode="auto">
              <a:xfrm>
                <a:off x="5435" y="75"/>
                <a:ext cx="11" cy="12"/>
              </a:xfrm>
              <a:custGeom>
                <a:avLst/>
                <a:gdLst>
                  <a:gd name="T0" fmla="*/ 2164 w 8"/>
                  <a:gd name="T1" fmla="*/ 3489 h 9"/>
                  <a:gd name="T2" fmla="*/ 2164 w 8"/>
                  <a:gd name="T3" fmla="*/ 3489 h 9"/>
                  <a:gd name="T4" fmla="*/ 0 w 8"/>
                  <a:gd name="T5" fmla="*/ 1993 h 9"/>
                  <a:gd name="T6" fmla="*/ 0 w 8"/>
                  <a:gd name="T7" fmla="*/ 1495 h 9"/>
                  <a:gd name="T8" fmla="*/ 2164 w 8"/>
                  <a:gd name="T9" fmla="*/ 0 h 9"/>
                  <a:gd name="T10" fmla="*/ 2164 w 8"/>
                  <a:gd name="T11" fmla="*/ 0 h 9"/>
                  <a:gd name="T12" fmla="*/ 4077 w 8"/>
                  <a:gd name="T13" fmla="*/ 1495 h 9"/>
                  <a:gd name="T14" fmla="*/ 2164 w 8"/>
                  <a:gd name="T15" fmla="*/ 3489 h 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4" y="9"/>
                      <a:pt x="4" y="9"/>
                      <a:pt x="4" y="9"/>
                    </a:cubicBez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7" y="0"/>
                      <a:pt x="8" y="2"/>
                      <a:pt x="8" y="4"/>
                    </a:cubicBezTo>
                    <a:cubicBezTo>
                      <a:pt x="8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338" name="Freeform 53"/>
              <p:cNvSpPr>
                <a:spLocks noChangeArrowheads="1"/>
              </p:cNvSpPr>
              <p:nvPr/>
            </p:nvSpPr>
            <p:spPr bwMode="auto">
              <a:xfrm>
                <a:off x="5415" y="61"/>
                <a:ext cx="13" cy="13"/>
              </a:xfrm>
              <a:custGeom>
                <a:avLst/>
                <a:gdLst>
                  <a:gd name="T0" fmla="*/ 3225 w 9"/>
                  <a:gd name="T1" fmla="*/ 7173 h 9"/>
                  <a:gd name="T2" fmla="*/ 2417 w 9"/>
                  <a:gd name="T3" fmla="*/ 7173 h 9"/>
                  <a:gd name="T4" fmla="*/ 0 w 9"/>
                  <a:gd name="T5" fmla="*/ 3860 h 9"/>
                  <a:gd name="T6" fmla="*/ 0 w 9"/>
                  <a:gd name="T7" fmla="*/ 3194 h 9"/>
                  <a:gd name="T8" fmla="*/ 2417 w 9"/>
                  <a:gd name="T9" fmla="*/ 0 h 9"/>
                  <a:gd name="T10" fmla="*/ 3225 w 9"/>
                  <a:gd name="T11" fmla="*/ 0 h 9"/>
                  <a:gd name="T12" fmla="*/ 5642 w 9"/>
                  <a:gd name="T13" fmla="*/ 3860 h 9"/>
                  <a:gd name="T14" fmla="*/ 3225 w 9"/>
                  <a:gd name="T15" fmla="*/ 7173 h 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4" y="9"/>
                      <a:pt x="4" y="9"/>
                      <a:pt x="4" y="9"/>
                    </a:cubicBez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7" y="0"/>
                      <a:pt x="9" y="2"/>
                      <a:pt x="9" y="5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339" name="Freeform 54"/>
              <p:cNvSpPr>
                <a:spLocks noChangeArrowheads="1"/>
              </p:cNvSpPr>
              <p:nvPr/>
            </p:nvSpPr>
            <p:spPr bwMode="auto">
              <a:xfrm>
                <a:off x="5331" y="61"/>
                <a:ext cx="13" cy="13"/>
              </a:xfrm>
              <a:custGeom>
                <a:avLst/>
                <a:gdLst>
                  <a:gd name="T0" fmla="*/ 3860 w 9"/>
                  <a:gd name="T1" fmla="*/ 7173 h 9"/>
                  <a:gd name="T2" fmla="*/ 3860 w 9"/>
                  <a:gd name="T3" fmla="*/ 7173 h 9"/>
                  <a:gd name="T4" fmla="*/ 0 w 9"/>
                  <a:gd name="T5" fmla="*/ 3860 h 9"/>
                  <a:gd name="T6" fmla="*/ 0 w 9"/>
                  <a:gd name="T7" fmla="*/ 3194 h 9"/>
                  <a:gd name="T8" fmla="*/ 3860 w 9"/>
                  <a:gd name="T9" fmla="*/ 0 h 9"/>
                  <a:gd name="T10" fmla="*/ 3860 w 9"/>
                  <a:gd name="T11" fmla="*/ 0 h 9"/>
                  <a:gd name="T12" fmla="*/ 7173 w 9"/>
                  <a:gd name="T13" fmla="*/ 3860 h 9"/>
                  <a:gd name="T14" fmla="*/ 3860 w 9"/>
                  <a:gd name="T15" fmla="*/ 7173 h 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7" y="0"/>
                      <a:pt x="9" y="2"/>
                      <a:pt x="9" y="5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340" name="Freeform 55"/>
              <p:cNvSpPr>
                <a:spLocks noChangeArrowheads="1"/>
              </p:cNvSpPr>
              <p:nvPr/>
            </p:nvSpPr>
            <p:spPr bwMode="auto">
              <a:xfrm>
                <a:off x="5601" y="75"/>
                <a:ext cx="12" cy="12"/>
              </a:xfrm>
              <a:custGeom>
                <a:avLst/>
                <a:gdLst>
                  <a:gd name="T0" fmla="*/ 1993 w 9"/>
                  <a:gd name="T1" fmla="*/ 3489 h 9"/>
                  <a:gd name="T2" fmla="*/ 1495 w 9"/>
                  <a:gd name="T3" fmla="*/ 3489 h 9"/>
                  <a:gd name="T4" fmla="*/ 0 w 9"/>
                  <a:gd name="T5" fmla="*/ 1495 h 9"/>
                  <a:gd name="T6" fmla="*/ 1495 w 9"/>
                  <a:gd name="T7" fmla="*/ 0 h 9"/>
                  <a:gd name="T8" fmla="*/ 1993 w 9"/>
                  <a:gd name="T9" fmla="*/ 0 h 9"/>
                  <a:gd name="T10" fmla="*/ 3489 w 9"/>
                  <a:gd name="T11" fmla="*/ 1495 h 9"/>
                  <a:gd name="T12" fmla="*/ 1993 w 9"/>
                  <a:gd name="T13" fmla="*/ 3489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4" y="9"/>
                      <a:pt x="4" y="9"/>
                      <a:pt x="4" y="9"/>
                    </a:cubicBezTo>
                    <a:cubicBezTo>
                      <a:pt x="2" y="9"/>
                      <a:pt x="0" y="7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341" name="Freeform 56"/>
              <p:cNvSpPr>
                <a:spLocks noChangeArrowheads="1"/>
              </p:cNvSpPr>
              <p:nvPr/>
            </p:nvSpPr>
            <p:spPr bwMode="auto">
              <a:xfrm>
                <a:off x="5581" y="61"/>
                <a:ext cx="10" cy="13"/>
              </a:xfrm>
              <a:custGeom>
                <a:avLst/>
                <a:gdLst>
                  <a:gd name="T0" fmla="*/ 868 w 8"/>
                  <a:gd name="T1" fmla="*/ 7173 h 9"/>
                  <a:gd name="T2" fmla="*/ 868 w 8"/>
                  <a:gd name="T3" fmla="*/ 7173 h 9"/>
                  <a:gd name="T4" fmla="*/ 0 w 8"/>
                  <a:gd name="T5" fmla="*/ 3860 h 9"/>
                  <a:gd name="T6" fmla="*/ 0 w 8"/>
                  <a:gd name="T7" fmla="*/ 3194 h 9"/>
                  <a:gd name="T8" fmla="*/ 868 w 8"/>
                  <a:gd name="T9" fmla="*/ 0 h 9"/>
                  <a:gd name="T10" fmla="*/ 868 w 8"/>
                  <a:gd name="T11" fmla="*/ 0 h 9"/>
                  <a:gd name="T12" fmla="*/ 1780 w 8"/>
                  <a:gd name="T13" fmla="*/ 3860 h 9"/>
                  <a:gd name="T14" fmla="*/ 868 w 8"/>
                  <a:gd name="T15" fmla="*/ 7173 h 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4" y="9"/>
                      <a:pt x="4" y="9"/>
                      <a:pt x="4" y="9"/>
                    </a:cubicBez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6" y="0"/>
                      <a:pt x="8" y="2"/>
                      <a:pt x="8" y="5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342" name="Freeform 57"/>
              <p:cNvSpPr>
                <a:spLocks noChangeArrowheads="1"/>
              </p:cNvSpPr>
              <p:nvPr/>
            </p:nvSpPr>
            <p:spPr bwMode="auto">
              <a:xfrm>
                <a:off x="5559" y="75"/>
                <a:ext cx="13" cy="12"/>
              </a:xfrm>
              <a:custGeom>
                <a:avLst/>
                <a:gdLst>
                  <a:gd name="T0" fmla="*/ 3194 w 9"/>
                  <a:gd name="T1" fmla="*/ 3489 h 9"/>
                  <a:gd name="T2" fmla="*/ 3194 w 9"/>
                  <a:gd name="T3" fmla="*/ 3489 h 9"/>
                  <a:gd name="T4" fmla="*/ 0 w 9"/>
                  <a:gd name="T5" fmla="*/ 1993 h 9"/>
                  <a:gd name="T6" fmla="*/ 0 w 9"/>
                  <a:gd name="T7" fmla="*/ 1495 h 9"/>
                  <a:gd name="T8" fmla="*/ 3194 w 9"/>
                  <a:gd name="T9" fmla="*/ 0 h 9"/>
                  <a:gd name="T10" fmla="*/ 3194 w 9"/>
                  <a:gd name="T11" fmla="*/ 0 h 9"/>
                  <a:gd name="T12" fmla="*/ 7173 w 9"/>
                  <a:gd name="T13" fmla="*/ 1495 h 9"/>
                  <a:gd name="T14" fmla="*/ 3194 w 9"/>
                  <a:gd name="T15" fmla="*/ 3489 h 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4" y="9"/>
                      <a:pt x="4" y="9"/>
                      <a:pt x="4" y="9"/>
                    </a:cubicBez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343" name="Freeform 58"/>
              <p:cNvSpPr>
                <a:spLocks noChangeArrowheads="1"/>
              </p:cNvSpPr>
              <p:nvPr/>
            </p:nvSpPr>
            <p:spPr bwMode="auto">
              <a:xfrm>
                <a:off x="5538" y="61"/>
                <a:ext cx="12" cy="13"/>
              </a:xfrm>
              <a:custGeom>
                <a:avLst/>
                <a:gdLst>
                  <a:gd name="T0" fmla="*/ 1993 w 9"/>
                  <a:gd name="T1" fmla="*/ 7173 h 9"/>
                  <a:gd name="T2" fmla="*/ 1495 w 9"/>
                  <a:gd name="T3" fmla="*/ 7173 h 9"/>
                  <a:gd name="T4" fmla="*/ 0 w 9"/>
                  <a:gd name="T5" fmla="*/ 3860 h 9"/>
                  <a:gd name="T6" fmla="*/ 0 w 9"/>
                  <a:gd name="T7" fmla="*/ 3194 h 9"/>
                  <a:gd name="T8" fmla="*/ 1495 w 9"/>
                  <a:gd name="T9" fmla="*/ 0 h 9"/>
                  <a:gd name="T10" fmla="*/ 1993 w 9"/>
                  <a:gd name="T11" fmla="*/ 0 h 9"/>
                  <a:gd name="T12" fmla="*/ 3489 w 9"/>
                  <a:gd name="T13" fmla="*/ 3860 h 9"/>
                  <a:gd name="T14" fmla="*/ 1993 w 9"/>
                  <a:gd name="T15" fmla="*/ 7173 h 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4" y="9"/>
                      <a:pt x="4" y="9"/>
                      <a:pt x="4" y="9"/>
                    </a:cubicBez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7" y="0"/>
                      <a:pt x="9" y="2"/>
                      <a:pt x="9" y="5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344" name="Freeform 59"/>
              <p:cNvSpPr>
                <a:spLocks noChangeArrowheads="1"/>
              </p:cNvSpPr>
              <p:nvPr/>
            </p:nvSpPr>
            <p:spPr bwMode="auto">
              <a:xfrm>
                <a:off x="5498" y="61"/>
                <a:ext cx="12" cy="13"/>
              </a:xfrm>
              <a:custGeom>
                <a:avLst/>
                <a:gdLst>
                  <a:gd name="T0" fmla="*/ 1495 w 9"/>
                  <a:gd name="T1" fmla="*/ 7173 h 9"/>
                  <a:gd name="T2" fmla="*/ 1495 w 9"/>
                  <a:gd name="T3" fmla="*/ 7173 h 9"/>
                  <a:gd name="T4" fmla="*/ 0 w 9"/>
                  <a:gd name="T5" fmla="*/ 3860 h 9"/>
                  <a:gd name="T6" fmla="*/ 0 w 9"/>
                  <a:gd name="T7" fmla="*/ 3194 h 9"/>
                  <a:gd name="T8" fmla="*/ 1495 w 9"/>
                  <a:gd name="T9" fmla="*/ 0 h 9"/>
                  <a:gd name="T10" fmla="*/ 1495 w 9"/>
                  <a:gd name="T11" fmla="*/ 0 h 9"/>
                  <a:gd name="T12" fmla="*/ 3489 w 9"/>
                  <a:gd name="T13" fmla="*/ 3860 h 9"/>
                  <a:gd name="T14" fmla="*/ 1495 w 9"/>
                  <a:gd name="T15" fmla="*/ 7173 h 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4" y="9"/>
                      <a:pt x="4" y="9"/>
                      <a:pt x="4" y="9"/>
                    </a:cubicBez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7" y="0"/>
                      <a:pt x="9" y="2"/>
                      <a:pt x="9" y="5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345" name="Freeform 60"/>
              <p:cNvSpPr>
                <a:spLocks noChangeArrowheads="1"/>
              </p:cNvSpPr>
              <p:nvPr/>
            </p:nvSpPr>
            <p:spPr bwMode="auto">
              <a:xfrm>
                <a:off x="5455" y="61"/>
                <a:ext cx="13" cy="13"/>
              </a:xfrm>
              <a:custGeom>
                <a:avLst/>
                <a:gdLst>
                  <a:gd name="T0" fmla="*/ 3225 w 9"/>
                  <a:gd name="T1" fmla="*/ 7173 h 9"/>
                  <a:gd name="T2" fmla="*/ 3225 w 9"/>
                  <a:gd name="T3" fmla="*/ 7173 h 9"/>
                  <a:gd name="T4" fmla="*/ 0 w 9"/>
                  <a:gd name="T5" fmla="*/ 3860 h 9"/>
                  <a:gd name="T6" fmla="*/ 3225 w 9"/>
                  <a:gd name="T7" fmla="*/ 0 h 9"/>
                  <a:gd name="T8" fmla="*/ 3225 w 9"/>
                  <a:gd name="T9" fmla="*/ 0 h 9"/>
                  <a:gd name="T10" fmla="*/ 5642 w 9"/>
                  <a:gd name="T11" fmla="*/ 3860 h 9"/>
                  <a:gd name="T12" fmla="*/ 3225 w 9"/>
                  <a:gd name="T13" fmla="*/ 7173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2" y="9"/>
                      <a:pt x="0" y="7"/>
                      <a:pt x="0" y="5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7" y="0"/>
                      <a:pt x="9" y="2"/>
                      <a:pt x="9" y="5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346" name="Freeform 61"/>
              <p:cNvSpPr>
                <a:spLocks noChangeArrowheads="1"/>
              </p:cNvSpPr>
              <p:nvPr/>
            </p:nvSpPr>
            <p:spPr bwMode="auto">
              <a:xfrm>
                <a:off x="5744" y="61"/>
                <a:ext cx="13" cy="13"/>
              </a:xfrm>
              <a:custGeom>
                <a:avLst/>
                <a:gdLst>
                  <a:gd name="T0" fmla="*/ 3860 w 9"/>
                  <a:gd name="T1" fmla="*/ 7173 h 9"/>
                  <a:gd name="T2" fmla="*/ 3194 w 9"/>
                  <a:gd name="T3" fmla="*/ 7173 h 9"/>
                  <a:gd name="T4" fmla="*/ 0 w 9"/>
                  <a:gd name="T5" fmla="*/ 3860 h 9"/>
                  <a:gd name="T6" fmla="*/ 3194 w 9"/>
                  <a:gd name="T7" fmla="*/ 0 h 9"/>
                  <a:gd name="T8" fmla="*/ 3860 w 9"/>
                  <a:gd name="T9" fmla="*/ 0 h 9"/>
                  <a:gd name="T10" fmla="*/ 7173 w 9"/>
                  <a:gd name="T11" fmla="*/ 3860 h 9"/>
                  <a:gd name="T12" fmla="*/ 3860 w 9"/>
                  <a:gd name="T13" fmla="*/ 7173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4" y="9"/>
                      <a:pt x="4" y="9"/>
                      <a:pt x="4" y="9"/>
                    </a:cubicBezTo>
                    <a:cubicBezTo>
                      <a:pt x="2" y="9"/>
                      <a:pt x="0" y="7"/>
                      <a:pt x="0" y="5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7" y="0"/>
                      <a:pt x="9" y="2"/>
                      <a:pt x="9" y="5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347" name="Freeform 62"/>
              <p:cNvSpPr>
                <a:spLocks noChangeArrowheads="1"/>
              </p:cNvSpPr>
              <p:nvPr/>
            </p:nvSpPr>
            <p:spPr bwMode="auto">
              <a:xfrm>
                <a:off x="5723" y="75"/>
                <a:ext cx="13" cy="12"/>
              </a:xfrm>
              <a:custGeom>
                <a:avLst/>
                <a:gdLst>
                  <a:gd name="T0" fmla="*/ 3225 w 9"/>
                  <a:gd name="T1" fmla="*/ 3489 h 9"/>
                  <a:gd name="T2" fmla="*/ 3225 w 9"/>
                  <a:gd name="T3" fmla="*/ 3489 h 9"/>
                  <a:gd name="T4" fmla="*/ 0 w 9"/>
                  <a:gd name="T5" fmla="*/ 1993 h 9"/>
                  <a:gd name="T6" fmla="*/ 0 w 9"/>
                  <a:gd name="T7" fmla="*/ 1495 h 9"/>
                  <a:gd name="T8" fmla="*/ 3225 w 9"/>
                  <a:gd name="T9" fmla="*/ 0 h 9"/>
                  <a:gd name="T10" fmla="*/ 3225 w 9"/>
                  <a:gd name="T11" fmla="*/ 0 h 9"/>
                  <a:gd name="T12" fmla="*/ 5642 w 9"/>
                  <a:gd name="T13" fmla="*/ 1495 h 9"/>
                  <a:gd name="T14" fmla="*/ 3225 w 9"/>
                  <a:gd name="T15" fmla="*/ 3489 h 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348" name="Freeform 63"/>
              <p:cNvSpPr>
                <a:spLocks noChangeArrowheads="1"/>
              </p:cNvSpPr>
              <p:nvPr/>
            </p:nvSpPr>
            <p:spPr bwMode="auto">
              <a:xfrm>
                <a:off x="5704" y="61"/>
                <a:ext cx="11" cy="13"/>
              </a:xfrm>
              <a:custGeom>
                <a:avLst/>
                <a:gdLst>
                  <a:gd name="T0" fmla="*/ 2164 w 8"/>
                  <a:gd name="T1" fmla="*/ 7173 h 9"/>
                  <a:gd name="T2" fmla="*/ 2164 w 8"/>
                  <a:gd name="T3" fmla="*/ 7173 h 9"/>
                  <a:gd name="T4" fmla="*/ 0 w 8"/>
                  <a:gd name="T5" fmla="*/ 3860 h 9"/>
                  <a:gd name="T6" fmla="*/ 0 w 8"/>
                  <a:gd name="T7" fmla="*/ 3194 h 9"/>
                  <a:gd name="T8" fmla="*/ 2164 w 8"/>
                  <a:gd name="T9" fmla="*/ 0 h 9"/>
                  <a:gd name="T10" fmla="*/ 2164 w 8"/>
                  <a:gd name="T11" fmla="*/ 0 h 9"/>
                  <a:gd name="T12" fmla="*/ 4077 w 8"/>
                  <a:gd name="T13" fmla="*/ 3860 h 9"/>
                  <a:gd name="T14" fmla="*/ 2164 w 8"/>
                  <a:gd name="T15" fmla="*/ 7173 h 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4" y="9"/>
                      <a:pt x="4" y="9"/>
                      <a:pt x="4" y="9"/>
                    </a:cubicBez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7" y="0"/>
                      <a:pt x="8" y="2"/>
                      <a:pt x="8" y="5"/>
                    </a:cubicBezTo>
                    <a:cubicBezTo>
                      <a:pt x="8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349" name="Freeform 64"/>
              <p:cNvSpPr>
                <a:spLocks noChangeArrowheads="1"/>
              </p:cNvSpPr>
              <p:nvPr/>
            </p:nvSpPr>
            <p:spPr bwMode="auto">
              <a:xfrm>
                <a:off x="5683" y="75"/>
                <a:ext cx="13" cy="12"/>
              </a:xfrm>
              <a:custGeom>
                <a:avLst/>
                <a:gdLst>
                  <a:gd name="T0" fmla="*/ 3225 w 9"/>
                  <a:gd name="T1" fmla="*/ 3489 h 9"/>
                  <a:gd name="T2" fmla="*/ 2417 w 9"/>
                  <a:gd name="T3" fmla="*/ 3489 h 9"/>
                  <a:gd name="T4" fmla="*/ 0 w 9"/>
                  <a:gd name="T5" fmla="*/ 1495 h 9"/>
                  <a:gd name="T6" fmla="*/ 2417 w 9"/>
                  <a:gd name="T7" fmla="*/ 0 h 9"/>
                  <a:gd name="T8" fmla="*/ 2417 w 9"/>
                  <a:gd name="T9" fmla="*/ 0 h 9"/>
                  <a:gd name="T10" fmla="*/ 5642 w 9"/>
                  <a:gd name="T11" fmla="*/ 1495 h 9"/>
                  <a:gd name="T12" fmla="*/ 3225 w 9"/>
                  <a:gd name="T13" fmla="*/ 3489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4" y="9"/>
                      <a:pt x="4" y="9"/>
                      <a:pt x="4" y="9"/>
                    </a:cubicBezTo>
                    <a:cubicBezTo>
                      <a:pt x="2" y="9"/>
                      <a:pt x="0" y="7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350" name="Freeform 65"/>
              <p:cNvSpPr>
                <a:spLocks noChangeArrowheads="1"/>
              </p:cNvSpPr>
              <p:nvPr/>
            </p:nvSpPr>
            <p:spPr bwMode="auto">
              <a:xfrm>
                <a:off x="5662" y="61"/>
                <a:ext cx="13" cy="13"/>
              </a:xfrm>
              <a:custGeom>
                <a:avLst/>
                <a:gdLst>
                  <a:gd name="T0" fmla="*/ 3860 w 9"/>
                  <a:gd name="T1" fmla="*/ 7173 h 9"/>
                  <a:gd name="T2" fmla="*/ 3860 w 9"/>
                  <a:gd name="T3" fmla="*/ 7173 h 9"/>
                  <a:gd name="T4" fmla="*/ 0 w 9"/>
                  <a:gd name="T5" fmla="*/ 3860 h 9"/>
                  <a:gd name="T6" fmla="*/ 0 w 9"/>
                  <a:gd name="T7" fmla="*/ 3194 h 9"/>
                  <a:gd name="T8" fmla="*/ 3860 w 9"/>
                  <a:gd name="T9" fmla="*/ 0 h 9"/>
                  <a:gd name="T10" fmla="*/ 3860 w 9"/>
                  <a:gd name="T11" fmla="*/ 0 h 9"/>
                  <a:gd name="T12" fmla="*/ 7173 w 9"/>
                  <a:gd name="T13" fmla="*/ 3860 h 9"/>
                  <a:gd name="T14" fmla="*/ 3860 w 9"/>
                  <a:gd name="T15" fmla="*/ 7173 h 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7" y="0"/>
                      <a:pt x="9" y="2"/>
                      <a:pt x="9" y="5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351" name="Freeform 66"/>
              <p:cNvSpPr>
                <a:spLocks noChangeArrowheads="1"/>
              </p:cNvSpPr>
              <p:nvPr/>
            </p:nvSpPr>
            <p:spPr bwMode="auto">
              <a:xfrm>
                <a:off x="5642" y="75"/>
                <a:ext cx="11" cy="12"/>
              </a:xfrm>
              <a:custGeom>
                <a:avLst/>
                <a:gdLst>
                  <a:gd name="T0" fmla="*/ 2164 w 8"/>
                  <a:gd name="T1" fmla="*/ 3489 h 9"/>
                  <a:gd name="T2" fmla="*/ 2164 w 8"/>
                  <a:gd name="T3" fmla="*/ 3489 h 9"/>
                  <a:gd name="T4" fmla="*/ 0 w 8"/>
                  <a:gd name="T5" fmla="*/ 1993 h 9"/>
                  <a:gd name="T6" fmla="*/ 0 w 8"/>
                  <a:gd name="T7" fmla="*/ 1495 h 9"/>
                  <a:gd name="T8" fmla="*/ 2164 w 8"/>
                  <a:gd name="T9" fmla="*/ 0 h 9"/>
                  <a:gd name="T10" fmla="*/ 2164 w 8"/>
                  <a:gd name="T11" fmla="*/ 0 h 9"/>
                  <a:gd name="T12" fmla="*/ 4077 w 8"/>
                  <a:gd name="T13" fmla="*/ 1495 h 9"/>
                  <a:gd name="T14" fmla="*/ 4077 w 8"/>
                  <a:gd name="T15" fmla="*/ 1993 h 9"/>
                  <a:gd name="T16" fmla="*/ 2164 w 8"/>
                  <a:gd name="T17" fmla="*/ 3489 h 9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4" y="9"/>
                      <a:pt x="4" y="9"/>
                      <a:pt x="4" y="9"/>
                    </a:cubicBez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352" name="Freeform 67"/>
              <p:cNvSpPr>
                <a:spLocks noChangeArrowheads="1"/>
              </p:cNvSpPr>
              <p:nvPr/>
            </p:nvSpPr>
            <p:spPr bwMode="auto">
              <a:xfrm>
                <a:off x="5621" y="61"/>
                <a:ext cx="13" cy="13"/>
              </a:xfrm>
              <a:custGeom>
                <a:avLst/>
                <a:gdLst>
                  <a:gd name="T0" fmla="*/ 2417 w 9"/>
                  <a:gd name="T1" fmla="*/ 7173 h 9"/>
                  <a:gd name="T2" fmla="*/ 2417 w 9"/>
                  <a:gd name="T3" fmla="*/ 7173 h 9"/>
                  <a:gd name="T4" fmla="*/ 0 w 9"/>
                  <a:gd name="T5" fmla="*/ 3860 h 9"/>
                  <a:gd name="T6" fmla="*/ 2417 w 9"/>
                  <a:gd name="T7" fmla="*/ 0 h 9"/>
                  <a:gd name="T8" fmla="*/ 2417 w 9"/>
                  <a:gd name="T9" fmla="*/ 0 h 9"/>
                  <a:gd name="T10" fmla="*/ 5642 w 9"/>
                  <a:gd name="T11" fmla="*/ 3860 h 9"/>
                  <a:gd name="T12" fmla="*/ 2417 w 9"/>
                  <a:gd name="T13" fmla="*/ 7173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4" y="9"/>
                      <a:pt x="4" y="9"/>
                      <a:pt x="4" y="9"/>
                    </a:cubicBezTo>
                    <a:cubicBezTo>
                      <a:pt x="2" y="9"/>
                      <a:pt x="0" y="7"/>
                      <a:pt x="0" y="5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7" y="0"/>
                      <a:pt x="9" y="2"/>
                      <a:pt x="9" y="5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353" name="Freeform 68"/>
              <p:cNvSpPr>
                <a:spLocks noChangeArrowheads="1"/>
              </p:cNvSpPr>
              <p:nvPr/>
            </p:nvSpPr>
            <p:spPr bwMode="auto">
              <a:xfrm>
                <a:off x="5393" y="75"/>
                <a:ext cx="13" cy="12"/>
              </a:xfrm>
              <a:custGeom>
                <a:avLst/>
                <a:gdLst>
                  <a:gd name="T0" fmla="*/ 3225 w 9"/>
                  <a:gd name="T1" fmla="*/ 3489 h 9"/>
                  <a:gd name="T2" fmla="*/ 3225 w 9"/>
                  <a:gd name="T3" fmla="*/ 3489 h 9"/>
                  <a:gd name="T4" fmla="*/ 0 w 9"/>
                  <a:gd name="T5" fmla="*/ 1993 h 9"/>
                  <a:gd name="T6" fmla="*/ 0 w 9"/>
                  <a:gd name="T7" fmla="*/ 1495 h 9"/>
                  <a:gd name="T8" fmla="*/ 3225 w 9"/>
                  <a:gd name="T9" fmla="*/ 0 h 9"/>
                  <a:gd name="T10" fmla="*/ 3225 w 9"/>
                  <a:gd name="T11" fmla="*/ 0 h 9"/>
                  <a:gd name="T12" fmla="*/ 5642 w 9"/>
                  <a:gd name="T13" fmla="*/ 1495 h 9"/>
                  <a:gd name="T14" fmla="*/ 3225 w 9"/>
                  <a:gd name="T15" fmla="*/ 3489 h 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354" name="Freeform 69"/>
              <p:cNvSpPr>
                <a:spLocks noChangeArrowheads="1"/>
              </p:cNvSpPr>
              <p:nvPr/>
            </p:nvSpPr>
            <p:spPr bwMode="auto">
              <a:xfrm>
                <a:off x="5312" y="75"/>
                <a:ext cx="11" cy="12"/>
              </a:xfrm>
              <a:custGeom>
                <a:avLst/>
                <a:gdLst>
                  <a:gd name="T0" fmla="*/ 2164 w 8"/>
                  <a:gd name="T1" fmla="*/ 3489 h 9"/>
                  <a:gd name="T2" fmla="*/ 2164 w 8"/>
                  <a:gd name="T3" fmla="*/ 3489 h 9"/>
                  <a:gd name="T4" fmla="*/ 0 w 8"/>
                  <a:gd name="T5" fmla="*/ 1993 h 9"/>
                  <a:gd name="T6" fmla="*/ 0 w 8"/>
                  <a:gd name="T7" fmla="*/ 1495 h 9"/>
                  <a:gd name="T8" fmla="*/ 2164 w 8"/>
                  <a:gd name="T9" fmla="*/ 0 h 9"/>
                  <a:gd name="T10" fmla="*/ 2164 w 8"/>
                  <a:gd name="T11" fmla="*/ 0 h 9"/>
                  <a:gd name="T12" fmla="*/ 4077 w 8"/>
                  <a:gd name="T13" fmla="*/ 1495 h 9"/>
                  <a:gd name="T14" fmla="*/ 2164 w 8"/>
                  <a:gd name="T15" fmla="*/ 3489 h 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4" y="9"/>
                      <a:pt x="4" y="9"/>
                      <a:pt x="4" y="9"/>
                    </a:cubicBez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355" name="Freeform 70"/>
              <p:cNvSpPr>
                <a:spLocks noChangeArrowheads="1"/>
              </p:cNvSpPr>
              <p:nvPr/>
            </p:nvSpPr>
            <p:spPr bwMode="auto">
              <a:xfrm>
                <a:off x="5373" y="61"/>
                <a:ext cx="11" cy="13"/>
              </a:xfrm>
              <a:custGeom>
                <a:avLst/>
                <a:gdLst>
                  <a:gd name="T0" fmla="*/ 2164 w 8"/>
                  <a:gd name="T1" fmla="*/ 7173 h 9"/>
                  <a:gd name="T2" fmla="*/ 2164 w 8"/>
                  <a:gd name="T3" fmla="*/ 7173 h 9"/>
                  <a:gd name="T4" fmla="*/ 0 w 8"/>
                  <a:gd name="T5" fmla="*/ 3860 h 9"/>
                  <a:gd name="T6" fmla="*/ 0 w 8"/>
                  <a:gd name="T7" fmla="*/ 3194 h 9"/>
                  <a:gd name="T8" fmla="*/ 2164 w 8"/>
                  <a:gd name="T9" fmla="*/ 0 h 9"/>
                  <a:gd name="T10" fmla="*/ 2164 w 8"/>
                  <a:gd name="T11" fmla="*/ 0 h 9"/>
                  <a:gd name="T12" fmla="*/ 4077 w 8"/>
                  <a:gd name="T13" fmla="*/ 3860 h 9"/>
                  <a:gd name="T14" fmla="*/ 2164 w 8"/>
                  <a:gd name="T15" fmla="*/ 7173 h 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4" y="9"/>
                      <a:pt x="4" y="9"/>
                      <a:pt x="4" y="9"/>
                    </a:cubicBez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6" y="0"/>
                      <a:pt x="8" y="2"/>
                      <a:pt x="8" y="5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356" name="Freeform 71"/>
              <p:cNvSpPr>
                <a:spLocks noChangeArrowheads="1"/>
              </p:cNvSpPr>
              <p:nvPr/>
            </p:nvSpPr>
            <p:spPr bwMode="auto">
              <a:xfrm>
                <a:off x="5354" y="75"/>
                <a:ext cx="13" cy="12"/>
              </a:xfrm>
              <a:custGeom>
                <a:avLst/>
                <a:gdLst>
                  <a:gd name="T0" fmla="*/ 3225 w 9"/>
                  <a:gd name="T1" fmla="*/ 3489 h 9"/>
                  <a:gd name="T2" fmla="*/ 2417 w 9"/>
                  <a:gd name="T3" fmla="*/ 3489 h 9"/>
                  <a:gd name="T4" fmla="*/ 0 w 9"/>
                  <a:gd name="T5" fmla="*/ 1993 h 9"/>
                  <a:gd name="T6" fmla="*/ 0 w 9"/>
                  <a:gd name="T7" fmla="*/ 1495 h 9"/>
                  <a:gd name="T8" fmla="*/ 2417 w 9"/>
                  <a:gd name="T9" fmla="*/ 0 h 9"/>
                  <a:gd name="T10" fmla="*/ 2417 w 9"/>
                  <a:gd name="T11" fmla="*/ 0 h 9"/>
                  <a:gd name="T12" fmla="*/ 5642 w 9"/>
                  <a:gd name="T13" fmla="*/ 1495 h 9"/>
                  <a:gd name="T14" fmla="*/ 3225 w 9"/>
                  <a:gd name="T15" fmla="*/ 3489 h 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4" y="9"/>
                      <a:pt x="4" y="9"/>
                      <a:pt x="4" y="9"/>
                    </a:cubicBez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357" name="Freeform 72"/>
              <p:cNvSpPr>
                <a:spLocks noChangeArrowheads="1"/>
              </p:cNvSpPr>
              <p:nvPr/>
            </p:nvSpPr>
            <p:spPr bwMode="auto">
              <a:xfrm>
                <a:off x="5435" y="96"/>
                <a:ext cx="11" cy="13"/>
              </a:xfrm>
              <a:custGeom>
                <a:avLst/>
                <a:gdLst>
                  <a:gd name="T0" fmla="*/ 2164 w 8"/>
                  <a:gd name="T1" fmla="*/ 7173 h 9"/>
                  <a:gd name="T2" fmla="*/ 0 w 8"/>
                  <a:gd name="T3" fmla="*/ 3194 h 9"/>
                  <a:gd name="T4" fmla="*/ 0 w 8"/>
                  <a:gd name="T5" fmla="*/ 3194 h 9"/>
                  <a:gd name="T6" fmla="*/ 2164 w 8"/>
                  <a:gd name="T7" fmla="*/ 0 h 9"/>
                  <a:gd name="T8" fmla="*/ 4077 w 8"/>
                  <a:gd name="T9" fmla="*/ 3194 h 9"/>
                  <a:gd name="T10" fmla="*/ 2164 w 8"/>
                  <a:gd name="T11" fmla="*/ 7173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2" y="9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358" name="Freeform 73"/>
              <p:cNvSpPr>
                <a:spLocks noChangeArrowheads="1"/>
              </p:cNvSpPr>
              <p:nvPr/>
            </p:nvSpPr>
            <p:spPr bwMode="auto">
              <a:xfrm>
                <a:off x="5415" y="83"/>
                <a:ext cx="13" cy="12"/>
              </a:xfrm>
              <a:custGeom>
                <a:avLst/>
                <a:gdLst>
                  <a:gd name="T0" fmla="*/ 2417 w 9"/>
                  <a:gd name="T1" fmla="*/ 3489 h 9"/>
                  <a:gd name="T2" fmla="*/ 0 w 9"/>
                  <a:gd name="T3" fmla="*/ 1993 h 9"/>
                  <a:gd name="T4" fmla="*/ 0 w 9"/>
                  <a:gd name="T5" fmla="*/ 1495 h 9"/>
                  <a:gd name="T6" fmla="*/ 2417 w 9"/>
                  <a:gd name="T7" fmla="*/ 0 h 9"/>
                  <a:gd name="T8" fmla="*/ 5642 w 9"/>
                  <a:gd name="T9" fmla="*/ 1495 h 9"/>
                  <a:gd name="T10" fmla="*/ 2417 w 9"/>
                  <a:gd name="T11" fmla="*/ 3489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359" name="Freeform 74"/>
              <p:cNvSpPr>
                <a:spLocks noChangeArrowheads="1"/>
              </p:cNvSpPr>
              <p:nvPr/>
            </p:nvSpPr>
            <p:spPr bwMode="auto">
              <a:xfrm>
                <a:off x="5331" y="83"/>
                <a:ext cx="13" cy="12"/>
              </a:xfrm>
              <a:custGeom>
                <a:avLst/>
                <a:gdLst>
                  <a:gd name="T0" fmla="*/ 3860 w 9"/>
                  <a:gd name="T1" fmla="*/ 3489 h 9"/>
                  <a:gd name="T2" fmla="*/ 0 w 9"/>
                  <a:gd name="T3" fmla="*/ 1993 h 9"/>
                  <a:gd name="T4" fmla="*/ 0 w 9"/>
                  <a:gd name="T5" fmla="*/ 1495 h 9"/>
                  <a:gd name="T6" fmla="*/ 3860 w 9"/>
                  <a:gd name="T7" fmla="*/ 0 h 9"/>
                  <a:gd name="T8" fmla="*/ 7173 w 9"/>
                  <a:gd name="T9" fmla="*/ 1495 h 9"/>
                  <a:gd name="T10" fmla="*/ 3860 w 9"/>
                  <a:gd name="T11" fmla="*/ 3489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360" name="Oval 75"/>
              <p:cNvSpPr>
                <a:spLocks noChangeArrowheads="1"/>
              </p:cNvSpPr>
              <p:nvPr/>
            </p:nvSpPr>
            <p:spPr bwMode="auto">
              <a:xfrm>
                <a:off x="5601" y="96"/>
                <a:ext cx="12" cy="13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US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361" name="Freeform 76"/>
              <p:cNvSpPr>
                <a:spLocks noChangeArrowheads="1"/>
              </p:cNvSpPr>
              <p:nvPr/>
            </p:nvSpPr>
            <p:spPr bwMode="auto">
              <a:xfrm>
                <a:off x="5581" y="83"/>
                <a:ext cx="10" cy="12"/>
              </a:xfrm>
              <a:custGeom>
                <a:avLst/>
                <a:gdLst>
                  <a:gd name="T0" fmla="*/ 868 w 8"/>
                  <a:gd name="T1" fmla="*/ 3489 h 9"/>
                  <a:gd name="T2" fmla="*/ 0 w 8"/>
                  <a:gd name="T3" fmla="*/ 1993 h 9"/>
                  <a:gd name="T4" fmla="*/ 0 w 8"/>
                  <a:gd name="T5" fmla="*/ 1495 h 9"/>
                  <a:gd name="T6" fmla="*/ 868 w 8"/>
                  <a:gd name="T7" fmla="*/ 0 h 9"/>
                  <a:gd name="T8" fmla="*/ 1780 w 8"/>
                  <a:gd name="T9" fmla="*/ 1495 h 9"/>
                  <a:gd name="T10" fmla="*/ 868 w 8"/>
                  <a:gd name="T11" fmla="*/ 3489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362" name="Freeform 77"/>
              <p:cNvSpPr>
                <a:spLocks noChangeArrowheads="1"/>
              </p:cNvSpPr>
              <p:nvPr/>
            </p:nvSpPr>
            <p:spPr bwMode="auto">
              <a:xfrm>
                <a:off x="5559" y="96"/>
                <a:ext cx="13" cy="13"/>
              </a:xfrm>
              <a:custGeom>
                <a:avLst/>
                <a:gdLst>
                  <a:gd name="T0" fmla="*/ 3194 w 9"/>
                  <a:gd name="T1" fmla="*/ 7173 h 9"/>
                  <a:gd name="T2" fmla="*/ 0 w 9"/>
                  <a:gd name="T3" fmla="*/ 3194 h 9"/>
                  <a:gd name="T4" fmla="*/ 0 w 9"/>
                  <a:gd name="T5" fmla="*/ 3194 h 9"/>
                  <a:gd name="T6" fmla="*/ 3194 w 9"/>
                  <a:gd name="T7" fmla="*/ 0 h 9"/>
                  <a:gd name="T8" fmla="*/ 7173 w 9"/>
                  <a:gd name="T9" fmla="*/ 3194 h 9"/>
                  <a:gd name="T10" fmla="*/ 3194 w 9"/>
                  <a:gd name="T11" fmla="*/ 7173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2" y="9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363" name="Freeform 78"/>
              <p:cNvSpPr>
                <a:spLocks noChangeArrowheads="1"/>
              </p:cNvSpPr>
              <p:nvPr/>
            </p:nvSpPr>
            <p:spPr bwMode="auto">
              <a:xfrm>
                <a:off x="5538" y="83"/>
                <a:ext cx="12" cy="12"/>
              </a:xfrm>
              <a:custGeom>
                <a:avLst/>
                <a:gdLst>
                  <a:gd name="T0" fmla="*/ 1993 w 9"/>
                  <a:gd name="T1" fmla="*/ 3489 h 9"/>
                  <a:gd name="T2" fmla="*/ 0 w 9"/>
                  <a:gd name="T3" fmla="*/ 1993 h 9"/>
                  <a:gd name="T4" fmla="*/ 0 w 9"/>
                  <a:gd name="T5" fmla="*/ 1495 h 9"/>
                  <a:gd name="T6" fmla="*/ 1993 w 9"/>
                  <a:gd name="T7" fmla="*/ 0 h 9"/>
                  <a:gd name="T8" fmla="*/ 3489 w 9"/>
                  <a:gd name="T9" fmla="*/ 1495 h 9"/>
                  <a:gd name="T10" fmla="*/ 1993 w 9"/>
                  <a:gd name="T11" fmla="*/ 3489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364" name="Freeform 79"/>
              <p:cNvSpPr>
                <a:spLocks noChangeArrowheads="1"/>
              </p:cNvSpPr>
              <p:nvPr/>
            </p:nvSpPr>
            <p:spPr bwMode="auto">
              <a:xfrm>
                <a:off x="5518" y="96"/>
                <a:ext cx="11" cy="13"/>
              </a:xfrm>
              <a:custGeom>
                <a:avLst/>
                <a:gdLst>
                  <a:gd name="T0" fmla="*/ 2164 w 8"/>
                  <a:gd name="T1" fmla="*/ 7173 h 9"/>
                  <a:gd name="T2" fmla="*/ 0 w 8"/>
                  <a:gd name="T3" fmla="*/ 3194 h 9"/>
                  <a:gd name="T4" fmla="*/ 0 w 8"/>
                  <a:gd name="T5" fmla="*/ 3194 h 9"/>
                  <a:gd name="T6" fmla="*/ 2164 w 8"/>
                  <a:gd name="T7" fmla="*/ 0 h 9"/>
                  <a:gd name="T8" fmla="*/ 4077 w 8"/>
                  <a:gd name="T9" fmla="*/ 3194 h 9"/>
                  <a:gd name="T10" fmla="*/ 2164 w 8"/>
                  <a:gd name="T11" fmla="*/ 7173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2" y="9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365" name="Oval 80"/>
              <p:cNvSpPr>
                <a:spLocks noChangeArrowheads="1"/>
              </p:cNvSpPr>
              <p:nvPr/>
            </p:nvSpPr>
            <p:spPr bwMode="auto">
              <a:xfrm>
                <a:off x="5455" y="83"/>
                <a:ext cx="13" cy="12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US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366" name="Oval 81"/>
              <p:cNvSpPr>
                <a:spLocks noChangeArrowheads="1"/>
              </p:cNvSpPr>
              <p:nvPr/>
            </p:nvSpPr>
            <p:spPr bwMode="auto">
              <a:xfrm>
                <a:off x="5744" y="83"/>
                <a:ext cx="13" cy="12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US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367" name="Freeform 82"/>
              <p:cNvSpPr>
                <a:spLocks noChangeArrowheads="1"/>
              </p:cNvSpPr>
              <p:nvPr/>
            </p:nvSpPr>
            <p:spPr bwMode="auto">
              <a:xfrm>
                <a:off x="5723" y="96"/>
                <a:ext cx="13" cy="13"/>
              </a:xfrm>
              <a:custGeom>
                <a:avLst/>
                <a:gdLst>
                  <a:gd name="T0" fmla="*/ 3225 w 9"/>
                  <a:gd name="T1" fmla="*/ 7173 h 9"/>
                  <a:gd name="T2" fmla="*/ 0 w 9"/>
                  <a:gd name="T3" fmla="*/ 3194 h 9"/>
                  <a:gd name="T4" fmla="*/ 0 w 9"/>
                  <a:gd name="T5" fmla="*/ 3194 h 9"/>
                  <a:gd name="T6" fmla="*/ 3225 w 9"/>
                  <a:gd name="T7" fmla="*/ 0 h 9"/>
                  <a:gd name="T8" fmla="*/ 5642 w 9"/>
                  <a:gd name="T9" fmla="*/ 3194 h 9"/>
                  <a:gd name="T10" fmla="*/ 3225 w 9"/>
                  <a:gd name="T11" fmla="*/ 7173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2" y="9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368" name="Freeform 83"/>
              <p:cNvSpPr>
                <a:spLocks noChangeArrowheads="1"/>
              </p:cNvSpPr>
              <p:nvPr/>
            </p:nvSpPr>
            <p:spPr bwMode="auto">
              <a:xfrm>
                <a:off x="5704" y="83"/>
                <a:ext cx="11" cy="12"/>
              </a:xfrm>
              <a:custGeom>
                <a:avLst/>
                <a:gdLst>
                  <a:gd name="T0" fmla="*/ 2164 w 8"/>
                  <a:gd name="T1" fmla="*/ 3489 h 9"/>
                  <a:gd name="T2" fmla="*/ 0 w 8"/>
                  <a:gd name="T3" fmla="*/ 1993 h 9"/>
                  <a:gd name="T4" fmla="*/ 0 w 8"/>
                  <a:gd name="T5" fmla="*/ 1495 h 9"/>
                  <a:gd name="T6" fmla="*/ 2164 w 8"/>
                  <a:gd name="T7" fmla="*/ 0 h 9"/>
                  <a:gd name="T8" fmla="*/ 4077 w 8"/>
                  <a:gd name="T9" fmla="*/ 1495 h 9"/>
                  <a:gd name="T10" fmla="*/ 2164 w 8"/>
                  <a:gd name="T11" fmla="*/ 3489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369" name="Oval 84"/>
              <p:cNvSpPr>
                <a:spLocks noChangeArrowheads="1"/>
              </p:cNvSpPr>
              <p:nvPr/>
            </p:nvSpPr>
            <p:spPr bwMode="auto">
              <a:xfrm>
                <a:off x="5683" y="96"/>
                <a:ext cx="13" cy="13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US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370" name="Freeform 85"/>
              <p:cNvSpPr>
                <a:spLocks noChangeArrowheads="1"/>
              </p:cNvSpPr>
              <p:nvPr/>
            </p:nvSpPr>
            <p:spPr bwMode="auto">
              <a:xfrm>
                <a:off x="5662" y="83"/>
                <a:ext cx="13" cy="12"/>
              </a:xfrm>
              <a:custGeom>
                <a:avLst/>
                <a:gdLst>
                  <a:gd name="T0" fmla="*/ 3860 w 9"/>
                  <a:gd name="T1" fmla="*/ 3489 h 9"/>
                  <a:gd name="T2" fmla="*/ 0 w 9"/>
                  <a:gd name="T3" fmla="*/ 1993 h 9"/>
                  <a:gd name="T4" fmla="*/ 0 w 9"/>
                  <a:gd name="T5" fmla="*/ 1495 h 9"/>
                  <a:gd name="T6" fmla="*/ 3860 w 9"/>
                  <a:gd name="T7" fmla="*/ 0 h 9"/>
                  <a:gd name="T8" fmla="*/ 7173 w 9"/>
                  <a:gd name="T9" fmla="*/ 1495 h 9"/>
                  <a:gd name="T10" fmla="*/ 3860 w 9"/>
                  <a:gd name="T11" fmla="*/ 3489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371" name="Freeform 86"/>
              <p:cNvSpPr>
                <a:spLocks noChangeArrowheads="1"/>
              </p:cNvSpPr>
              <p:nvPr/>
            </p:nvSpPr>
            <p:spPr bwMode="auto">
              <a:xfrm>
                <a:off x="5642" y="96"/>
                <a:ext cx="11" cy="13"/>
              </a:xfrm>
              <a:custGeom>
                <a:avLst/>
                <a:gdLst>
                  <a:gd name="T0" fmla="*/ 2164 w 8"/>
                  <a:gd name="T1" fmla="*/ 7173 h 9"/>
                  <a:gd name="T2" fmla="*/ 0 w 8"/>
                  <a:gd name="T3" fmla="*/ 3194 h 9"/>
                  <a:gd name="T4" fmla="*/ 0 w 8"/>
                  <a:gd name="T5" fmla="*/ 3194 h 9"/>
                  <a:gd name="T6" fmla="*/ 2164 w 8"/>
                  <a:gd name="T7" fmla="*/ 0 h 9"/>
                  <a:gd name="T8" fmla="*/ 4077 w 8"/>
                  <a:gd name="T9" fmla="*/ 3194 h 9"/>
                  <a:gd name="T10" fmla="*/ 4077 w 8"/>
                  <a:gd name="T11" fmla="*/ 3194 h 9"/>
                  <a:gd name="T12" fmla="*/ 2164 w 8"/>
                  <a:gd name="T13" fmla="*/ 7173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2" y="9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372" name="Oval 87"/>
              <p:cNvSpPr>
                <a:spLocks noChangeArrowheads="1"/>
              </p:cNvSpPr>
              <p:nvPr/>
            </p:nvSpPr>
            <p:spPr bwMode="auto">
              <a:xfrm>
                <a:off x="5621" y="83"/>
                <a:ext cx="13" cy="12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US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373" name="Freeform 88"/>
              <p:cNvSpPr>
                <a:spLocks noChangeArrowheads="1"/>
              </p:cNvSpPr>
              <p:nvPr/>
            </p:nvSpPr>
            <p:spPr bwMode="auto">
              <a:xfrm>
                <a:off x="5393" y="96"/>
                <a:ext cx="13" cy="13"/>
              </a:xfrm>
              <a:custGeom>
                <a:avLst/>
                <a:gdLst>
                  <a:gd name="T0" fmla="*/ 3225 w 9"/>
                  <a:gd name="T1" fmla="*/ 7173 h 9"/>
                  <a:gd name="T2" fmla="*/ 0 w 9"/>
                  <a:gd name="T3" fmla="*/ 3194 h 9"/>
                  <a:gd name="T4" fmla="*/ 0 w 9"/>
                  <a:gd name="T5" fmla="*/ 3194 h 9"/>
                  <a:gd name="T6" fmla="*/ 3225 w 9"/>
                  <a:gd name="T7" fmla="*/ 0 h 9"/>
                  <a:gd name="T8" fmla="*/ 5642 w 9"/>
                  <a:gd name="T9" fmla="*/ 3194 h 9"/>
                  <a:gd name="T10" fmla="*/ 3225 w 9"/>
                  <a:gd name="T11" fmla="*/ 7173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2" y="9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374" name="Freeform 89"/>
              <p:cNvSpPr>
                <a:spLocks noChangeArrowheads="1"/>
              </p:cNvSpPr>
              <p:nvPr/>
            </p:nvSpPr>
            <p:spPr bwMode="auto">
              <a:xfrm>
                <a:off x="5312" y="96"/>
                <a:ext cx="11" cy="13"/>
              </a:xfrm>
              <a:custGeom>
                <a:avLst/>
                <a:gdLst>
                  <a:gd name="T0" fmla="*/ 2164 w 8"/>
                  <a:gd name="T1" fmla="*/ 7173 h 9"/>
                  <a:gd name="T2" fmla="*/ 0 w 8"/>
                  <a:gd name="T3" fmla="*/ 3194 h 9"/>
                  <a:gd name="T4" fmla="*/ 0 w 8"/>
                  <a:gd name="T5" fmla="*/ 3194 h 9"/>
                  <a:gd name="T6" fmla="*/ 2164 w 8"/>
                  <a:gd name="T7" fmla="*/ 0 h 9"/>
                  <a:gd name="T8" fmla="*/ 4077 w 8"/>
                  <a:gd name="T9" fmla="*/ 3194 h 9"/>
                  <a:gd name="T10" fmla="*/ 2164 w 8"/>
                  <a:gd name="T11" fmla="*/ 7173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2" y="9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375" name="Freeform 90"/>
              <p:cNvSpPr>
                <a:spLocks noChangeArrowheads="1"/>
              </p:cNvSpPr>
              <p:nvPr/>
            </p:nvSpPr>
            <p:spPr bwMode="auto">
              <a:xfrm>
                <a:off x="5373" y="83"/>
                <a:ext cx="11" cy="12"/>
              </a:xfrm>
              <a:custGeom>
                <a:avLst/>
                <a:gdLst>
                  <a:gd name="T0" fmla="*/ 2164 w 8"/>
                  <a:gd name="T1" fmla="*/ 3489 h 9"/>
                  <a:gd name="T2" fmla="*/ 0 w 8"/>
                  <a:gd name="T3" fmla="*/ 1993 h 9"/>
                  <a:gd name="T4" fmla="*/ 0 w 8"/>
                  <a:gd name="T5" fmla="*/ 1495 h 9"/>
                  <a:gd name="T6" fmla="*/ 2164 w 8"/>
                  <a:gd name="T7" fmla="*/ 0 h 9"/>
                  <a:gd name="T8" fmla="*/ 4077 w 8"/>
                  <a:gd name="T9" fmla="*/ 1495 h 9"/>
                  <a:gd name="T10" fmla="*/ 2164 w 8"/>
                  <a:gd name="T11" fmla="*/ 3489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376" name="Freeform 91"/>
              <p:cNvSpPr>
                <a:spLocks noChangeArrowheads="1"/>
              </p:cNvSpPr>
              <p:nvPr/>
            </p:nvSpPr>
            <p:spPr bwMode="auto">
              <a:xfrm>
                <a:off x="5354" y="96"/>
                <a:ext cx="13" cy="13"/>
              </a:xfrm>
              <a:custGeom>
                <a:avLst/>
                <a:gdLst>
                  <a:gd name="T0" fmla="*/ 2417 w 9"/>
                  <a:gd name="T1" fmla="*/ 7173 h 9"/>
                  <a:gd name="T2" fmla="*/ 0 w 9"/>
                  <a:gd name="T3" fmla="*/ 3194 h 9"/>
                  <a:gd name="T4" fmla="*/ 0 w 9"/>
                  <a:gd name="T5" fmla="*/ 3194 h 9"/>
                  <a:gd name="T6" fmla="*/ 2417 w 9"/>
                  <a:gd name="T7" fmla="*/ 0 h 9"/>
                  <a:gd name="T8" fmla="*/ 5642 w 9"/>
                  <a:gd name="T9" fmla="*/ 3194 h 9"/>
                  <a:gd name="T10" fmla="*/ 2417 w 9"/>
                  <a:gd name="T11" fmla="*/ 7173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2" y="9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377" name="Freeform 92"/>
              <p:cNvSpPr>
                <a:spLocks noChangeArrowheads="1"/>
              </p:cNvSpPr>
              <p:nvPr/>
            </p:nvSpPr>
            <p:spPr bwMode="auto">
              <a:xfrm>
                <a:off x="5435" y="118"/>
                <a:ext cx="11" cy="11"/>
              </a:xfrm>
              <a:custGeom>
                <a:avLst/>
                <a:gdLst>
                  <a:gd name="T0" fmla="*/ 2164 w 8"/>
                  <a:gd name="T1" fmla="*/ 4077 h 8"/>
                  <a:gd name="T2" fmla="*/ 2164 w 8"/>
                  <a:gd name="T3" fmla="*/ 4077 h 8"/>
                  <a:gd name="T4" fmla="*/ 0 w 8"/>
                  <a:gd name="T5" fmla="*/ 2164 h 8"/>
                  <a:gd name="T6" fmla="*/ 0 w 8"/>
                  <a:gd name="T7" fmla="*/ 2164 h 8"/>
                  <a:gd name="T8" fmla="*/ 2164 w 8"/>
                  <a:gd name="T9" fmla="*/ 0 h 8"/>
                  <a:gd name="T10" fmla="*/ 4077 w 8"/>
                  <a:gd name="T11" fmla="*/ 2164 h 8"/>
                  <a:gd name="T12" fmla="*/ 2164 w 8"/>
                  <a:gd name="T13" fmla="*/ 4077 h 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8" h="8">
                    <a:moveTo>
                      <a:pt x="4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6"/>
                      <a:pt x="7" y="8"/>
                      <a:pt x="4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378" name="Freeform 93"/>
              <p:cNvSpPr>
                <a:spLocks noChangeArrowheads="1"/>
              </p:cNvSpPr>
              <p:nvPr/>
            </p:nvSpPr>
            <p:spPr bwMode="auto">
              <a:xfrm>
                <a:off x="5415" y="104"/>
                <a:ext cx="13" cy="13"/>
              </a:xfrm>
              <a:custGeom>
                <a:avLst/>
                <a:gdLst>
                  <a:gd name="T0" fmla="*/ 2417 w 9"/>
                  <a:gd name="T1" fmla="*/ 5642 h 9"/>
                  <a:gd name="T2" fmla="*/ 0 w 9"/>
                  <a:gd name="T3" fmla="*/ 2417 h 9"/>
                  <a:gd name="T4" fmla="*/ 0 w 9"/>
                  <a:gd name="T5" fmla="*/ 2417 h 9"/>
                  <a:gd name="T6" fmla="*/ 2417 w 9"/>
                  <a:gd name="T7" fmla="*/ 0 h 9"/>
                  <a:gd name="T8" fmla="*/ 5642 w 9"/>
                  <a:gd name="T9" fmla="*/ 2417 h 9"/>
                  <a:gd name="T10" fmla="*/ 2417 w 9"/>
                  <a:gd name="T11" fmla="*/ 5642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2" y="9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379" name="Freeform 94"/>
              <p:cNvSpPr>
                <a:spLocks noChangeArrowheads="1"/>
              </p:cNvSpPr>
              <p:nvPr/>
            </p:nvSpPr>
            <p:spPr bwMode="auto">
              <a:xfrm>
                <a:off x="5331" y="104"/>
                <a:ext cx="13" cy="13"/>
              </a:xfrm>
              <a:custGeom>
                <a:avLst/>
                <a:gdLst>
                  <a:gd name="T0" fmla="*/ 3860 w 9"/>
                  <a:gd name="T1" fmla="*/ 5642 h 9"/>
                  <a:gd name="T2" fmla="*/ 0 w 9"/>
                  <a:gd name="T3" fmla="*/ 2417 h 9"/>
                  <a:gd name="T4" fmla="*/ 0 w 9"/>
                  <a:gd name="T5" fmla="*/ 2417 h 9"/>
                  <a:gd name="T6" fmla="*/ 3860 w 9"/>
                  <a:gd name="T7" fmla="*/ 0 h 9"/>
                  <a:gd name="T8" fmla="*/ 7173 w 9"/>
                  <a:gd name="T9" fmla="*/ 2417 h 9"/>
                  <a:gd name="T10" fmla="*/ 3860 w 9"/>
                  <a:gd name="T11" fmla="*/ 5642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2" y="9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380" name="Freeform 95"/>
              <p:cNvSpPr>
                <a:spLocks noChangeArrowheads="1"/>
              </p:cNvSpPr>
              <p:nvPr/>
            </p:nvSpPr>
            <p:spPr bwMode="auto">
              <a:xfrm>
                <a:off x="5601" y="118"/>
                <a:ext cx="12" cy="11"/>
              </a:xfrm>
              <a:custGeom>
                <a:avLst/>
                <a:gdLst>
                  <a:gd name="T0" fmla="*/ 1993 w 9"/>
                  <a:gd name="T1" fmla="*/ 4077 h 8"/>
                  <a:gd name="T2" fmla="*/ 1495 w 9"/>
                  <a:gd name="T3" fmla="*/ 4077 h 8"/>
                  <a:gd name="T4" fmla="*/ 0 w 9"/>
                  <a:gd name="T5" fmla="*/ 2164 h 8"/>
                  <a:gd name="T6" fmla="*/ 1993 w 9"/>
                  <a:gd name="T7" fmla="*/ 0 h 8"/>
                  <a:gd name="T8" fmla="*/ 3489 w 9"/>
                  <a:gd name="T9" fmla="*/ 2164 h 8"/>
                  <a:gd name="T10" fmla="*/ 1993 w 9"/>
                  <a:gd name="T11" fmla="*/ 4077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8">
                    <a:moveTo>
                      <a:pt x="5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0" y="6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6"/>
                      <a:pt x="7" y="8"/>
                      <a:pt x="5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381" name="Freeform 96"/>
              <p:cNvSpPr>
                <a:spLocks noChangeArrowheads="1"/>
              </p:cNvSpPr>
              <p:nvPr/>
            </p:nvSpPr>
            <p:spPr bwMode="auto">
              <a:xfrm>
                <a:off x="5581" y="104"/>
                <a:ext cx="10" cy="13"/>
              </a:xfrm>
              <a:custGeom>
                <a:avLst/>
                <a:gdLst>
                  <a:gd name="T0" fmla="*/ 868 w 8"/>
                  <a:gd name="T1" fmla="*/ 5642 h 9"/>
                  <a:gd name="T2" fmla="*/ 0 w 8"/>
                  <a:gd name="T3" fmla="*/ 2417 h 9"/>
                  <a:gd name="T4" fmla="*/ 0 w 8"/>
                  <a:gd name="T5" fmla="*/ 2417 h 9"/>
                  <a:gd name="T6" fmla="*/ 868 w 8"/>
                  <a:gd name="T7" fmla="*/ 0 h 9"/>
                  <a:gd name="T8" fmla="*/ 1780 w 8"/>
                  <a:gd name="T9" fmla="*/ 2417 h 9"/>
                  <a:gd name="T10" fmla="*/ 868 w 8"/>
                  <a:gd name="T11" fmla="*/ 5642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2" y="9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382" name="Freeform 97"/>
              <p:cNvSpPr>
                <a:spLocks noChangeArrowheads="1"/>
              </p:cNvSpPr>
              <p:nvPr/>
            </p:nvSpPr>
            <p:spPr bwMode="auto">
              <a:xfrm>
                <a:off x="5559" y="118"/>
                <a:ext cx="13" cy="11"/>
              </a:xfrm>
              <a:custGeom>
                <a:avLst/>
                <a:gdLst>
                  <a:gd name="T0" fmla="*/ 3194 w 9"/>
                  <a:gd name="T1" fmla="*/ 4077 h 8"/>
                  <a:gd name="T2" fmla="*/ 3194 w 9"/>
                  <a:gd name="T3" fmla="*/ 4077 h 8"/>
                  <a:gd name="T4" fmla="*/ 0 w 9"/>
                  <a:gd name="T5" fmla="*/ 2164 h 8"/>
                  <a:gd name="T6" fmla="*/ 0 w 9"/>
                  <a:gd name="T7" fmla="*/ 2164 h 8"/>
                  <a:gd name="T8" fmla="*/ 3194 w 9"/>
                  <a:gd name="T9" fmla="*/ 0 h 8"/>
                  <a:gd name="T10" fmla="*/ 7173 w 9"/>
                  <a:gd name="T11" fmla="*/ 2164 h 8"/>
                  <a:gd name="T12" fmla="*/ 3194 w 9"/>
                  <a:gd name="T13" fmla="*/ 4077 h 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8">
                    <a:moveTo>
                      <a:pt x="4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6"/>
                      <a:pt x="7" y="8"/>
                      <a:pt x="4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383" name="Freeform 98"/>
              <p:cNvSpPr>
                <a:spLocks noChangeArrowheads="1"/>
              </p:cNvSpPr>
              <p:nvPr/>
            </p:nvSpPr>
            <p:spPr bwMode="auto">
              <a:xfrm>
                <a:off x="5538" y="104"/>
                <a:ext cx="12" cy="13"/>
              </a:xfrm>
              <a:custGeom>
                <a:avLst/>
                <a:gdLst>
                  <a:gd name="T0" fmla="*/ 1993 w 9"/>
                  <a:gd name="T1" fmla="*/ 5642 h 9"/>
                  <a:gd name="T2" fmla="*/ 0 w 9"/>
                  <a:gd name="T3" fmla="*/ 2417 h 9"/>
                  <a:gd name="T4" fmla="*/ 0 w 9"/>
                  <a:gd name="T5" fmla="*/ 2417 h 9"/>
                  <a:gd name="T6" fmla="*/ 1993 w 9"/>
                  <a:gd name="T7" fmla="*/ 0 h 9"/>
                  <a:gd name="T8" fmla="*/ 3489 w 9"/>
                  <a:gd name="T9" fmla="*/ 2417 h 9"/>
                  <a:gd name="T10" fmla="*/ 1993 w 9"/>
                  <a:gd name="T11" fmla="*/ 5642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2" y="9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384" name="Freeform 99"/>
              <p:cNvSpPr>
                <a:spLocks noChangeArrowheads="1"/>
              </p:cNvSpPr>
              <p:nvPr/>
            </p:nvSpPr>
            <p:spPr bwMode="auto">
              <a:xfrm>
                <a:off x="5518" y="118"/>
                <a:ext cx="11" cy="11"/>
              </a:xfrm>
              <a:custGeom>
                <a:avLst/>
                <a:gdLst>
                  <a:gd name="T0" fmla="*/ 2164 w 8"/>
                  <a:gd name="T1" fmla="*/ 4077 h 8"/>
                  <a:gd name="T2" fmla="*/ 2164 w 8"/>
                  <a:gd name="T3" fmla="*/ 4077 h 8"/>
                  <a:gd name="T4" fmla="*/ 0 w 8"/>
                  <a:gd name="T5" fmla="*/ 2164 h 8"/>
                  <a:gd name="T6" fmla="*/ 0 w 8"/>
                  <a:gd name="T7" fmla="*/ 2164 h 8"/>
                  <a:gd name="T8" fmla="*/ 2164 w 8"/>
                  <a:gd name="T9" fmla="*/ 0 h 8"/>
                  <a:gd name="T10" fmla="*/ 4077 w 8"/>
                  <a:gd name="T11" fmla="*/ 2164 h 8"/>
                  <a:gd name="T12" fmla="*/ 2164 w 8"/>
                  <a:gd name="T13" fmla="*/ 4077 h 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8" h="8">
                    <a:moveTo>
                      <a:pt x="4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1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6"/>
                      <a:pt x="6" y="8"/>
                      <a:pt x="4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385" name="Oval 100"/>
              <p:cNvSpPr>
                <a:spLocks noChangeArrowheads="1"/>
              </p:cNvSpPr>
              <p:nvPr/>
            </p:nvSpPr>
            <p:spPr bwMode="auto">
              <a:xfrm>
                <a:off x="5455" y="104"/>
                <a:ext cx="13" cy="13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US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386" name="Oval 101"/>
              <p:cNvSpPr>
                <a:spLocks noChangeArrowheads="1"/>
              </p:cNvSpPr>
              <p:nvPr/>
            </p:nvSpPr>
            <p:spPr bwMode="auto">
              <a:xfrm>
                <a:off x="5744" y="104"/>
                <a:ext cx="13" cy="13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US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387" name="Freeform 102"/>
              <p:cNvSpPr>
                <a:spLocks noChangeArrowheads="1"/>
              </p:cNvSpPr>
              <p:nvPr/>
            </p:nvSpPr>
            <p:spPr bwMode="auto">
              <a:xfrm>
                <a:off x="5723" y="118"/>
                <a:ext cx="13" cy="11"/>
              </a:xfrm>
              <a:custGeom>
                <a:avLst/>
                <a:gdLst>
                  <a:gd name="T0" fmla="*/ 3225 w 9"/>
                  <a:gd name="T1" fmla="*/ 4077 h 8"/>
                  <a:gd name="T2" fmla="*/ 3225 w 9"/>
                  <a:gd name="T3" fmla="*/ 4077 h 8"/>
                  <a:gd name="T4" fmla="*/ 0 w 9"/>
                  <a:gd name="T5" fmla="*/ 2164 h 8"/>
                  <a:gd name="T6" fmla="*/ 0 w 9"/>
                  <a:gd name="T7" fmla="*/ 2164 h 8"/>
                  <a:gd name="T8" fmla="*/ 3225 w 9"/>
                  <a:gd name="T9" fmla="*/ 0 h 8"/>
                  <a:gd name="T10" fmla="*/ 5642 w 9"/>
                  <a:gd name="T11" fmla="*/ 2164 h 8"/>
                  <a:gd name="T12" fmla="*/ 3225 w 9"/>
                  <a:gd name="T13" fmla="*/ 4077 h 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8">
                    <a:moveTo>
                      <a:pt x="5" y="8"/>
                    </a:moveTo>
                    <a:cubicBezTo>
                      <a:pt x="5" y="8"/>
                      <a:pt x="5" y="8"/>
                      <a:pt x="5" y="8"/>
                    </a:cubicBezTo>
                    <a:cubicBezTo>
                      <a:pt x="2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6"/>
                      <a:pt x="7" y="8"/>
                      <a:pt x="5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388" name="Freeform 103"/>
              <p:cNvSpPr>
                <a:spLocks noChangeArrowheads="1"/>
              </p:cNvSpPr>
              <p:nvPr/>
            </p:nvSpPr>
            <p:spPr bwMode="auto">
              <a:xfrm>
                <a:off x="5704" y="104"/>
                <a:ext cx="11" cy="13"/>
              </a:xfrm>
              <a:custGeom>
                <a:avLst/>
                <a:gdLst>
                  <a:gd name="T0" fmla="*/ 2164 w 8"/>
                  <a:gd name="T1" fmla="*/ 5642 h 9"/>
                  <a:gd name="T2" fmla="*/ 0 w 8"/>
                  <a:gd name="T3" fmla="*/ 2417 h 9"/>
                  <a:gd name="T4" fmla="*/ 0 w 8"/>
                  <a:gd name="T5" fmla="*/ 2417 h 9"/>
                  <a:gd name="T6" fmla="*/ 2164 w 8"/>
                  <a:gd name="T7" fmla="*/ 0 h 9"/>
                  <a:gd name="T8" fmla="*/ 4077 w 8"/>
                  <a:gd name="T9" fmla="*/ 2417 h 9"/>
                  <a:gd name="T10" fmla="*/ 2164 w 8"/>
                  <a:gd name="T11" fmla="*/ 5642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2" y="9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389" name="Freeform 104"/>
              <p:cNvSpPr>
                <a:spLocks noChangeArrowheads="1"/>
              </p:cNvSpPr>
              <p:nvPr/>
            </p:nvSpPr>
            <p:spPr bwMode="auto">
              <a:xfrm>
                <a:off x="5683" y="118"/>
                <a:ext cx="13" cy="11"/>
              </a:xfrm>
              <a:custGeom>
                <a:avLst/>
                <a:gdLst>
                  <a:gd name="T0" fmla="*/ 2417 w 9"/>
                  <a:gd name="T1" fmla="*/ 4077 h 8"/>
                  <a:gd name="T2" fmla="*/ 2417 w 9"/>
                  <a:gd name="T3" fmla="*/ 4077 h 8"/>
                  <a:gd name="T4" fmla="*/ 0 w 9"/>
                  <a:gd name="T5" fmla="*/ 2164 h 8"/>
                  <a:gd name="T6" fmla="*/ 2417 w 9"/>
                  <a:gd name="T7" fmla="*/ 0 h 8"/>
                  <a:gd name="T8" fmla="*/ 5642 w 9"/>
                  <a:gd name="T9" fmla="*/ 2164 h 8"/>
                  <a:gd name="T10" fmla="*/ 2417 w 9"/>
                  <a:gd name="T11" fmla="*/ 4077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8">
                    <a:moveTo>
                      <a:pt x="4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0" y="6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6"/>
                      <a:pt x="7" y="8"/>
                      <a:pt x="4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390" name="Freeform 105"/>
              <p:cNvSpPr>
                <a:spLocks noChangeArrowheads="1"/>
              </p:cNvSpPr>
              <p:nvPr/>
            </p:nvSpPr>
            <p:spPr bwMode="auto">
              <a:xfrm>
                <a:off x="5662" y="104"/>
                <a:ext cx="13" cy="13"/>
              </a:xfrm>
              <a:custGeom>
                <a:avLst/>
                <a:gdLst>
                  <a:gd name="T0" fmla="*/ 3860 w 9"/>
                  <a:gd name="T1" fmla="*/ 5642 h 9"/>
                  <a:gd name="T2" fmla="*/ 0 w 9"/>
                  <a:gd name="T3" fmla="*/ 2417 h 9"/>
                  <a:gd name="T4" fmla="*/ 0 w 9"/>
                  <a:gd name="T5" fmla="*/ 2417 h 9"/>
                  <a:gd name="T6" fmla="*/ 3860 w 9"/>
                  <a:gd name="T7" fmla="*/ 0 h 9"/>
                  <a:gd name="T8" fmla="*/ 7173 w 9"/>
                  <a:gd name="T9" fmla="*/ 2417 h 9"/>
                  <a:gd name="T10" fmla="*/ 3860 w 9"/>
                  <a:gd name="T11" fmla="*/ 5642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2" y="9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391" name="Freeform 106"/>
              <p:cNvSpPr>
                <a:spLocks noChangeArrowheads="1"/>
              </p:cNvSpPr>
              <p:nvPr/>
            </p:nvSpPr>
            <p:spPr bwMode="auto">
              <a:xfrm>
                <a:off x="5642" y="118"/>
                <a:ext cx="11" cy="11"/>
              </a:xfrm>
              <a:custGeom>
                <a:avLst/>
                <a:gdLst>
                  <a:gd name="T0" fmla="*/ 2164 w 8"/>
                  <a:gd name="T1" fmla="*/ 4077 h 8"/>
                  <a:gd name="T2" fmla="*/ 2164 w 8"/>
                  <a:gd name="T3" fmla="*/ 4077 h 8"/>
                  <a:gd name="T4" fmla="*/ 0 w 8"/>
                  <a:gd name="T5" fmla="*/ 2164 h 8"/>
                  <a:gd name="T6" fmla="*/ 0 w 8"/>
                  <a:gd name="T7" fmla="*/ 2164 h 8"/>
                  <a:gd name="T8" fmla="*/ 2164 w 8"/>
                  <a:gd name="T9" fmla="*/ 0 h 8"/>
                  <a:gd name="T10" fmla="*/ 4077 w 8"/>
                  <a:gd name="T11" fmla="*/ 2164 h 8"/>
                  <a:gd name="T12" fmla="*/ 4077 w 8"/>
                  <a:gd name="T13" fmla="*/ 2164 h 8"/>
                  <a:gd name="T14" fmla="*/ 2164 w 8"/>
                  <a:gd name="T15" fmla="*/ 4077 h 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8" h="8">
                    <a:moveTo>
                      <a:pt x="4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6"/>
                      <a:pt x="6" y="8"/>
                      <a:pt x="4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392" name="Oval 107"/>
              <p:cNvSpPr>
                <a:spLocks noChangeArrowheads="1"/>
              </p:cNvSpPr>
              <p:nvPr/>
            </p:nvSpPr>
            <p:spPr bwMode="auto">
              <a:xfrm>
                <a:off x="5621" y="104"/>
                <a:ext cx="13" cy="13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US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393" name="Freeform 108"/>
              <p:cNvSpPr>
                <a:spLocks noChangeArrowheads="1"/>
              </p:cNvSpPr>
              <p:nvPr/>
            </p:nvSpPr>
            <p:spPr bwMode="auto">
              <a:xfrm>
                <a:off x="5393" y="118"/>
                <a:ext cx="13" cy="11"/>
              </a:xfrm>
              <a:custGeom>
                <a:avLst/>
                <a:gdLst>
                  <a:gd name="T0" fmla="*/ 3225 w 9"/>
                  <a:gd name="T1" fmla="*/ 4077 h 8"/>
                  <a:gd name="T2" fmla="*/ 3225 w 9"/>
                  <a:gd name="T3" fmla="*/ 4077 h 8"/>
                  <a:gd name="T4" fmla="*/ 0 w 9"/>
                  <a:gd name="T5" fmla="*/ 2164 h 8"/>
                  <a:gd name="T6" fmla="*/ 0 w 9"/>
                  <a:gd name="T7" fmla="*/ 2164 h 8"/>
                  <a:gd name="T8" fmla="*/ 3225 w 9"/>
                  <a:gd name="T9" fmla="*/ 0 h 8"/>
                  <a:gd name="T10" fmla="*/ 5642 w 9"/>
                  <a:gd name="T11" fmla="*/ 2164 h 8"/>
                  <a:gd name="T12" fmla="*/ 3225 w 9"/>
                  <a:gd name="T13" fmla="*/ 4077 h 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8">
                    <a:moveTo>
                      <a:pt x="5" y="8"/>
                    </a:moveTo>
                    <a:cubicBezTo>
                      <a:pt x="5" y="8"/>
                      <a:pt x="5" y="8"/>
                      <a:pt x="5" y="8"/>
                    </a:cubicBezTo>
                    <a:cubicBezTo>
                      <a:pt x="2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6"/>
                      <a:pt x="7" y="8"/>
                      <a:pt x="5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394" name="Freeform 109"/>
              <p:cNvSpPr>
                <a:spLocks noChangeArrowheads="1"/>
              </p:cNvSpPr>
              <p:nvPr/>
            </p:nvSpPr>
            <p:spPr bwMode="auto">
              <a:xfrm>
                <a:off x="5312" y="118"/>
                <a:ext cx="11" cy="11"/>
              </a:xfrm>
              <a:custGeom>
                <a:avLst/>
                <a:gdLst>
                  <a:gd name="T0" fmla="*/ 2164 w 8"/>
                  <a:gd name="T1" fmla="*/ 4077 h 8"/>
                  <a:gd name="T2" fmla="*/ 2164 w 8"/>
                  <a:gd name="T3" fmla="*/ 4077 h 8"/>
                  <a:gd name="T4" fmla="*/ 0 w 8"/>
                  <a:gd name="T5" fmla="*/ 2164 h 8"/>
                  <a:gd name="T6" fmla="*/ 0 w 8"/>
                  <a:gd name="T7" fmla="*/ 2164 h 8"/>
                  <a:gd name="T8" fmla="*/ 2164 w 8"/>
                  <a:gd name="T9" fmla="*/ 0 h 8"/>
                  <a:gd name="T10" fmla="*/ 4077 w 8"/>
                  <a:gd name="T11" fmla="*/ 2164 h 8"/>
                  <a:gd name="T12" fmla="*/ 2164 w 8"/>
                  <a:gd name="T13" fmla="*/ 4077 h 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8" h="8">
                    <a:moveTo>
                      <a:pt x="4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6"/>
                      <a:pt x="6" y="8"/>
                      <a:pt x="4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395" name="Freeform 110"/>
              <p:cNvSpPr>
                <a:spLocks noChangeArrowheads="1"/>
              </p:cNvSpPr>
              <p:nvPr/>
            </p:nvSpPr>
            <p:spPr bwMode="auto">
              <a:xfrm>
                <a:off x="5373" y="104"/>
                <a:ext cx="11" cy="13"/>
              </a:xfrm>
              <a:custGeom>
                <a:avLst/>
                <a:gdLst>
                  <a:gd name="T0" fmla="*/ 2164 w 8"/>
                  <a:gd name="T1" fmla="*/ 5642 h 9"/>
                  <a:gd name="T2" fmla="*/ 0 w 8"/>
                  <a:gd name="T3" fmla="*/ 2417 h 9"/>
                  <a:gd name="T4" fmla="*/ 0 w 8"/>
                  <a:gd name="T5" fmla="*/ 2417 h 9"/>
                  <a:gd name="T6" fmla="*/ 2164 w 8"/>
                  <a:gd name="T7" fmla="*/ 0 h 9"/>
                  <a:gd name="T8" fmla="*/ 4077 w 8"/>
                  <a:gd name="T9" fmla="*/ 2417 h 9"/>
                  <a:gd name="T10" fmla="*/ 2164 w 8"/>
                  <a:gd name="T11" fmla="*/ 5642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2" y="9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396" name="Freeform 111"/>
              <p:cNvSpPr>
                <a:spLocks noChangeArrowheads="1"/>
              </p:cNvSpPr>
              <p:nvPr/>
            </p:nvSpPr>
            <p:spPr bwMode="auto">
              <a:xfrm>
                <a:off x="5291" y="104"/>
                <a:ext cx="13" cy="13"/>
              </a:xfrm>
              <a:custGeom>
                <a:avLst/>
                <a:gdLst>
                  <a:gd name="T0" fmla="*/ 2417 w 9"/>
                  <a:gd name="T1" fmla="*/ 5642 h 9"/>
                  <a:gd name="T2" fmla="*/ 0 w 9"/>
                  <a:gd name="T3" fmla="*/ 2417 h 9"/>
                  <a:gd name="T4" fmla="*/ 0 w 9"/>
                  <a:gd name="T5" fmla="*/ 2417 h 9"/>
                  <a:gd name="T6" fmla="*/ 2417 w 9"/>
                  <a:gd name="T7" fmla="*/ 0 h 9"/>
                  <a:gd name="T8" fmla="*/ 5642 w 9"/>
                  <a:gd name="T9" fmla="*/ 2417 h 9"/>
                  <a:gd name="T10" fmla="*/ 2417 w 9"/>
                  <a:gd name="T11" fmla="*/ 5642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2" y="9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397" name="Freeform 112"/>
              <p:cNvSpPr>
                <a:spLocks noChangeArrowheads="1"/>
              </p:cNvSpPr>
              <p:nvPr/>
            </p:nvSpPr>
            <p:spPr bwMode="auto">
              <a:xfrm>
                <a:off x="5354" y="118"/>
                <a:ext cx="13" cy="11"/>
              </a:xfrm>
              <a:custGeom>
                <a:avLst/>
                <a:gdLst>
                  <a:gd name="T0" fmla="*/ 2417 w 9"/>
                  <a:gd name="T1" fmla="*/ 4077 h 8"/>
                  <a:gd name="T2" fmla="*/ 2417 w 9"/>
                  <a:gd name="T3" fmla="*/ 4077 h 8"/>
                  <a:gd name="T4" fmla="*/ 0 w 9"/>
                  <a:gd name="T5" fmla="*/ 2164 h 8"/>
                  <a:gd name="T6" fmla="*/ 0 w 9"/>
                  <a:gd name="T7" fmla="*/ 2164 h 8"/>
                  <a:gd name="T8" fmla="*/ 2417 w 9"/>
                  <a:gd name="T9" fmla="*/ 0 h 8"/>
                  <a:gd name="T10" fmla="*/ 5642 w 9"/>
                  <a:gd name="T11" fmla="*/ 2164 h 8"/>
                  <a:gd name="T12" fmla="*/ 2417 w 9"/>
                  <a:gd name="T13" fmla="*/ 4077 h 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8">
                    <a:moveTo>
                      <a:pt x="4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6"/>
                      <a:pt x="7" y="8"/>
                      <a:pt x="4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398" name="Freeform 113"/>
              <p:cNvSpPr>
                <a:spLocks noChangeArrowheads="1"/>
              </p:cNvSpPr>
              <p:nvPr/>
            </p:nvSpPr>
            <p:spPr bwMode="auto">
              <a:xfrm>
                <a:off x="5476" y="137"/>
                <a:ext cx="12" cy="12"/>
              </a:xfrm>
              <a:custGeom>
                <a:avLst/>
                <a:gdLst>
                  <a:gd name="T0" fmla="*/ 1495 w 9"/>
                  <a:gd name="T1" fmla="*/ 3489 h 9"/>
                  <a:gd name="T2" fmla="*/ 0 w 9"/>
                  <a:gd name="T3" fmla="*/ 1993 h 9"/>
                  <a:gd name="T4" fmla="*/ 0 w 9"/>
                  <a:gd name="T5" fmla="*/ 1993 h 9"/>
                  <a:gd name="T6" fmla="*/ 1495 w 9"/>
                  <a:gd name="T7" fmla="*/ 0 h 9"/>
                  <a:gd name="T8" fmla="*/ 3489 w 9"/>
                  <a:gd name="T9" fmla="*/ 1993 h 9"/>
                  <a:gd name="T10" fmla="*/ 1495 w 9"/>
                  <a:gd name="T11" fmla="*/ 3489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5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399" name="Freeform 114"/>
              <p:cNvSpPr>
                <a:spLocks noChangeArrowheads="1"/>
              </p:cNvSpPr>
              <p:nvPr/>
            </p:nvSpPr>
            <p:spPr bwMode="auto">
              <a:xfrm>
                <a:off x="5435" y="137"/>
                <a:ext cx="11" cy="12"/>
              </a:xfrm>
              <a:custGeom>
                <a:avLst/>
                <a:gdLst>
                  <a:gd name="T0" fmla="*/ 2164 w 8"/>
                  <a:gd name="T1" fmla="*/ 3489 h 9"/>
                  <a:gd name="T2" fmla="*/ 0 w 8"/>
                  <a:gd name="T3" fmla="*/ 1993 h 9"/>
                  <a:gd name="T4" fmla="*/ 0 w 8"/>
                  <a:gd name="T5" fmla="*/ 1993 h 9"/>
                  <a:gd name="T6" fmla="*/ 2164 w 8"/>
                  <a:gd name="T7" fmla="*/ 0 h 9"/>
                  <a:gd name="T8" fmla="*/ 4077 w 8"/>
                  <a:gd name="T9" fmla="*/ 1993 h 9"/>
                  <a:gd name="T10" fmla="*/ 2164 w 8"/>
                  <a:gd name="T11" fmla="*/ 3489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5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400" name="Freeform 115"/>
              <p:cNvSpPr>
                <a:spLocks noChangeArrowheads="1"/>
              </p:cNvSpPr>
              <p:nvPr/>
            </p:nvSpPr>
            <p:spPr bwMode="auto">
              <a:xfrm>
                <a:off x="5415" y="124"/>
                <a:ext cx="13" cy="11"/>
              </a:xfrm>
              <a:custGeom>
                <a:avLst/>
                <a:gdLst>
                  <a:gd name="T0" fmla="*/ 2417 w 9"/>
                  <a:gd name="T1" fmla="*/ 4077 h 8"/>
                  <a:gd name="T2" fmla="*/ 0 w 9"/>
                  <a:gd name="T3" fmla="*/ 2164 h 8"/>
                  <a:gd name="T4" fmla="*/ 0 w 9"/>
                  <a:gd name="T5" fmla="*/ 2164 h 8"/>
                  <a:gd name="T6" fmla="*/ 2417 w 9"/>
                  <a:gd name="T7" fmla="*/ 0 h 8"/>
                  <a:gd name="T8" fmla="*/ 5642 w 9"/>
                  <a:gd name="T9" fmla="*/ 2164 h 8"/>
                  <a:gd name="T10" fmla="*/ 2417 w 9"/>
                  <a:gd name="T11" fmla="*/ 4077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8">
                    <a:moveTo>
                      <a:pt x="4" y="8"/>
                    </a:moveTo>
                    <a:cubicBezTo>
                      <a:pt x="2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6"/>
                      <a:pt x="7" y="8"/>
                      <a:pt x="4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401" name="Freeform 116"/>
              <p:cNvSpPr>
                <a:spLocks noChangeArrowheads="1"/>
              </p:cNvSpPr>
              <p:nvPr/>
            </p:nvSpPr>
            <p:spPr bwMode="auto">
              <a:xfrm>
                <a:off x="5331" y="124"/>
                <a:ext cx="13" cy="11"/>
              </a:xfrm>
              <a:custGeom>
                <a:avLst/>
                <a:gdLst>
                  <a:gd name="T0" fmla="*/ 3860 w 9"/>
                  <a:gd name="T1" fmla="*/ 4077 h 8"/>
                  <a:gd name="T2" fmla="*/ 0 w 9"/>
                  <a:gd name="T3" fmla="*/ 2164 h 8"/>
                  <a:gd name="T4" fmla="*/ 0 w 9"/>
                  <a:gd name="T5" fmla="*/ 2164 h 8"/>
                  <a:gd name="T6" fmla="*/ 3860 w 9"/>
                  <a:gd name="T7" fmla="*/ 0 h 8"/>
                  <a:gd name="T8" fmla="*/ 7173 w 9"/>
                  <a:gd name="T9" fmla="*/ 2164 h 8"/>
                  <a:gd name="T10" fmla="*/ 3860 w 9"/>
                  <a:gd name="T11" fmla="*/ 4077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8">
                    <a:moveTo>
                      <a:pt x="5" y="8"/>
                    </a:moveTo>
                    <a:cubicBezTo>
                      <a:pt x="2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6"/>
                      <a:pt x="7" y="8"/>
                      <a:pt x="5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402" name="Oval 117"/>
              <p:cNvSpPr>
                <a:spLocks noChangeArrowheads="1"/>
              </p:cNvSpPr>
              <p:nvPr/>
            </p:nvSpPr>
            <p:spPr bwMode="auto">
              <a:xfrm>
                <a:off x="5601" y="137"/>
                <a:ext cx="12" cy="12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US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403" name="Freeform 118"/>
              <p:cNvSpPr>
                <a:spLocks noChangeArrowheads="1"/>
              </p:cNvSpPr>
              <p:nvPr/>
            </p:nvSpPr>
            <p:spPr bwMode="auto">
              <a:xfrm>
                <a:off x="5581" y="124"/>
                <a:ext cx="10" cy="11"/>
              </a:xfrm>
              <a:custGeom>
                <a:avLst/>
                <a:gdLst>
                  <a:gd name="T0" fmla="*/ 868 w 8"/>
                  <a:gd name="T1" fmla="*/ 4077 h 8"/>
                  <a:gd name="T2" fmla="*/ 0 w 8"/>
                  <a:gd name="T3" fmla="*/ 2164 h 8"/>
                  <a:gd name="T4" fmla="*/ 0 w 8"/>
                  <a:gd name="T5" fmla="*/ 2164 h 8"/>
                  <a:gd name="T6" fmla="*/ 868 w 8"/>
                  <a:gd name="T7" fmla="*/ 0 h 8"/>
                  <a:gd name="T8" fmla="*/ 1780 w 8"/>
                  <a:gd name="T9" fmla="*/ 2164 h 8"/>
                  <a:gd name="T10" fmla="*/ 868 w 8"/>
                  <a:gd name="T11" fmla="*/ 4077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8" h="8">
                    <a:moveTo>
                      <a:pt x="4" y="8"/>
                    </a:moveTo>
                    <a:cubicBezTo>
                      <a:pt x="2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6"/>
                      <a:pt x="6" y="8"/>
                      <a:pt x="4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404" name="Freeform 119"/>
              <p:cNvSpPr>
                <a:spLocks noChangeArrowheads="1"/>
              </p:cNvSpPr>
              <p:nvPr/>
            </p:nvSpPr>
            <p:spPr bwMode="auto">
              <a:xfrm>
                <a:off x="5559" y="137"/>
                <a:ext cx="13" cy="12"/>
              </a:xfrm>
              <a:custGeom>
                <a:avLst/>
                <a:gdLst>
                  <a:gd name="T0" fmla="*/ 3194 w 9"/>
                  <a:gd name="T1" fmla="*/ 3489 h 9"/>
                  <a:gd name="T2" fmla="*/ 0 w 9"/>
                  <a:gd name="T3" fmla="*/ 1993 h 9"/>
                  <a:gd name="T4" fmla="*/ 0 w 9"/>
                  <a:gd name="T5" fmla="*/ 1993 h 9"/>
                  <a:gd name="T6" fmla="*/ 3194 w 9"/>
                  <a:gd name="T7" fmla="*/ 0 h 9"/>
                  <a:gd name="T8" fmla="*/ 7173 w 9"/>
                  <a:gd name="T9" fmla="*/ 1993 h 9"/>
                  <a:gd name="T10" fmla="*/ 3194 w 9"/>
                  <a:gd name="T11" fmla="*/ 3489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5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405" name="Freeform 120"/>
              <p:cNvSpPr>
                <a:spLocks noChangeArrowheads="1"/>
              </p:cNvSpPr>
              <p:nvPr/>
            </p:nvSpPr>
            <p:spPr bwMode="auto">
              <a:xfrm>
                <a:off x="5538" y="124"/>
                <a:ext cx="12" cy="11"/>
              </a:xfrm>
              <a:custGeom>
                <a:avLst/>
                <a:gdLst>
                  <a:gd name="T0" fmla="*/ 1993 w 9"/>
                  <a:gd name="T1" fmla="*/ 4077 h 8"/>
                  <a:gd name="T2" fmla="*/ 0 w 9"/>
                  <a:gd name="T3" fmla="*/ 2164 h 8"/>
                  <a:gd name="T4" fmla="*/ 0 w 9"/>
                  <a:gd name="T5" fmla="*/ 2164 h 8"/>
                  <a:gd name="T6" fmla="*/ 1993 w 9"/>
                  <a:gd name="T7" fmla="*/ 0 h 8"/>
                  <a:gd name="T8" fmla="*/ 3489 w 9"/>
                  <a:gd name="T9" fmla="*/ 2164 h 8"/>
                  <a:gd name="T10" fmla="*/ 1993 w 9"/>
                  <a:gd name="T11" fmla="*/ 4077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8">
                    <a:moveTo>
                      <a:pt x="5" y="8"/>
                    </a:moveTo>
                    <a:cubicBezTo>
                      <a:pt x="2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6"/>
                      <a:pt x="7" y="8"/>
                      <a:pt x="5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406" name="Freeform 121"/>
              <p:cNvSpPr>
                <a:spLocks noChangeArrowheads="1"/>
              </p:cNvSpPr>
              <p:nvPr/>
            </p:nvSpPr>
            <p:spPr bwMode="auto">
              <a:xfrm>
                <a:off x="5518" y="137"/>
                <a:ext cx="11" cy="12"/>
              </a:xfrm>
              <a:custGeom>
                <a:avLst/>
                <a:gdLst>
                  <a:gd name="T0" fmla="*/ 2164 w 8"/>
                  <a:gd name="T1" fmla="*/ 3489 h 9"/>
                  <a:gd name="T2" fmla="*/ 0 w 8"/>
                  <a:gd name="T3" fmla="*/ 1993 h 9"/>
                  <a:gd name="T4" fmla="*/ 0 w 8"/>
                  <a:gd name="T5" fmla="*/ 1993 h 9"/>
                  <a:gd name="T6" fmla="*/ 2164 w 8"/>
                  <a:gd name="T7" fmla="*/ 0 h 9"/>
                  <a:gd name="T8" fmla="*/ 4077 w 8"/>
                  <a:gd name="T9" fmla="*/ 1993 h 9"/>
                  <a:gd name="T10" fmla="*/ 2164 w 8"/>
                  <a:gd name="T11" fmla="*/ 3489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5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407" name="Freeform 122"/>
              <p:cNvSpPr>
                <a:spLocks noChangeArrowheads="1"/>
              </p:cNvSpPr>
              <p:nvPr/>
            </p:nvSpPr>
            <p:spPr bwMode="auto">
              <a:xfrm>
                <a:off x="5498" y="124"/>
                <a:ext cx="12" cy="11"/>
              </a:xfrm>
              <a:custGeom>
                <a:avLst/>
                <a:gdLst>
                  <a:gd name="T0" fmla="*/ 1495 w 9"/>
                  <a:gd name="T1" fmla="*/ 4077 h 8"/>
                  <a:gd name="T2" fmla="*/ 0 w 9"/>
                  <a:gd name="T3" fmla="*/ 2164 h 8"/>
                  <a:gd name="T4" fmla="*/ 0 w 9"/>
                  <a:gd name="T5" fmla="*/ 2164 h 8"/>
                  <a:gd name="T6" fmla="*/ 1495 w 9"/>
                  <a:gd name="T7" fmla="*/ 0 h 8"/>
                  <a:gd name="T8" fmla="*/ 3489 w 9"/>
                  <a:gd name="T9" fmla="*/ 2164 h 8"/>
                  <a:gd name="T10" fmla="*/ 1495 w 9"/>
                  <a:gd name="T11" fmla="*/ 4077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8">
                    <a:moveTo>
                      <a:pt x="4" y="8"/>
                    </a:moveTo>
                    <a:cubicBezTo>
                      <a:pt x="2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6"/>
                      <a:pt x="7" y="8"/>
                      <a:pt x="4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408" name="Oval 123"/>
              <p:cNvSpPr>
                <a:spLocks noChangeArrowheads="1"/>
              </p:cNvSpPr>
              <p:nvPr/>
            </p:nvSpPr>
            <p:spPr bwMode="auto">
              <a:xfrm>
                <a:off x="5455" y="124"/>
                <a:ext cx="13" cy="11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US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409" name="Oval 124"/>
              <p:cNvSpPr>
                <a:spLocks noChangeArrowheads="1"/>
              </p:cNvSpPr>
              <p:nvPr/>
            </p:nvSpPr>
            <p:spPr bwMode="auto">
              <a:xfrm>
                <a:off x="5744" y="124"/>
                <a:ext cx="13" cy="11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US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410" name="Freeform 125"/>
              <p:cNvSpPr>
                <a:spLocks noChangeArrowheads="1"/>
              </p:cNvSpPr>
              <p:nvPr/>
            </p:nvSpPr>
            <p:spPr bwMode="auto">
              <a:xfrm>
                <a:off x="5723" y="137"/>
                <a:ext cx="13" cy="12"/>
              </a:xfrm>
              <a:custGeom>
                <a:avLst/>
                <a:gdLst>
                  <a:gd name="T0" fmla="*/ 3225 w 9"/>
                  <a:gd name="T1" fmla="*/ 3489 h 9"/>
                  <a:gd name="T2" fmla="*/ 0 w 9"/>
                  <a:gd name="T3" fmla="*/ 1993 h 9"/>
                  <a:gd name="T4" fmla="*/ 0 w 9"/>
                  <a:gd name="T5" fmla="*/ 1993 h 9"/>
                  <a:gd name="T6" fmla="*/ 3225 w 9"/>
                  <a:gd name="T7" fmla="*/ 0 h 9"/>
                  <a:gd name="T8" fmla="*/ 5642 w 9"/>
                  <a:gd name="T9" fmla="*/ 1993 h 9"/>
                  <a:gd name="T10" fmla="*/ 3225 w 9"/>
                  <a:gd name="T11" fmla="*/ 3489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5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411" name="Freeform 126"/>
              <p:cNvSpPr>
                <a:spLocks noChangeArrowheads="1"/>
              </p:cNvSpPr>
              <p:nvPr/>
            </p:nvSpPr>
            <p:spPr bwMode="auto">
              <a:xfrm>
                <a:off x="5704" y="124"/>
                <a:ext cx="11" cy="11"/>
              </a:xfrm>
              <a:custGeom>
                <a:avLst/>
                <a:gdLst>
                  <a:gd name="T0" fmla="*/ 2164 w 8"/>
                  <a:gd name="T1" fmla="*/ 4077 h 8"/>
                  <a:gd name="T2" fmla="*/ 0 w 8"/>
                  <a:gd name="T3" fmla="*/ 2164 h 8"/>
                  <a:gd name="T4" fmla="*/ 0 w 8"/>
                  <a:gd name="T5" fmla="*/ 2164 h 8"/>
                  <a:gd name="T6" fmla="*/ 2164 w 8"/>
                  <a:gd name="T7" fmla="*/ 0 h 8"/>
                  <a:gd name="T8" fmla="*/ 4077 w 8"/>
                  <a:gd name="T9" fmla="*/ 2164 h 8"/>
                  <a:gd name="T10" fmla="*/ 2164 w 8"/>
                  <a:gd name="T11" fmla="*/ 4077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8" h="8">
                    <a:moveTo>
                      <a:pt x="4" y="8"/>
                    </a:moveTo>
                    <a:cubicBezTo>
                      <a:pt x="2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6"/>
                      <a:pt x="6" y="8"/>
                      <a:pt x="4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412" name="Oval 127"/>
              <p:cNvSpPr>
                <a:spLocks noChangeArrowheads="1"/>
              </p:cNvSpPr>
              <p:nvPr/>
            </p:nvSpPr>
            <p:spPr bwMode="auto">
              <a:xfrm>
                <a:off x="5683" y="137"/>
                <a:ext cx="13" cy="12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US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413" name="Freeform 128"/>
              <p:cNvSpPr>
                <a:spLocks noChangeArrowheads="1"/>
              </p:cNvSpPr>
              <p:nvPr/>
            </p:nvSpPr>
            <p:spPr bwMode="auto">
              <a:xfrm>
                <a:off x="5662" y="124"/>
                <a:ext cx="13" cy="11"/>
              </a:xfrm>
              <a:custGeom>
                <a:avLst/>
                <a:gdLst>
                  <a:gd name="T0" fmla="*/ 3860 w 9"/>
                  <a:gd name="T1" fmla="*/ 4077 h 8"/>
                  <a:gd name="T2" fmla="*/ 0 w 9"/>
                  <a:gd name="T3" fmla="*/ 2164 h 8"/>
                  <a:gd name="T4" fmla="*/ 0 w 9"/>
                  <a:gd name="T5" fmla="*/ 2164 h 8"/>
                  <a:gd name="T6" fmla="*/ 3860 w 9"/>
                  <a:gd name="T7" fmla="*/ 0 h 8"/>
                  <a:gd name="T8" fmla="*/ 7173 w 9"/>
                  <a:gd name="T9" fmla="*/ 2164 h 8"/>
                  <a:gd name="T10" fmla="*/ 3860 w 9"/>
                  <a:gd name="T11" fmla="*/ 4077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8">
                    <a:moveTo>
                      <a:pt x="5" y="8"/>
                    </a:moveTo>
                    <a:cubicBezTo>
                      <a:pt x="2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6"/>
                      <a:pt x="7" y="8"/>
                      <a:pt x="5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414" name="Freeform 129"/>
              <p:cNvSpPr>
                <a:spLocks noChangeArrowheads="1"/>
              </p:cNvSpPr>
              <p:nvPr/>
            </p:nvSpPr>
            <p:spPr bwMode="auto">
              <a:xfrm>
                <a:off x="5642" y="137"/>
                <a:ext cx="11" cy="12"/>
              </a:xfrm>
              <a:custGeom>
                <a:avLst/>
                <a:gdLst>
                  <a:gd name="T0" fmla="*/ 2164 w 8"/>
                  <a:gd name="T1" fmla="*/ 3489 h 9"/>
                  <a:gd name="T2" fmla="*/ 0 w 8"/>
                  <a:gd name="T3" fmla="*/ 1993 h 9"/>
                  <a:gd name="T4" fmla="*/ 0 w 8"/>
                  <a:gd name="T5" fmla="*/ 1993 h 9"/>
                  <a:gd name="T6" fmla="*/ 2164 w 8"/>
                  <a:gd name="T7" fmla="*/ 0 h 9"/>
                  <a:gd name="T8" fmla="*/ 4077 w 8"/>
                  <a:gd name="T9" fmla="*/ 1993 h 9"/>
                  <a:gd name="T10" fmla="*/ 4077 w 8"/>
                  <a:gd name="T11" fmla="*/ 1993 h 9"/>
                  <a:gd name="T12" fmla="*/ 2164 w 8"/>
                  <a:gd name="T13" fmla="*/ 3489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5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415" name="Oval 130"/>
              <p:cNvSpPr>
                <a:spLocks noChangeArrowheads="1"/>
              </p:cNvSpPr>
              <p:nvPr/>
            </p:nvSpPr>
            <p:spPr bwMode="auto">
              <a:xfrm>
                <a:off x="5621" y="124"/>
                <a:ext cx="13" cy="11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US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416" name="Freeform 131"/>
              <p:cNvSpPr>
                <a:spLocks noChangeArrowheads="1"/>
              </p:cNvSpPr>
              <p:nvPr/>
            </p:nvSpPr>
            <p:spPr bwMode="auto">
              <a:xfrm>
                <a:off x="5393" y="137"/>
                <a:ext cx="13" cy="12"/>
              </a:xfrm>
              <a:custGeom>
                <a:avLst/>
                <a:gdLst>
                  <a:gd name="T0" fmla="*/ 3225 w 9"/>
                  <a:gd name="T1" fmla="*/ 3489 h 9"/>
                  <a:gd name="T2" fmla="*/ 0 w 9"/>
                  <a:gd name="T3" fmla="*/ 1993 h 9"/>
                  <a:gd name="T4" fmla="*/ 0 w 9"/>
                  <a:gd name="T5" fmla="*/ 1993 h 9"/>
                  <a:gd name="T6" fmla="*/ 3225 w 9"/>
                  <a:gd name="T7" fmla="*/ 0 h 9"/>
                  <a:gd name="T8" fmla="*/ 5642 w 9"/>
                  <a:gd name="T9" fmla="*/ 1993 h 9"/>
                  <a:gd name="T10" fmla="*/ 3225 w 9"/>
                  <a:gd name="T11" fmla="*/ 3489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5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417" name="Freeform 132"/>
              <p:cNvSpPr>
                <a:spLocks noChangeArrowheads="1"/>
              </p:cNvSpPr>
              <p:nvPr/>
            </p:nvSpPr>
            <p:spPr bwMode="auto">
              <a:xfrm>
                <a:off x="5312" y="137"/>
                <a:ext cx="11" cy="12"/>
              </a:xfrm>
              <a:custGeom>
                <a:avLst/>
                <a:gdLst>
                  <a:gd name="T0" fmla="*/ 2164 w 8"/>
                  <a:gd name="T1" fmla="*/ 3489 h 9"/>
                  <a:gd name="T2" fmla="*/ 0 w 8"/>
                  <a:gd name="T3" fmla="*/ 1993 h 9"/>
                  <a:gd name="T4" fmla="*/ 0 w 8"/>
                  <a:gd name="T5" fmla="*/ 1993 h 9"/>
                  <a:gd name="T6" fmla="*/ 2164 w 8"/>
                  <a:gd name="T7" fmla="*/ 0 h 9"/>
                  <a:gd name="T8" fmla="*/ 4077 w 8"/>
                  <a:gd name="T9" fmla="*/ 1993 h 9"/>
                  <a:gd name="T10" fmla="*/ 2164 w 8"/>
                  <a:gd name="T11" fmla="*/ 3489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5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418" name="Freeform 133"/>
              <p:cNvSpPr>
                <a:spLocks noChangeArrowheads="1"/>
              </p:cNvSpPr>
              <p:nvPr/>
            </p:nvSpPr>
            <p:spPr bwMode="auto">
              <a:xfrm>
                <a:off x="5291" y="124"/>
                <a:ext cx="13" cy="11"/>
              </a:xfrm>
              <a:custGeom>
                <a:avLst/>
                <a:gdLst>
                  <a:gd name="T0" fmla="*/ 2417 w 9"/>
                  <a:gd name="T1" fmla="*/ 4077 h 8"/>
                  <a:gd name="T2" fmla="*/ 0 w 9"/>
                  <a:gd name="T3" fmla="*/ 2164 h 8"/>
                  <a:gd name="T4" fmla="*/ 0 w 9"/>
                  <a:gd name="T5" fmla="*/ 2164 h 8"/>
                  <a:gd name="T6" fmla="*/ 2417 w 9"/>
                  <a:gd name="T7" fmla="*/ 0 h 8"/>
                  <a:gd name="T8" fmla="*/ 5642 w 9"/>
                  <a:gd name="T9" fmla="*/ 2164 h 8"/>
                  <a:gd name="T10" fmla="*/ 2417 w 9"/>
                  <a:gd name="T11" fmla="*/ 4077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8">
                    <a:moveTo>
                      <a:pt x="4" y="8"/>
                    </a:moveTo>
                    <a:cubicBezTo>
                      <a:pt x="2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6"/>
                      <a:pt x="7" y="8"/>
                      <a:pt x="4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419" name="Freeform 134"/>
              <p:cNvSpPr>
                <a:spLocks noChangeArrowheads="1"/>
              </p:cNvSpPr>
              <p:nvPr/>
            </p:nvSpPr>
            <p:spPr bwMode="auto">
              <a:xfrm>
                <a:off x="5354" y="137"/>
                <a:ext cx="13" cy="12"/>
              </a:xfrm>
              <a:custGeom>
                <a:avLst/>
                <a:gdLst>
                  <a:gd name="T0" fmla="*/ 2417 w 9"/>
                  <a:gd name="T1" fmla="*/ 3489 h 9"/>
                  <a:gd name="T2" fmla="*/ 0 w 9"/>
                  <a:gd name="T3" fmla="*/ 1993 h 9"/>
                  <a:gd name="T4" fmla="*/ 0 w 9"/>
                  <a:gd name="T5" fmla="*/ 1993 h 9"/>
                  <a:gd name="T6" fmla="*/ 2417 w 9"/>
                  <a:gd name="T7" fmla="*/ 0 h 9"/>
                  <a:gd name="T8" fmla="*/ 5642 w 9"/>
                  <a:gd name="T9" fmla="*/ 1993 h 9"/>
                  <a:gd name="T10" fmla="*/ 2417 w 9"/>
                  <a:gd name="T11" fmla="*/ 3489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5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420" name="Freeform 135"/>
              <p:cNvSpPr>
                <a:spLocks noChangeArrowheads="1"/>
              </p:cNvSpPr>
              <p:nvPr/>
            </p:nvSpPr>
            <p:spPr bwMode="auto">
              <a:xfrm>
                <a:off x="5270" y="137"/>
                <a:ext cx="12" cy="12"/>
              </a:xfrm>
              <a:custGeom>
                <a:avLst/>
                <a:gdLst>
                  <a:gd name="T0" fmla="*/ 1993 w 9"/>
                  <a:gd name="T1" fmla="*/ 3489 h 9"/>
                  <a:gd name="T2" fmla="*/ 0 w 9"/>
                  <a:gd name="T3" fmla="*/ 1993 h 9"/>
                  <a:gd name="T4" fmla="*/ 0 w 9"/>
                  <a:gd name="T5" fmla="*/ 1993 h 9"/>
                  <a:gd name="T6" fmla="*/ 1993 w 9"/>
                  <a:gd name="T7" fmla="*/ 0 h 9"/>
                  <a:gd name="T8" fmla="*/ 3489 w 9"/>
                  <a:gd name="T9" fmla="*/ 1993 h 9"/>
                  <a:gd name="T10" fmla="*/ 1993 w 9"/>
                  <a:gd name="T11" fmla="*/ 3489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5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421" name="Freeform 136"/>
              <p:cNvSpPr>
                <a:spLocks noChangeArrowheads="1"/>
              </p:cNvSpPr>
              <p:nvPr/>
            </p:nvSpPr>
            <p:spPr bwMode="auto">
              <a:xfrm>
                <a:off x="5476" y="158"/>
                <a:ext cx="12" cy="13"/>
              </a:xfrm>
              <a:custGeom>
                <a:avLst/>
                <a:gdLst>
                  <a:gd name="T0" fmla="*/ 1993 w 9"/>
                  <a:gd name="T1" fmla="*/ 5642 h 9"/>
                  <a:gd name="T2" fmla="*/ 1495 w 9"/>
                  <a:gd name="T3" fmla="*/ 5642 h 9"/>
                  <a:gd name="T4" fmla="*/ 0 w 9"/>
                  <a:gd name="T5" fmla="*/ 3225 h 9"/>
                  <a:gd name="T6" fmla="*/ 0 w 9"/>
                  <a:gd name="T7" fmla="*/ 3225 h 9"/>
                  <a:gd name="T8" fmla="*/ 1495 w 9"/>
                  <a:gd name="T9" fmla="*/ 0 h 9"/>
                  <a:gd name="T10" fmla="*/ 1993 w 9"/>
                  <a:gd name="T11" fmla="*/ 0 h 9"/>
                  <a:gd name="T12" fmla="*/ 3489 w 9"/>
                  <a:gd name="T13" fmla="*/ 3225 h 9"/>
                  <a:gd name="T14" fmla="*/ 1993 w 9"/>
                  <a:gd name="T15" fmla="*/ 5642 h 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4" y="9"/>
                      <a:pt x="4" y="9"/>
                      <a:pt x="4" y="9"/>
                    </a:cubicBez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7" y="0"/>
                      <a:pt x="9" y="2"/>
                      <a:pt x="9" y="5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422" name="Freeform 137"/>
              <p:cNvSpPr>
                <a:spLocks noChangeArrowheads="1"/>
              </p:cNvSpPr>
              <p:nvPr/>
            </p:nvSpPr>
            <p:spPr bwMode="auto">
              <a:xfrm>
                <a:off x="5435" y="158"/>
                <a:ext cx="11" cy="13"/>
              </a:xfrm>
              <a:custGeom>
                <a:avLst/>
                <a:gdLst>
                  <a:gd name="T0" fmla="*/ 2164 w 8"/>
                  <a:gd name="T1" fmla="*/ 5642 h 9"/>
                  <a:gd name="T2" fmla="*/ 2164 w 8"/>
                  <a:gd name="T3" fmla="*/ 5642 h 9"/>
                  <a:gd name="T4" fmla="*/ 0 w 8"/>
                  <a:gd name="T5" fmla="*/ 3225 h 9"/>
                  <a:gd name="T6" fmla="*/ 0 w 8"/>
                  <a:gd name="T7" fmla="*/ 3225 h 9"/>
                  <a:gd name="T8" fmla="*/ 2164 w 8"/>
                  <a:gd name="T9" fmla="*/ 0 h 9"/>
                  <a:gd name="T10" fmla="*/ 2164 w 8"/>
                  <a:gd name="T11" fmla="*/ 0 h 9"/>
                  <a:gd name="T12" fmla="*/ 4077 w 8"/>
                  <a:gd name="T13" fmla="*/ 3225 h 9"/>
                  <a:gd name="T14" fmla="*/ 2164 w 8"/>
                  <a:gd name="T15" fmla="*/ 5642 h 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4" y="9"/>
                      <a:pt x="4" y="9"/>
                      <a:pt x="4" y="9"/>
                    </a:cubicBez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7" y="0"/>
                      <a:pt x="8" y="2"/>
                      <a:pt x="8" y="5"/>
                    </a:cubicBezTo>
                    <a:cubicBezTo>
                      <a:pt x="8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423" name="Freeform 138"/>
              <p:cNvSpPr>
                <a:spLocks noChangeArrowheads="1"/>
              </p:cNvSpPr>
              <p:nvPr/>
            </p:nvSpPr>
            <p:spPr bwMode="auto">
              <a:xfrm>
                <a:off x="5415" y="144"/>
                <a:ext cx="13" cy="13"/>
              </a:xfrm>
              <a:custGeom>
                <a:avLst/>
                <a:gdLst>
                  <a:gd name="T0" fmla="*/ 2417 w 9"/>
                  <a:gd name="T1" fmla="*/ 5642 h 9"/>
                  <a:gd name="T2" fmla="*/ 0 w 9"/>
                  <a:gd name="T3" fmla="*/ 3225 h 9"/>
                  <a:gd name="T4" fmla="*/ 0 w 9"/>
                  <a:gd name="T5" fmla="*/ 3225 h 9"/>
                  <a:gd name="T6" fmla="*/ 2417 w 9"/>
                  <a:gd name="T7" fmla="*/ 0 h 9"/>
                  <a:gd name="T8" fmla="*/ 3225 w 9"/>
                  <a:gd name="T9" fmla="*/ 0 h 9"/>
                  <a:gd name="T10" fmla="*/ 5642 w 9"/>
                  <a:gd name="T11" fmla="*/ 3225 h 9"/>
                  <a:gd name="T12" fmla="*/ 2417 w 9"/>
                  <a:gd name="T13" fmla="*/ 5642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1"/>
                      <a:pt x="4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7" y="1"/>
                      <a:pt x="9" y="2"/>
                      <a:pt x="9" y="5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424" name="Freeform 139"/>
              <p:cNvSpPr>
                <a:spLocks noChangeArrowheads="1"/>
              </p:cNvSpPr>
              <p:nvPr/>
            </p:nvSpPr>
            <p:spPr bwMode="auto">
              <a:xfrm>
                <a:off x="5331" y="144"/>
                <a:ext cx="13" cy="13"/>
              </a:xfrm>
              <a:custGeom>
                <a:avLst/>
                <a:gdLst>
                  <a:gd name="T0" fmla="*/ 3860 w 9"/>
                  <a:gd name="T1" fmla="*/ 5642 h 9"/>
                  <a:gd name="T2" fmla="*/ 0 w 9"/>
                  <a:gd name="T3" fmla="*/ 3225 h 9"/>
                  <a:gd name="T4" fmla="*/ 0 w 9"/>
                  <a:gd name="T5" fmla="*/ 3225 h 9"/>
                  <a:gd name="T6" fmla="*/ 3860 w 9"/>
                  <a:gd name="T7" fmla="*/ 0 h 9"/>
                  <a:gd name="T8" fmla="*/ 3860 w 9"/>
                  <a:gd name="T9" fmla="*/ 0 h 9"/>
                  <a:gd name="T10" fmla="*/ 7173 w 9"/>
                  <a:gd name="T11" fmla="*/ 3225 h 9"/>
                  <a:gd name="T12" fmla="*/ 3860 w 9"/>
                  <a:gd name="T13" fmla="*/ 5642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1"/>
                      <a:pt x="5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7" y="1"/>
                      <a:pt x="9" y="2"/>
                      <a:pt x="9" y="5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425" name="Freeform 140"/>
              <p:cNvSpPr>
                <a:spLocks noChangeArrowheads="1"/>
              </p:cNvSpPr>
              <p:nvPr/>
            </p:nvSpPr>
            <p:spPr bwMode="auto">
              <a:xfrm>
                <a:off x="5601" y="158"/>
                <a:ext cx="12" cy="13"/>
              </a:xfrm>
              <a:custGeom>
                <a:avLst/>
                <a:gdLst>
                  <a:gd name="T0" fmla="*/ 1993 w 9"/>
                  <a:gd name="T1" fmla="*/ 5642 h 9"/>
                  <a:gd name="T2" fmla="*/ 1495 w 9"/>
                  <a:gd name="T3" fmla="*/ 5642 h 9"/>
                  <a:gd name="T4" fmla="*/ 0 w 9"/>
                  <a:gd name="T5" fmla="*/ 3225 h 9"/>
                  <a:gd name="T6" fmla="*/ 1495 w 9"/>
                  <a:gd name="T7" fmla="*/ 0 h 9"/>
                  <a:gd name="T8" fmla="*/ 1993 w 9"/>
                  <a:gd name="T9" fmla="*/ 0 h 9"/>
                  <a:gd name="T10" fmla="*/ 3489 w 9"/>
                  <a:gd name="T11" fmla="*/ 3225 h 9"/>
                  <a:gd name="T12" fmla="*/ 1993 w 9"/>
                  <a:gd name="T13" fmla="*/ 5642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4" y="9"/>
                      <a:pt x="4" y="9"/>
                      <a:pt x="4" y="9"/>
                    </a:cubicBezTo>
                    <a:cubicBezTo>
                      <a:pt x="2" y="9"/>
                      <a:pt x="0" y="7"/>
                      <a:pt x="0" y="5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7" y="0"/>
                      <a:pt x="9" y="2"/>
                      <a:pt x="9" y="5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426" name="Freeform 141"/>
              <p:cNvSpPr>
                <a:spLocks noChangeArrowheads="1"/>
              </p:cNvSpPr>
              <p:nvPr/>
            </p:nvSpPr>
            <p:spPr bwMode="auto">
              <a:xfrm>
                <a:off x="5581" y="144"/>
                <a:ext cx="10" cy="13"/>
              </a:xfrm>
              <a:custGeom>
                <a:avLst/>
                <a:gdLst>
                  <a:gd name="T0" fmla="*/ 868 w 8"/>
                  <a:gd name="T1" fmla="*/ 5642 h 9"/>
                  <a:gd name="T2" fmla="*/ 0 w 8"/>
                  <a:gd name="T3" fmla="*/ 3225 h 9"/>
                  <a:gd name="T4" fmla="*/ 0 w 8"/>
                  <a:gd name="T5" fmla="*/ 3225 h 9"/>
                  <a:gd name="T6" fmla="*/ 868 w 8"/>
                  <a:gd name="T7" fmla="*/ 0 h 9"/>
                  <a:gd name="T8" fmla="*/ 868 w 8"/>
                  <a:gd name="T9" fmla="*/ 0 h 9"/>
                  <a:gd name="T10" fmla="*/ 1780 w 8"/>
                  <a:gd name="T11" fmla="*/ 3225 h 9"/>
                  <a:gd name="T12" fmla="*/ 868 w 8"/>
                  <a:gd name="T13" fmla="*/ 5642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1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6" y="1"/>
                      <a:pt x="8" y="2"/>
                      <a:pt x="8" y="5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427" name="Freeform 142"/>
              <p:cNvSpPr>
                <a:spLocks noChangeArrowheads="1"/>
              </p:cNvSpPr>
              <p:nvPr/>
            </p:nvSpPr>
            <p:spPr bwMode="auto">
              <a:xfrm>
                <a:off x="5559" y="158"/>
                <a:ext cx="13" cy="13"/>
              </a:xfrm>
              <a:custGeom>
                <a:avLst/>
                <a:gdLst>
                  <a:gd name="T0" fmla="*/ 3194 w 9"/>
                  <a:gd name="T1" fmla="*/ 5642 h 9"/>
                  <a:gd name="T2" fmla="*/ 3194 w 9"/>
                  <a:gd name="T3" fmla="*/ 5642 h 9"/>
                  <a:gd name="T4" fmla="*/ 0 w 9"/>
                  <a:gd name="T5" fmla="*/ 3225 h 9"/>
                  <a:gd name="T6" fmla="*/ 0 w 9"/>
                  <a:gd name="T7" fmla="*/ 3225 h 9"/>
                  <a:gd name="T8" fmla="*/ 3194 w 9"/>
                  <a:gd name="T9" fmla="*/ 0 h 9"/>
                  <a:gd name="T10" fmla="*/ 3194 w 9"/>
                  <a:gd name="T11" fmla="*/ 0 h 9"/>
                  <a:gd name="T12" fmla="*/ 7173 w 9"/>
                  <a:gd name="T13" fmla="*/ 3225 h 9"/>
                  <a:gd name="T14" fmla="*/ 3194 w 9"/>
                  <a:gd name="T15" fmla="*/ 5642 h 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4" y="9"/>
                      <a:pt x="4" y="9"/>
                      <a:pt x="4" y="9"/>
                    </a:cubicBez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7" y="0"/>
                      <a:pt x="9" y="2"/>
                      <a:pt x="9" y="5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428" name="Freeform 143"/>
              <p:cNvSpPr>
                <a:spLocks noChangeArrowheads="1"/>
              </p:cNvSpPr>
              <p:nvPr/>
            </p:nvSpPr>
            <p:spPr bwMode="auto">
              <a:xfrm>
                <a:off x="5538" y="144"/>
                <a:ext cx="12" cy="13"/>
              </a:xfrm>
              <a:custGeom>
                <a:avLst/>
                <a:gdLst>
                  <a:gd name="T0" fmla="*/ 1993 w 9"/>
                  <a:gd name="T1" fmla="*/ 5642 h 9"/>
                  <a:gd name="T2" fmla="*/ 0 w 9"/>
                  <a:gd name="T3" fmla="*/ 3225 h 9"/>
                  <a:gd name="T4" fmla="*/ 0 w 9"/>
                  <a:gd name="T5" fmla="*/ 3225 h 9"/>
                  <a:gd name="T6" fmla="*/ 1495 w 9"/>
                  <a:gd name="T7" fmla="*/ 0 h 9"/>
                  <a:gd name="T8" fmla="*/ 1993 w 9"/>
                  <a:gd name="T9" fmla="*/ 0 h 9"/>
                  <a:gd name="T10" fmla="*/ 3489 w 9"/>
                  <a:gd name="T11" fmla="*/ 3225 h 9"/>
                  <a:gd name="T12" fmla="*/ 1993 w 9"/>
                  <a:gd name="T13" fmla="*/ 5642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1"/>
                      <a:pt x="4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7" y="1"/>
                      <a:pt x="9" y="2"/>
                      <a:pt x="9" y="5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429" name="Freeform 144"/>
              <p:cNvSpPr>
                <a:spLocks noChangeArrowheads="1"/>
              </p:cNvSpPr>
              <p:nvPr/>
            </p:nvSpPr>
            <p:spPr bwMode="auto">
              <a:xfrm>
                <a:off x="5518" y="158"/>
                <a:ext cx="11" cy="13"/>
              </a:xfrm>
              <a:custGeom>
                <a:avLst/>
                <a:gdLst>
                  <a:gd name="T0" fmla="*/ 2164 w 8"/>
                  <a:gd name="T1" fmla="*/ 5642 h 9"/>
                  <a:gd name="T2" fmla="*/ 2164 w 8"/>
                  <a:gd name="T3" fmla="*/ 5642 h 9"/>
                  <a:gd name="T4" fmla="*/ 0 w 8"/>
                  <a:gd name="T5" fmla="*/ 3225 h 9"/>
                  <a:gd name="T6" fmla="*/ 0 w 8"/>
                  <a:gd name="T7" fmla="*/ 3225 h 9"/>
                  <a:gd name="T8" fmla="*/ 2164 w 8"/>
                  <a:gd name="T9" fmla="*/ 0 h 9"/>
                  <a:gd name="T10" fmla="*/ 2164 w 8"/>
                  <a:gd name="T11" fmla="*/ 0 h 9"/>
                  <a:gd name="T12" fmla="*/ 4077 w 8"/>
                  <a:gd name="T13" fmla="*/ 3225 h 9"/>
                  <a:gd name="T14" fmla="*/ 2164 w 8"/>
                  <a:gd name="T15" fmla="*/ 5642 h 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4" y="9"/>
                      <a:pt x="4" y="9"/>
                      <a:pt x="4" y="9"/>
                    </a:cubicBezTo>
                    <a:cubicBezTo>
                      <a:pt x="1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1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6" y="0"/>
                      <a:pt x="8" y="2"/>
                      <a:pt x="8" y="5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430" name="Freeform 145"/>
              <p:cNvSpPr>
                <a:spLocks noChangeArrowheads="1"/>
              </p:cNvSpPr>
              <p:nvPr/>
            </p:nvSpPr>
            <p:spPr bwMode="auto">
              <a:xfrm>
                <a:off x="5498" y="144"/>
                <a:ext cx="12" cy="13"/>
              </a:xfrm>
              <a:custGeom>
                <a:avLst/>
                <a:gdLst>
                  <a:gd name="T0" fmla="*/ 1495 w 9"/>
                  <a:gd name="T1" fmla="*/ 5642 h 9"/>
                  <a:gd name="T2" fmla="*/ 0 w 9"/>
                  <a:gd name="T3" fmla="*/ 3225 h 9"/>
                  <a:gd name="T4" fmla="*/ 0 w 9"/>
                  <a:gd name="T5" fmla="*/ 3225 h 9"/>
                  <a:gd name="T6" fmla="*/ 1495 w 9"/>
                  <a:gd name="T7" fmla="*/ 0 h 9"/>
                  <a:gd name="T8" fmla="*/ 1495 w 9"/>
                  <a:gd name="T9" fmla="*/ 0 h 9"/>
                  <a:gd name="T10" fmla="*/ 3489 w 9"/>
                  <a:gd name="T11" fmla="*/ 3225 h 9"/>
                  <a:gd name="T12" fmla="*/ 1495 w 9"/>
                  <a:gd name="T13" fmla="*/ 5642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1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7" y="1"/>
                      <a:pt x="9" y="2"/>
                      <a:pt x="9" y="5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431" name="Freeform 146"/>
              <p:cNvSpPr>
                <a:spLocks noChangeArrowheads="1"/>
              </p:cNvSpPr>
              <p:nvPr/>
            </p:nvSpPr>
            <p:spPr bwMode="auto">
              <a:xfrm>
                <a:off x="5455" y="144"/>
                <a:ext cx="13" cy="13"/>
              </a:xfrm>
              <a:custGeom>
                <a:avLst/>
                <a:gdLst>
                  <a:gd name="T0" fmla="*/ 3225 w 9"/>
                  <a:gd name="T1" fmla="*/ 5642 h 9"/>
                  <a:gd name="T2" fmla="*/ 0 w 9"/>
                  <a:gd name="T3" fmla="*/ 3225 h 9"/>
                  <a:gd name="T4" fmla="*/ 3225 w 9"/>
                  <a:gd name="T5" fmla="*/ 0 h 9"/>
                  <a:gd name="T6" fmla="*/ 3225 w 9"/>
                  <a:gd name="T7" fmla="*/ 0 h 9"/>
                  <a:gd name="T8" fmla="*/ 5642 w 9"/>
                  <a:gd name="T9" fmla="*/ 3225 h 9"/>
                  <a:gd name="T10" fmla="*/ 3225 w 9"/>
                  <a:gd name="T11" fmla="*/ 5642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2"/>
                      <a:pt x="2" y="1"/>
                      <a:pt x="5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7" y="1"/>
                      <a:pt x="9" y="2"/>
                      <a:pt x="9" y="5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432" name="Freeform 147"/>
              <p:cNvSpPr>
                <a:spLocks noChangeArrowheads="1"/>
              </p:cNvSpPr>
              <p:nvPr/>
            </p:nvSpPr>
            <p:spPr bwMode="auto">
              <a:xfrm>
                <a:off x="5744" y="144"/>
                <a:ext cx="13" cy="13"/>
              </a:xfrm>
              <a:custGeom>
                <a:avLst/>
                <a:gdLst>
                  <a:gd name="T0" fmla="*/ 3194 w 9"/>
                  <a:gd name="T1" fmla="*/ 5642 h 9"/>
                  <a:gd name="T2" fmla="*/ 0 w 9"/>
                  <a:gd name="T3" fmla="*/ 3225 h 9"/>
                  <a:gd name="T4" fmla="*/ 3194 w 9"/>
                  <a:gd name="T5" fmla="*/ 0 h 9"/>
                  <a:gd name="T6" fmla="*/ 3860 w 9"/>
                  <a:gd name="T7" fmla="*/ 0 h 9"/>
                  <a:gd name="T8" fmla="*/ 7173 w 9"/>
                  <a:gd name="T9" fmla="*/ 3225 h 9"/>
                  <a:gd name="T10" fmla="*/ 3194 w 9"/>
                  <a:gd name="T11" fmla="*/ 5642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2"/>
                      <a:pt x="2" y="1"/>
                      <a:pt x="4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7" y="1"/>
                      <a:pt x="9" y="2"/>
                      <a:pt x="9" y="5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433" name="Freeform 148"/>
              <p:cNvSpPr>
                <a:spLocks noChangeArrowheads="1"/>
              </p:cNvSpPr>
              <p:nvPr/>
            </p:nvSpPr>
            <p:spPr bwMode="auto">
              <a:xfrm>
                <a:off x="5723" y="158"/>
                <a:ext cx="13" cy="13"/>
              </a:xfrm>
              <a:custGeom>
                <a:avLst/>
                <a:gdLst>
                  <a:gd name="T0" fmla="*/ 3225 w 9"/>
                  <a:gd name="T1" fmla="*/ 5642 h 9"/>
                  <a:gd name="T2" fmla="*/ 3225 w 9"/>
                  <a:gd name="T3" fmla="*/ 5642 h 9"/>
                  <a:gd name="T4" fmla="*/ 0 w 9"/>
                  <a:gd name="T5" fmla="*/ 3225 h 9"/>
                  <a:gd name="T6" fmla="*/ 0 w 9"/>
                  <a:gd name="T7" fmla="*/ 3225 h 9"/>
                  <a:gd name="T8" fmla="*/ 3225 w 9"/>
                  <a:gd name="T9" fmla="*/ 0 h 9"/>
                  <a:gd name="T10" fmla="*/ 3225 w 9"/>
                  <a:gd name="T11" fmla="*/ 0 h 9"/>
                  <a:gd name="T12" fmla="*/ 5642 w 9"/>
                  <a:gd name="T13" fmla="*/ 3225 h 9"/>
                  <a:gd name="T14" fmla="*/ 3225 w 9"/>
                  <a:gd name="T15" fmla="*/ 5642 h 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7" y="0"/>
                      <a:pt x="9" y="2"/>
                      <a:pt x="9" y="5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434" name="Freeform 149"/>
              <p:cNvSpPr>
                <a:spLocks noChangeArrowheads="1"/>
              </p:cNvSpPr>
              <p:nvPr/>
            </p:nvSpPr>
            <p:spPr bwMode="auto">
              <a:xfrm>
                <a:off x="5704" y="144"/>
                <a:ext cx="11" cy="13"/>
              </a:xfrm>
              <a:custGeom>
                <a:avLst/>
                <a:gdLst>
                  <a:gd name="T0" fmla="*/ 2164 w 8"/>
                  <a:gd name="T1" fmla="*/ 5642 h 9"/>
                  <a:gd name="T2" fmla="*/ 0 w 8"/>
                  <a:gd name="T3" fmla="*/ 3225 h 9"/>
                  <a:gd name="T4" fmla="*/ 0 w 8"/>
                  <a:gd name="T5" fmla="*/ 3225 h 9"/>
                  <a:gd name="T6" fmla="*/ 2164 w 8"/>
                  <a:gd name="T7" fmla="*/ 0 h 9"/>
                  <a:gd name="T8" fmla="*/ 2164 w 8"/>
                  <a:gd name="T9" fmla="*/ 0 h 9"/>
                  <a:gd name="T10" fmla="*/ 4077 w 8"/>
                  <a:gd name="T11" fmla="*/ 3225 h 9"/>
                  <a:gd name="T12" fmla="*/ 2164 w 8"/>
                  <a:gd name="T13" fmla="*/ 5642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1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7" y="1"/>
                      <a:pt x="8" y="2"/>
                      <a:pt x="8" y="5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435" name="Freeform 150"/>
              <p:cNvSpPr>
                <a:spLocks noChangeArrowheads="1"/>
              </p:cNvSpPr>
              <p:nvPr/>
            </p:nvSpPr>
            <p:spPr bwMode="auto">
              <a:xfrm>
                <a:off x="5683" y="158"/>
                <a:ext cx="13" cy="13"/>
              </a:xfrm>
              <a:custGeom>
                <a:avLst/>
                <a:gdLst>
                  <a:gd name="T0" fmla="*/ 2417 w 9"/>
                  <a:gd name="T1" fmla="*/ 5642 h 9"/>
                  <a:gd name="T2" fmla="*/ 2417 w 9"/>
                  <a:gd name="T3" fmla="*/ 5642 h 9"/>
                  <a:gd name="T4" fmla="*/ 0 w 9"/>
                  <a:gd name="T5" fmla="*/ 3225 h 9"/>
                  <a:gd name="T6" fmla="*/ 2417 w 9"/>
                  <a:gd name="T7" fmla="*/ 0 h 9"/>
                  <a:gd name="T8" fmla="*/ 3225 w 9"/>
                  <a:gd name="T9" fmla="*/ 0 h 9"/>
                  <a:gd name="T10" fmla="*/ 5642 w 9"/>
                  <a:gd name="T11" fmla="*/ 3225 h 9"/>
                  <a:gd name="T12" fmla="*/ 2417 w 9"/>
                  <a:gd name="T13" fmla="*/ 5642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4" y="9"/>
                      <a:pt x="4" y="9"/>
                      <a:pt x="4" y="9"/>
                    </a:cubicBezTo>
                    <a:cubicBezTo>
                      <a:pt x="2" y="9"/>
                      <a:pt x="0" y="7"/>
                      <a:pt x="0" y="5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7" y="0"/>
                      <a:pt x="9" y="2"/>
                      <a:pt x="9" y="5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436" name="Freeform 151"/>
              <p:cNvSpPr>
                <a:spLocks noChangeArrowheads="1"/>
              </p:cNvSpPr>
              <p:nvPr/>
            </p:nvSpPr>
            <p:spPr bwMode="auto">
              <a:xfrm>
                <a:off x="5662" y="144"/>
                <a:ext cx="13" cy="13"/>
              </a:xfrm>
              <a:custGeom>
                <a:avLst/>
                <a:gdLst>
                  <a:gd name="T0" fmla="*/ 3860 w 9"/>
                  <a:gd name="T1" fmla="*/ 5642 h 9"/>
                  <a:gd name="T2" fmla="*/ 0 w 9"/>
                  <a:gd name="T3" fmla="*/ 3225 h 9"/>
                  <a:gd name="T4" fmla="*/ 0 w 9"/>
                  <a:gd name="T5" fmla="*/ 3225 h 9"/>
                  <a:gd name="T6" fmla="*/ 3860 w 9"/>
                  <a:gd name="T7" fmla="*/ 0 h 9"/>
                  <a:gd name="T8" fmla="*/ 3860 w 9"/>
                  <a:gd name="T9" fmla="*/ 0 h 9"/>
                  <a:gd name="T10" fmla="*/ 7173 w 9"/>
                  <a:gd name="T11" fmla="*/ 3225 h 9"/>
                  <a:gd name="T12" fmla="*/ 3860 w 9"/>
                  <a:gd name="T13" fmla="*/ 5642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1"/>
                      <a:pt x="5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7" y="1"/>
                      <a:pt x="9" y="2"/>
                      <a:pt x="9" y="5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437" name="Freeform 152"/>
              <p:cNvSpPr>
                <a:spLocks noChangeArrowheads="1"/>
              </p:cNvSpPr>
              <p:nvPr/>
            </p:nvSpPr>
            <p:spPr bwMode="auto">
              <a:xfrm>
                <a:off x="5642" y="158"/>
                <a:ext cx="11" cy="13"/>
              </a:xfrm>
              <a:custGeom>
                <a:avLst/>
                <a:gdLst>
                  <a:gd name="T0" fmla="*/ 2164 w 8"/>
                  <a:gd name="T1" fmla="*/ 5642 h 9"/>
                  <a:gd name="T2" fmla="*/ 2164 w 8"/>
                  <a:gd name="T3" fmla="*/ 5642 h 9"/>
                  <a:gd name="T4" fmla="*/ 0 w 8"/>
                  <a:gd name="T5" fmla="*/ 3225 h 9"/>
                  <a:gd name="T6" fmla="*/ 0 w 8"/>
                  <a:gd name="T7" fmla="*/ 2417 h 9"/>
                  <a:gd name="T8" fmla="*/ 2164 w 8"/>
                  <a:gd name="T9" fmla="*/ 0 h 9"/>
                  <a:gd name="T10" fmla="*/ 2164 w 8"/>
                  <a:gd name="T11" fmla="*/ 0 h 9"/>
                  <a:gd name="T12" fmla="*/ 4077 w 8"/>
                  <a:gd name="T13" fmla="*/ 3225 h 9"/>
                  <a:gd name="T14" fmla="*/ 4077 w 8"/>
                  <a:gd name="T15" fmla="*/ 3225 h 9"/>
                  <a:gd name="T16" fmla="*/ 2164 w 8"/>
                  <a:gd name="T17" fmla="*/ 5642 h 9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4" y="9"/>
                      <a:pt x="4" y="9"/>
                      <a:pt x="4" y="9"/>
                    </a:cubicBez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6" y="0"/>
                      <a:pt x="8" y="2"/>
                      <a:pt x="8" y="5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438" name="Freeform 153"/>
              <p:cNvSpPr>
                <a:spLocks noChangeArrowheads="1"/>
              </p:cNvSpPr>
              <p:nvPr/>
            </p:nvSpPr>
            <p:spPr bwMode="auto">
              <a:xfrm>
                <a:off x="5621" y="144"/>
                <a:ext cx="13" cy="13"/>
              </a:xfrm>
              <a:custGeom>
                <a:avLst/>
                <a:gdLst>
                  <a:gd name="T0" fmla="*/ 2417 w 9"/>
                  <a:gd name="T1" fmla="*/ 5642 h 9"/>
                  <a:gd name="T2" fmla="*/ 0 w 9"/>
                  <a:gd name="T3" fmla="*/ 3225 h 9"/>
                  <a:gd name="T4" fmla="*/ 2417 w 9"/>
                  <a:gd name="T5" fmla="*/ 0 h 9"/>
                  <a:gd name="T6" fmla="*/ 2417 w 9"/>
                  <a:gd name="T7" fmla="*/ 0 h 9"/>
                  <a:gd name="T8" fmla="*/ 5642 w 9"/>
                  <a:gd name="T9" fmla="*/ 3225 h 9"/>
                  <a:gd name="T10" fmla="*/ 2417 w 9"/>
                  <a:gd name="T11" fmla="*/ 5642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2"/>
                      <a:pt x="2" y="1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7" y="1"/>
                      <a:pt x="9" y="2"/>
                      <a:pt x="9" y="5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439" name="Freeform 154"/>
              <p:cNvSpPr>
                <a:spLocks noChangeArrowheads="1"/>
              </p:cNvSpPr>
              <p:nvPr/>
            </p:nvSpPr>
            <p:spPr bwMode="auto">
              <a:xfrm>
                <a:off x="5393" y="158"/>
                <a:ext cx="13" cy="13"/>
              </a:xfrm>
              <a:custGeom>
                <a:avLst/>
                <a:gdLst>
                  <a:gd name="T0" fmla="*/ 3225 w 9"/>
                  <a:gd name="T1" fmla="*/ 5642 h 9"/>
                  <a:gd name="T2" fmla="*/ 3225 w 9"/>
                  <a:gd name="T3" fmla="*/ 5642 h 9"/>
                  <a:gd name="T4" fmla="*/ 0 w 9"/>
                  <a:gd name="T5" fmla="*/ 3225 h 9"/>
                  <a:gd name="T6" fmla="*/ 0 w 9"/>
                  <a:gd name="T7" fmla="*/ 3225 h 9"/>
                  <a:gd name="T8" fmla="*/ 3225 w 9"/>
                  <a:gd name="T9" fmla="*/ 0 h 9"/>
                  <a:gd name="T10" fmla="*/ 3225 w 9"/>
                  <a:gd name="T11" fmla="*/ 0 h 9"/>
                  <a:gd name="T12" fmla="*/ 5642 w 9"/>
                  <a:gd name="T13" fmla="*/ 3225 h 9"/>
                  <a:gd name="T14" fmla="*/ 3225 w 9"/>
                  <a:gd name="T15" fmla="*/ 5642 h 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7" y="0"/>
                      <a:pt x="9" y="2"/>
                      <a:pt x="9" y="5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440" name="Freeform 155"/>
              <p:cNvSpPr>
                <a:spLocks noChangeArrowheads="1"/>
              </p:cNvSpPr>
              <p:nvPr/>
            </p:nvSpPr>
            <p:spPr bwMode="auto">
              <a:xfrm>
                <a:off x="5312" y="158"/>
                <a:ext cx="11" cy="13"/>
              </a:xfrm>
              <a:custGeom>
                <a:avLst/>
                <a:gdLst>
                  <a:gd name="T0" fmla="*/ 2164 w 8"/>
                  <a:gd name="T1" fmla="*/ 5642 h 9"/>
                  <a:gd name="T2" fmla="*/ 2164 w 8"/>
                  <a:gd name="T3" fmla="*/ 5642 h 9"/>
                  <a:gd name="T4" fmla="*/ 0 w 8"/>
                  <a:gd name="T5" fmla="*/ 3225 h 9"/>
                  <a:gd name="T6" fmla="*/ 0 w 8"/>
                  <a:gd name="T7" fmla="*/ 3225 h 9"/>
                  <a:gd name="T8" fmla="*/ 2164 w 8"/>
                  <a:gd name="T9" fmla="*/ 0 h 9"/>
                  <a:gd name="T10" fmla="*/ 2164 w 8"/>
                  <a:gd name="T11" fmla="*/ 0 h 9"/>
                  <a:gd name="T12" fmla="*/ 4077 w 8"/>
                  <a:gd name="T13" fmla="*/ 3225 h 9"/>
                  <a:gd name="T14" fmla="*/ 2164 w 8"/>
                  <a:gd name="T15" fmla="*/ 5642 h 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4" y="9"/>
                      <a:pt x="4" y="9"/>
                      <a:pt x="4" y="9"/>
                    </a:cubicBez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6" y="0"/>
                      <a:pt x="8" y="2"/>
                      <a:pt x="8" y="5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441" name="Freeform 156"/>
              <p:cNvSpPr>
                <a:spLocks noChangeArrowheads="1"/>
              </p:cNvSpPr>
              <p:nvPr/>
            </p:nvSpPr>
            <p:spPr bwMode="auto">
              <a:xfrm>
                <a:off x="5250" y="144"/>
                <a:ext cx="11" cy="13"/>
              </a:xfrm>
              <a:custGeom>
                <a:avLst/>
                <a:gdLst>
                  <a:gd name="T0" fmla="*/ 2164 w 8"/>
                  <a:gd name="T1" fmla="*/ 5642 h 9"/>
                  <a:gd name="T2" fmla="*/ 0 w 8"/>
                  <a:gd name="T3" fmla="*/ 3225 h 9"/>
                  <a:gd name="T4" fmla="*/ 0 w 8"/>
                  <a:gd name="T5" fmla="*/ 3225 h 9"/>
                  <a:gd name="T6" fmla="*/ 2164 w 8"/>
                  <a:gd name="T7" fmla="*/ 0 h 9"/>
                  <a:gd name="T8" fmla="*/ 2164 w 8"/>
                  <a:gd name="T9" fmla="*/ 0 h 9"/>
                  <a:gd name="T10" fmla="*/ 4077 w 8"/>
                  <a:gd name="T11" fmla="*/ 3225 h 9"/>
                  <a:gd name="T12" fmla="*/ 2164 w 8"/>
                  <a:gd name="T13" fmla="*/ 5642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1" y="1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6" y="1"/>
                      <a:pt x="8" y="2"/>
                      <a:pt x="8" y="5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442" name="Freeform 157"/>
              <p:cNvSpPr>
                <a:spLocks noChangeArrowheads="1"/>
              </p:cNvSpPr>
              <p:nvPr/>
            </p:nvSpPr>
            <p:spPr bwMode="auto">
              <a:xfrm>
                <a:off x="5291" y="144"/>
                <a:ext cx="13" cy="13"/>
              </a:xfrm>
              <a:custGeom>
                <a:avLst/>
                <a:gdLst>
                  <a:gd name="T0" fmla="*/ 2417 w 9"/>
                  <a:gd name="T1" fmla="*/ 5642 h 9"/>
                  <a:gd name="T2" fmla="*/ 0 w 9"/>
                  <a:gd name="T3" fmla="*/ 3225 h 9"/>
                  <a:gd name="T4" fmla="*/ 0 w 9"/>
                  <a:gd name="T5" fmla="*/ 3225 h 9"/>
                  <a:gd name="T6" fmla="*/ 2417 w 9"/>
                  <a:gd name="T7" fmla="*/ 0 h 9"/>
                  <a:gd name="T8" fmla="*/ 2417 w 9"/>
                  <a:gd name="T9" fmla="*/ 0 h 9"/>
                  <a:gd name="T10" fmla="*/ 5642 w 9"/>
                  <a:gd name="T11" fmla="*/ 3225 h 9"/>
                  <a:gd name="T12" fmla="*/ 2417 w 9"/>
                  <a:gd name="T13" fmla="*/ 5642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1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7" y="1"/>
                      <a:pt x="9" y="2"/>
                      <a:pt x="9" y="5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443" name="Freeform 158"/>
              <p:cNvSpPr>
                <a:spLocks noChangeArrowheads="1"/>
              </p:cNvSpPr>
              <p:nvPr/>
            </p:nvSpPr>
            <p:spPr bwMode="auto">
              <a:xfrm>
                <a:off x="5270" y="158"/>
                <a:ext cx="12" cy="13"/>
              </a:xfrm>
              <a:custGeom>
                <a:avLst/>
                <a:gdLst>
                  <a:gd name="T0" fmla="*/ 1993 w 9"/>
                  <a:gd name="T1" fmla="*/ 5642 h 9"/>
                  <a:gd name="T2" fmla="*/ 1495 w 9"/>
                  <a:gd name="T3" fmla="*/ 5642 h 9"/>
                  <a:gd name="T4" fmla="*/ 0 w 9"/>
                  <a:gd name="T5" fmla="*/ 3225 h 9"/>
                  <a:gd name="T6" fmla="*/ 0 w 9"/>
                  <a:gd name="T7" fmla="*/ 3225 h 9"/>
                  <a:gd name="T8" fmla="*/ 1495 w 9"/>
                  <a:gd name="T9" fmla="*/ 0 h 9"/>
                  <a:gd name="T10" fmla="*/ 1993 w 9"/>
                  <a:gd name="T11" fmla="*/ 0 h 9"/>
                  <a:gd name="T12" fmla="*/ 3489 w 9"/>
                  <a:gd name="T13" fmla="*/ 3225 h 9"/>
                  <a:gd name="T14" fmla="*/ 1993 w 9"/>
                  <a:gd name="T15" fmla="*/ 5642 h 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4" y="9"/>
                      <a:pt x="4" y="9"/>
                      <a:pt x="4" y="9"/>
                    </a:cubicBez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7" y="0"/>
                      <a:pt x="9" y="2"/>
                      <a:pt x="9" y="5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444" name="Freeform 159"/>
              <p:cNvSpPr>
                <a:spLocks noChangeArrowheads="1"/>
              </p:cNvSpPr>
              <p:nvPr/>
            </p:nvSpPr>
            <p:spPr bwMode="auto">
              <a:xfrm>
                <a:off x="5476" y="179"/>
                <a:ext cx="12" cy="13"/>
              </a:xfrm>
              <a:custGeom>
                <a:avLst/>
                <a:gdLst>
                  <a:gd name="T0" fmla="*/ 1993 w 9"/>
                  <a:gd name="T1" fmla="*/ 7173 h 9"/>
                  <a:gd name="T2" fmla="*/ 1495 w 9"/>
                  <a:gd name="T3" fmla="*/ 7173 h 9"/>
                  <a:gd name="T4" fmla="*/ 0 w 9"/>
                  <a:gd name="T5" fmla="*/ 3860 h 9"/>
                  <a:gd name="T6" fmla="*/ 0 w 9"/>
                  <a:gd name="T7" fmla="*/ 3194 h 9"/>
                  <a:gd name="T8" fmla="*/ 1495 w 9"/>
                  <a:gd name="T9" fmla="*/ 0 h 9"/>
                  <a:gd name="T10" fmla="*/ 3489 w 9"/>
                  <a:gd name="T11" fmla="*/ 3194 h 9"/>
                  <a:gd name="T12" fmla="*/ 1993 w 9"/>
                  <a:gd name="T13" fmla="*/ 7173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4" y="9"/>
                      <a:pt x="4" y="9"/>
                      <a:pt x="4" y="9"/>
                    </a:cubicBez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445" name="Freeform 160"/>
              <p:cNvSpPr>
                <a:spLocks noChangeArrowheads="1"/>
              </p:cNvSpPr>
              <p:nvPr/>
            </p:nvSpPr>
            <p:spPr bwMode="auto">
              <a:xfrm>
                <a:off x="5435" y="179"/>
                <a:ext cx="11" cy="13"/>
              </a:xfrm>
              <a:custGeom>
                <a:avLst/>
                <a:gdLst>
                  <a:gd name="T0" fmla="*/ 2164 w 8"/>
                  <a:gd name="T1" fmla="*/ 7173 h 9"/>
                  <a:gd name="T2" fmla="*/ 2164 w 8"/>
                  <a:gd name="T3" fmla="*/ 7173 h 9"/>
                  <a:gd name="T4" fmla="*/ 0 w 8"/>
                  <a:gd name="T5" fmla="*/ 3860 h 9"/>
                  <a:gd name="T6" fmla="*/ 0 w 8"/>
                  <a:gd name="T7" fmla="*/ 3194 h 9"/>
                  <a:gd name="T8" fmla="*/ 2164 w 8"/>
                  <a:gd name="T9" fmla="*/ 0 h 9"/>
                  <a:gd name="T10" fmla="*/ 4077 w 8"/>
                  <a:gd name="T11" fmla="*/ 3194 h 9"/>
                  <a:gd name="T12" fmla="*/ 2164 w 8"/>
                  <a:gd name="T13" fmla="*/ 7173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4" y="9"/>
                      <a:pt x="4" y="9"/>
                      <a:pt x="4" y="9"/>
                    </a:cubicBez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446" name="Freeform 161"/>
              <p:cNvSpPr>
                <a:spLocks noChangeArrowheads="1"/>
              </p:cNvSpPr>
              <p:nvPr/>
            </p:nvSpPr>
            <p:spPr bwMode="auto">
              <a:xfrm>
                <a:off x="5415" y="165"/>
                <a:ext cx="13" cy="13"/>
              </a:xfrm>
              <a:custGeom>
                <a:avLst/>
                <a:gdLst>
                  <a:gd name="T0" fmla="*/ 2417 w 9"/>
                  <a:gd name="T1" fmla="*/ 5642 h 9"/>
                  <a:gd name="T2" fmla="*/ 0 w 9"/>
                  <a:gd name="T3" fmla="*/ 3225 h 9"/>
                  <a:gd name="T4" fmla="*/ 0 w 9"/>
                  <a:gd name="T5" fmla="*/ 2417 h 9"/>
                  <a:gd name="T6" fmla="*/ 2417 w 9"/>
                  <a:gd name="T7" fmla="*/ 0 h 9"/>
                  <a:gd name="T8" fmla="*/ 5642 w 9"/>
                  <a:gd name="T9" fmla="*/ 3225 h 9"/>
                  <a:gd name="T10" fmla="*/ 2417 w 9"/>
                  <a:gd name="T11" fmla="*/ 5642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5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447" name="Freeform 162"/>
              <p:cNvSpPr>
                <a:spLocks noChangeArrowheads="1"/>
              </p:cNvSpPr>
              <p:nvPr/>
            </p:nvSpPr>
            <p:spPr bwMode="auto">
              <a:xfrm>
                <a:off x="5331" y="165"/>
                <a:ext cx="13" cy="13"/>
              </a:xfrm>
              <a:custGeom>
                <a:avLst/>
                <a:gdLst>
                  <a:gd name="T0" fmla="*/ 3860 w 9"/>
                  <a:gd name="T1" fmla="*/ 5642 h 9"/>
                  <a:gd name="T2" fmla="*/ 0 w 9"/>
                  <a:gd name="T3" fmla="*/ 3225 h 9"/>
                  <a:gd name="T4" fmla="*/ 0 w 9"/>
                  <a:gd name="T5" fmla="*/ 2417 h 9"/>
                  <a:gd name="T6" fmla="*/ 3860 w 9"/>
                  <a:gd name="T7" fmla="*/ 0 h 9"/>
                  <a:gd name="T8" fmla="*/ 7173 w 9"/>
                  <a:gd name="T9" fmla="*/ 3225 h 9"/>
                  <a:gd name="T10" fmla="*/ 3860 w 9"/>
                  <a:gd name="T11" fmla="*/ 5642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5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448" name="Freeform 163"/>
              <p:cNvSpPr>
                <a:spLocks noChangeArrowheads="1"/>
              </p:cNvSpPr>
              <p:nvPr/>
            </p:nvSpPr>
            <p:spPr bwMode="auto">
              <a:xfrm>
                <a:off x="5601" y="179"/>
                <a:ext cx="12" cy="13"/>
              </a:xfrm>
              <a:custGeom>
                <a:avLst/>
                <a:gdLst>
                  <a:gd name="T0" fmla="*/ 1993 w 9"/>
                  <a:gd name="T1" fmla="*/ 7173 h 9"/>
                  <a:gd name="T2" fmla="*/ 1495 w 9"/>
                  <a:gd name="T3" fmla="*/ 7173 h 9"/>
                  <a:gd name="T4" fmla="*/ 0 w 9"/>
                  <a:gd name="T5" fmla="*/ 3194 h 9"/>
                  <a:gd name="T6" fmla="*/ 1993 w 9"/>
                  <a:gd name="T7" fmla="*/ 0 h 9"/>
                  <a:gd name="T8" fmla="*/ 3489 w 9"/>
                  <a:gd name="T9" fmla="*/ 3194 h 9"/>
                  <a:gd name="T10" fmla="*/ 1993 w 9"/>
                  <a:gd name="T11" fmla="*/ 7173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4" y="9"/>
                      <a:pt x="4" y="9"/>
                      <a:pt x="4" y="9"/>
                    </a:cubicBezTo>
                    <a:cubicBezTo>
                      <a:pt x="2" y="9"/>
                      <a:pt x="0" y="7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449" name="Freeform 164"/>
              <p:cNvSpPr>
                <a:spLocks noChangeArrowheads="1"/>
              </p:cNvSpPr>
              <p:nvPr/>
            </p:nvSpPr>
            <p:spPr bwMode="auto">
              <a:xfrm>
                <a:off x="5581" y="165"/>
                <a:ext cx="10" cy="13"/>
              </a:xfrm>
              <a:custGeom>
                <a:avLst/>
                <a:gdLst>
                  <a:gd name="T0" fmla="*/ 868 w 8"/>
                  <a:gd name="T1" fmla="*/ 5642 h 9"/>
                  <a:gd name="T2" fmla="*/ 0 w 8"/>
                  <a:gd name="T3" fmla="*/ 3225 h 9"/>
                  <a:gd name="T4" fmla="*/ 0 w 8"/>
                  <a:gd name="T5" fmla="*/ 2417 h 9"/>
                  <a:gd name="T6" fmla="*/ 868 w 8"/>
                  <a:gd name="T7" fmla="*/ 0 h 9"/>
                  <a:gd name="T8" fmla="*/ 1780 w 8"/>
                  <a:gd name="T9" fmla="*/ 3225 h 9"/>
                  <a:gd name="T10" fmla="*/ 868 w 8"/>
                  <a:gd name="T11" fmla="*/ 5642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5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450" name="Freeform 165"/>
              <p:cNvSpPr>
                <a:spLocks noChangeArrowheads="1"/>
              </p:cNvSpPr>
              <p:nvPr/>
            </p:nvSpPr>
            <p:spPr bwMode="auto">
              <a:xfrm>
                <a:off x="5559" y="179"/>
                <a:ext cx="13" cy="13"/>
              </a:xfrm>
              <a:custGeom>
                <a:avLst/>
                <a:gdLst>
                  <a:gd name="T0" fmla="*/ 3194 w 9"/>
                  <a:gd name="T1" fmla="*/ 7173 h 9"/>
                  <a:gd name="T2" fmla="*/ 3194 w 9"/>
                  <a:gd name="T3" fmla="*/ 7173 h 9"/>
                  <a:gd name="T4" fmla="*/ 0 w 9"/>
                  <a:gd name="T5" fmla="*/ 3860 h 9"/>
                  <a:gd name="T6" fmla="*/ 0 w 9"/>
                  <a:gd name="T7" fmla="*/ 3194 h 9"/>
                  <a:gd name="T8" fmla="*/ 3194 w 9"/>
                  <a:gd name="T9" fmla="*/ 0 h 9"/>
                  <a:gd name="T10" fmla="*/ 7173 w 9"/>
                  <a:gd name="T11" fmla="*/ 3194 h 9"/>
                  <a:gd name="T12" fmla="*/ 3194 w 9"/>
                  <a:gd name="T13" fmla="*/ 7173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4" y="9"/>
                      <a:pt x="4" y="9"/>
                      <a:pt x="4" y="9"/>
                    </a:cubicBez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451" name="Freeform 166"/>
              <p:cNvSpPr>
                <a:spLocks noChangeArrowheads="1"/>
              </p:cNvSpPr>
              <p:nvPr/>
            </p:nvSpPr>
            <p:spPr bwMode="auto">
              <a:xfrm>
                <a:off x="5538" y="165"/>
                <a:ext cx="12" cy="13"/>
              </a:xfrm>
              <a:custGeom>
                <a:avLst/>
                <a:gdLst>
                  <a:gd name="T0" fmla="*/ 1993 w 9"/>
                  <a:gd name="T1" fmla="*/ 5642 h 9"/>
                  <a:gd name="T2" fmla="*/ 0 w 9"/>
                  <a:gd name="T3" fmla="*/ 3225 h 9"/>
                  <a:gd name="T4" fmla="*/ 0 w 9"/>
                  <a:gd name="T5" fmla="*/ 2417 h 9"/>
                  <a:gd name="T6" fmla="*/ 1993 w 9"/>
                  <a:gd name="T7" fmla="*/ 0 h 9"/>
                  <a:gd name="T8" fmla="*/ 3489 w 9"/>
                  <a:gd name="T9" fmla="*/ 3225 h 9"/>
                  <a:gd name="T10" fmla="*/ 1993 w 9"/>
                  <a:gd name="T11" fmla="*/ 5642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5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452" name="Freeform 167"/>
              <p:cNvSpPr>
                <a:spLocks noChangeArrowheads="1"/>
              </p:cNvSpPr>
              <p:nvPr/>
            </p:nvSpPr>
            <p:spPr bwMode="auto">
              <a:xfrm>
                <a:off x="5518" y="179"/>
                <a:ext cx="11" cy="13"/>
              </a:xfrm>
              <a:custGeom>
                <a:avLst/>
                <a:gdLst>
                  <a:gd name="T0" fmla="*/ 2164 w 8"/>
                  <a:gd name="T1" fmla="*/ 7173 h 9"/>
                  <a:gd name="T2" fmla="*/ 2164 w 8"/>
                  <a:gd name="T3" fmla="*/ 7173 h 9"/>
                  <a:gd name="T4" fmla="*/ 0 w 8"/>
                  <a:gd name="T5" fmla="*/ 3860 h 9"/>
                  <a:gd name="T6" fmla="*/ 0 w 8"/>
                  <a:gd name="T7" fmla="*/ 3194 h 9"/>
                  <a:gd name="T8" fmla="*/ 2164 w 8"/>
                  <a:gd name="T9" fmla="*/ 0 h 9"/>
                  <a:gd name="T10" fmla="*/ 4077 w 8"/>
                  <a:gd name="T11" fmla="*/ 3194 h 9"/>
                  <a:gd name="T12" fmla="*/ 2164 w 8"/>
                  <a:gd name="T13" fmla="*/ 7173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4" y="9"/>
                      <a:pt x="4" y="9"/>
                      <a:pt x="4" y="9"/>
                    </a:cubicBezTo>
                    <a:cubicBezTo>
                      <a:pt x="1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453" name="Freeform 168"/>
              <p:cNvSpPr>
                <a:spLocks noChangeArrowheads="1"/>
              </p:cNvSpPr>
              <p:nvPr/>
            </p:nvSpPr>
            <p:spPr bwMode="auto">
              <a:xfrm>
                <a:off x="5498" y="165"/>
                <a:ext cx="12" cy="13"/>
              </a:xfrm>
              <a:custGeom>
                <a:avLst/>
                <a:gdLst>
                  <a:gd name="T0" fmla="*/ 1495 w 9"/>
                  <a:gd name="T1" fmla="*/ 5642 h 9"/>
                  <a:gd name="T2" fmla="*/ 0 w 9"/>
                  <a:gd name="T3" fmla="*/ 3225 h 9"/>
                  <a:gd name="T4" fmla="*/ 0 w 9"/>
                  <a:gd name="T5" fmla="*/ 2417 h 9"/>
                  <a:gd name="T6" fmla="*/ 1495 w 9"/>
                  <a:gd name="T7" fmla="*/ 0 h 9"/>
                  <a:gd name="T8" fmla="*/ 3489 w 9"/>
                  <a:gd name="T9" fmla="*/ 3225 h 9"/>
                  <a:gd name="T10" fmla="*/ 1495 w 9"/>
                  <a:gd name="T11" fmla="*/ 5642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5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454" name="Oval 169"/>
              <p:cNvSpPr>
                <a:spLocks noChangeArrowheads="1"/>
              </p:cNvSpPr>
              <p:nvPr/>
            </p:nvSpPr>
            <p:spPr bwMode="auto">
              <a:xfrm>
                <a:off x="5455" y="165"/>
                <a:ext cx="13" cy="13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US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455" name="Oval 170"/>
              <p:cNvSpPr>
                <a:spLocks noChangeArrowheads="1"/>
              </p:cNvSpPr>
              <p:nvPr/>
            </p:nvSpPr>
            <p:spPr bwMode="auto">
              <a:xfrm>
                <a:off x="5744" y="165"/>
                <a:ext cx="13" cy="13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US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456" name="Freeform 171"/>
              <p:cNvSpPr>
                <a:spLocks noChangeArrowheads="1"/>
              </p:cNvSpPr>
              <p:nvPr/>
            </p:nvSpPr>
            <p:spPr bwMode="auto">
              <a:xfrm>
                <a:off x="5723" y="179"/>
                <a:ext cx="13" cy="13"/>
              </a:xfrm>
              <a:custGeom>
                <a:avLst/>
                <a:gdLst>
                  <a:gd name="T0" fmla="*/ 3225 w 9"/>
                  <a:gd name="T1" fmla="*/ 7173 h 9"/>
                  <a:gd name="T2" fmla="*/ 3225 w 9"/>
                  <a:gd name="T3" fmla="*/ 7173 h 9"/>
                  <a:gd name="T4" fmla="*/ 0 w 9"/>
                  <a:gd name="T5" fmla="*/ 3860 h 9"/>
                  <a:gd name="T6" fmla="*/ 0 w 9"/>
                  <a:gd name="T7" fmla="*/ 3194 h 9"/>
                  <a:gd name="T8" fmla="*/ 3225 w 9"/>
                  <a:gd name="T9" fmla="*/ 0 h 9"/>
                  <a:gd name="T10" fmla="*/ 5642 w 9"/>
                  <a:gd name="T11" fmla="*/ 3194 h 9"/>
                  <a:gd name="T12" fmla="*/ 3225 w 9"/>
                  <a:gd name="T13" fmla="*/ 7173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457" name="Freeform 172"/>
              <p:cNvSpPr>
                <a:spLocks noChangeArrowheads="1"/>
              </p:cNvSpPr>
              <p:nvPr/>
            </p:nvSpPr>
            <p:spPr bwMode="auto">
              <a:xfrm>
                <a:off x="5704" y="165"/>
                <a:ext cx="11" cy="13"/>
              </a:xfrm>
              <a:custGeom>
                <a:avLst/>
                <a:gdLst>
                  <a:gd name="T0" fmla="*/ 2164 w 8"/>
                  <a:gd name="T1" fmla="*/ 5642 h 9"/>
                  <a:gd name="T2" fmla="*/ 0 w 8"/>
                  <a:gd name="T3" fmla="*/ 3225 h 9"/>
                  <a:gd name="T4" fmla="*/ 0 w 8"/>
                  <a:gd name="T5" fmla="*/ 2417 h 9"/>
                  <a:gd name="T6" fmla="*/ 2164 w 8"/>
                  <a:gd name="T7" fmla="*/ 0 h 9"/>
                  <a:gd name="T8" fmla="*/ 4077 w 8"/>
                  <a:gd name="T9" fmla="*/ 3225 h 9"/>
                  <a:gd name="T10" fmla="*/ 2164 w 8"/>
                  <a:gd name="T11" fmla="*/ 5642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5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458" name="Freeform 173"/>
              <p:cNvSpPr>
                <a:spLocks noChangeArrowheads="1"/>
              </p:cNvSpPr>
              <p:nvPr/>
            </p:nvSpPr>
            <p:spPr bwMode="auto">
              <a:xfrm>
                <a:off x="5683" y="179"/>
                <a:ext cx="13" cy="13"/>
              </a:xfrm>
              <a:custGeom>
                <a:avLst/>
                <a:gdLst>
                  <a:gd name="T0" fmla="*/ 2417 w 9"/>
                  <a:gd name="T1" fmla="*/ 7173 h 9"/>
                  <a:gd name="T2" fmla="*/ 2417 w 9"/>
                  <a:gd name="T3" fmla="*/ 7173 h 9"/>
                  <a:gd name="T4" fmla="*/ 0 w 9"/>
                  <a:gd name="T5" fmla="*/ 3194 h 9"/>
                  <a:gd name="T6" fmla="*/ 2417 w 9"/>
                  <a:gd name="T7" fmla="*/ 0 h 9"/>
                  <a:gd name="T8" fmla="*/ 5642 w 9"/>
                  <a:gd name="T9" fmla="*/ 3194 h 9"/>
                  <a:gd name="T10" fmla="*/ 2417 w 9"/>
                  <a:gd name="T11" fmla="*/ 7173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4" y="9"/>
                      <a:pt x="4" y="9"/>
                      <a:pt x="4" y="9"/>
                    </a:cubicBezTo>
                    <a:cubicBezTo>
                      <a:pt x="2" y="9"/>
                      <a:pt x="0" y="7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459" name="Freeform 174"/>
              <p:cNvSpPr>
                <a:spLocks noChangeArrowheads="1"/>
              </p:cNvSpPr>
              <p:nvPr/>
            </p:nvSpPr>
            <p:spPr bwMode="auto">
              <a:xfrm>
                <a:off x="5662" y="165"/>
                <a:ext cx="13" cy="13"/>
              </a:xfrm>
              <a:custGeom>
                <a:avLst/>
                <a:gdLst>
                  <a:gd name="T0" fmla="*/ 3860 w 9"/>
                  <a:gd name="T1" fmla="*/ 5642 h 9"/>
                  <a:gd name="T2" fmla="*/ 0 w 9"/>
                  <a:gd name="T3" fmla="*/ 3225 h 9"/>
                  <a:gd name="T4" fmla="*/ 0 w 9"/>
                  <a:gd name="T5" fmla="*/ 2417 h 9"/>
                  <a:gd name="T6" fmla="*/ 3860 w 9"/>
                  <a:gd name="T7" fmla="*/ 0 h 9"/>
                  <a:gd name="T8" fmla="*/ 7173 w 9"/>
                  <a:gd name="T9" fmla="*/ 3225 h 9"/>
                  <a:gd name="T10" fmla="*/ 3860 w 9"/>
                  <a:gd name="T11" fmla="*/ 5642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5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460" name="Freeform 175"/>
              <p:cNvSpPr>
                <a:spLocks noChangeArrowheads="1"/>
              </p:cNvSpPr>
              <p:nvPr/>
            </p:nvSpPr>
            <p:spPr bwMode="auto">
              <a:xfrm>
                <a:off x="5642" y="179"/>
                <a:ext cx="11" cy="13"/>
              </a:xfrm>
              <a:custGeom>
                <a:avLst/>
                <a:gdLst>
                  <a:gd name="T0" fmla="*/ 2164 w 8"/>
                  <a:gd name="T1" fmla="*/ 7173 h 9"/>
                  <a:gd name="T2" fmla="*/ 2164 w 8"/>
                  <a:gd name="T3" fmla="*/ 7173 h 9"/>
                  <a:gd name="T4" fmla="*/ 0 w 8"/>
                  <a:gd name="T5" fmla="*/ 3860 h 9"/>
                  <a:gd name="T6" fmla="*/ 0 w 8"/>
                  <a:gd name="T7" fmla="*/ 3194 h 9"/>
                  <a:gd name="T8" fmla="*/ 2164 w 8"/>
                  <a:gd name="T9" fmla="*/ 0 h 9"/>
                  <a:gd name="T10" fmla="*/ 4077 w 8"/>
                  <a:gd name="T11" fmla="*/ 3194 h 9"/>
                  <a:gd name="T12" fmla="*/ 4077 w 8"/>
                  <a:gd name="T13" fmla="*/ 3860 h 9"/>
                  <a:gd name="T14" fmla="*/ 2164 w 8"/>
                  <a:gd name="T15" fmla="*/ 7173 h 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4" y="9"/>
                      <a:pt x="4" y="9"/>
                      <a:pt x="4" y="9"/>
                    </a:cubicBez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461" name="Oval 176"/>
              <p:cNvSpPr>
                <a:spLocks noChangeArrowheads="1"/>
              </p:cNvSpPr>
              <p:nvPr/>
            </p:nvSpPr>
            <p:spPr bwMode="auto">
              <a:xfrm>
                <a:off x="5621" y="165"/>
                <a:ext cx="13" cy="13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US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462" name="Freeform 177"/>
              <p:cNvSpPr>
                <a:spLocks noChangeArrowheads="1"/>
              </p:cNvSpPr>
              <p:nvPr/>
            </p:nvSpPr>
            <p:spPr bwMode="auto">
              <a:xfrm>
                <a:off x="5393" y="179"/>
                <a:ext cx="13" cy="13"/>
              </a:xfrm>
              <a:custGeom>
                <a:avLst/>
                <a:gdLst>
                  <a:gd name="T0" fmla="*/ 3225 w 9"/>
                  <a:gd name="T1" fmla="*/ 7173 h 9"/>
                  <a:gd name="T2" fmla="*/ 3225 w 9"/>
                  <a:gd name="T3" fmla="*/ 7173 h 9"/>
                  <a:gd name="T4" fmla="*/ 0 w 9"/>
                  <a:gd name="T5" fmla="*/ 3860 h 9"/>
                  <a:gd name="T6" fmla="*/ 0 w 9"/>
                  <a:gd name="T7" fmla="*/ 3194 h 9"/>
                  <a:gd name="T8" fmla="*/ 3225 w 9"/>
                  <a:gd name="T9" fmla="*/ 0 h 9"/>
                  <a:gd name="T10" fmla="*/ 5642 w 9"/>
                  <a:gd name="T11" fmla="*/ 3194 h 9"/>
                  <a:gd name="T12" fmla="*/ 3225 w 9"/>
                  <a:gd name="T13" fmla="*/ 7173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463" name="Freeform 178"/>
              <p:cNvSpPr>
                <a:spLocks noChangeArrowheads="1"/>
              </p:cNvSpPr>
              <p:nvPr/>
            </p:nvSpPr>
            <p:spPr bwMode="auto">
              <a:xfrm>
                <a:off x="5312" y="179"/>
                <a:ext cx="11" cy="13"/>
              </a:xfrm>
              <a:custGeom>
                <a:avLst/>
                <a:gdLst>
                  <a:gd name="T0" fmla="*/ 2164 w 8"/>
                  <a:gd name="T1" fmla="*/ 7173 h 9"/>
                  <a:gd name="T2" fmla="*/ 2164 w 8"/>
                  <a:gd name="T3" fmla="*/ 7173 h 9"/>
                  <a:gd name="T4" fmla="*/ 0 w 8"/>
                  <a:gd name="T5" fmla="*/ 3860 h 9"/>
                  <a:gd name="T6" fmla="*/ 0 w 8"/>
                  <a:gd name="T7" fmla="*/ 3194 h 9"/>
                  <a:gd name="T8" fmla="*/ 2164 w 8"/>
                  <a:gd name="T9" fmla="*/ 0 h 9"/>
                  <a:gd name="T10" fmla="*/ 4077 w 8"/>
                  <a:gd name="T11" fmla="*/ 3194 h 9"/>
                  <a:gd name="T12" fmla="*/ 2164 w 8"/>
                  <a:gd name="T13" fmla="*/ 7173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4" y="9"/>
                      <a:pt x="4" y="9"/>
                      <a:pt x="4" y="9"/>
                    </a:cubicBez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464" name="Freeform 179"/>
              <p:cNvSpPr>
                <a:spLocks noChangeArrowheads="1"/>
              </p:cNvSpPr>
              <p:nvPr/>
            </p:nvSpPr>
            <p:spPr bwMode="auto">
              <a:xfrm>
                <a:off x="5250" y="165"/>
                <a:ext cx="11" cy="13"/>
              </a:xfrm>
              <a:custGeom>
                <a:avLst/>
                <a:gdLst>
                  <a:gd name="T0" fmla="*/ 2164 w 8"/>
                  <a:gd name="T1" fmla="*/ 5642 h 9"/>
                  <a:gd name="T2" fmla="*/ 0 w 8"/>
                  <a:gd name="T3" fmla="*/ 3225 h 9"/>
                  <a:gd name="T4" fmla="*/ 0 w 8"/>
                  <a:gd name="T5" fmla="*/ 2417 h 9"/>
                  <a:gd name="T6" fmla="*/ 2164 w 8"/>
                  <a:gd name="T7" fmla="*/ 0 h 9"/>
                  <a:gd name="T8" fmla="*/ 4077 w 8"/>
                  <a:gd name="T9" fmla="*/ 3225 h 9"/>
                  <a:gd name="T10" fmla="*/ 2164 w 8"/>
                  <a:gd name="T11" fmla="*/ 5642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5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465" name="Freeform 180"/>
              <p:cNvSpPr>
                <a:spLocks noChangeArrowheads="1"/>
              </p:cNvSpPr>
              <p:nvPr/>
            </p:nvSpPr>
            <p:spPr bwMode="auto">
              <a:xfrm>
                <a:off x="5373" y="165"/>
                <a:ext cx="11" cy="13"/>
              </a:xfrm>
              <a:custGeom>
                <a:avLst/>
                <a:gdLst>
                  <a:gd name="T0" fmla="*/ 2164 w 8"/>
                  <a:gd name="T1" fmla="*/ 5642 h 9"/>
                  <a:gd name="T2" fmla="*/ 0 w 8"/>
                  <a:gd name="T3" fmla="*/ 3225 h 9"/>
                  <a:gd name="T4" fmla="*/ 0 w 8"/>
                  <a:gd name="T5" fmla="*/ 2417 h 9"/>
                  <a:gd name="T6" fmla="*/ 2164 w 8"/>
                  <a:gd name="T7" fmla="*/ 0 h 9"/>
                  <a:gd name="T8" fmla="*/ 4077 w 8"/>
                  <a:gd name="T9" fmla="*/ 3225 h 9"/>
                  <a:gd name="T10" fmla="*/ 2164 w 8"/>
                  <a:gd name="T11" fmla="*/ 5642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5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466" name="Freeform 181"/>
              <p:cNvSpPr>
                <a:spLocks noChangeArrowheads="1"/>
              </p:cNvSpPr>
              <p:nvPr/>
            </p:nvSpPr>
            <p:spPr bwMode="auto">
              <a:xfrm>
                <a:off x="5291" y="165"/>
                <a:ext cx="13" cy="13"/>
              </a:xfrm>
              <a:custGeom>
                <a:avLst/>
                <a:gdLst>
                  <a:gd name="T0" fmla="*/ 2417 w 9"/>
                  <a:gd name="T1" fmla="*/ 5642 h 9"/>
                  <a:gd name="T2" fmla="*/ 0 w 9"/>
                  <a:gd name="T3" fmla="*/ 3225 h 9"/>
                  <a:gd name="T4" fmla="*/ 0 w 9"/>
                  <a:gd name="T5" fmla="*/ 2417 h 9"/>
                  <a:gd name="T6" fmla="*/ 2417 w 9"/>
                  <a:gd name="T7" fmla="*/ 0 h 9"/>
                  <a:gd name="T8" fmla="*/ 5642 w 9"/>
                  <a:gd name="T9" fmla="*/ 3225 h 9"/>
                  <a:gd name="T10" fmla="*/ 2417 w 9"/>
                  <a:gd name="T11" fmla="*/ 5642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5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467" name="Freeform 182"/>
              <p:cNvSpPr>
                <a:spLocks noChangeArrowheads="1"/>
              </p:cNvSpPr>
              <p:nvPr/>
            </p:nvSpPr>
            <p:spPr bwMode="auto">
              <a:xfrm>
                <a:off x="5229" y="179"/>
                <a:ext cx="13" cy="13"/>
              </a:xfrm>
              <a:custGeom>
                <a:avLst/>
                <a:gdLst>
                  <a:gd name="T0" fmla="*/ 3194 w 9"/>
                  <a:gd name="T1" fmla="*/ 7173 h 9"/>
                  <a:gd name="T2" fmla="*/ 3194 w 9"/>
                  <a:gd name="T3" fmla="*/ 7173 h 9"/>
                  <a:gd name="T4" fmla="*/ 0 w 9"/>
                  <a:gd name="T5" fmla="*/ 3194 h 9"/>
                  <a:gd name="T6" fmla="*/ 3194 w 9"/>
                  <a:gd name="T7" fmla="*/ 0 h 9"/>
                  <a:gd name="T8" fmla="*/ 7173 w 9"/>
                  <a:gd name="T9" fmla="*/ 3194 h 9"/>
                  <a:gd name="T10" fmla="*/ 3194 w 9"/>
                  <a:gd name="T11" fmla="*/ 7173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4" y="9"/>
                      <a:pt x="4" y="9"/>
                      <a:pt x="4" y="9"/>
                    </a:cubicBezTo>
                    <a:cubicBezTo>
                      <a:pt x="2" y="9"/>
                      <a:pt x="0" y="7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468" name="Freeform 183"/>
              <p:cNvSpPr>
                <a:spLocks noChangeArrowheads="1"/>
              </p:cNvSpPr>
              <p:nvPr/>
            </p:nvSpPr>
            <p:spPr bwMode="auto">
              <a:xfrm>
                <a:off x="5270" y="179"/>
                <a:ext cx="12" cy="13"/>
              </a:xfrm>
              <a:custGeom>
                <a:avLst/>
                <a:gdLst>
                  <a:gd name="T0" fmla="*/ 1993 w 9"/>
                  <a:gd name="T1" fmla="*/ 7173 h 9"/>
                  <a:gd name="T2" fmla="*/ 1495 w 9"/>
                  <a:gd name="T3" fmla="*/ 7173 h 9"/>
                  <a:gd name="T4" fmla="*/ 0 w 9"/>
                  <a:gd name="T5" fmla="*/ 3860 h 9"/>
                  <a:gd name="T6" fmla="*/ 0 w 9"/>
                  <a:gd name="T7" fmla="*/ 3194 h 9"/>
                  <a:gd name="T8" fmla="*/ 1993 w 9"/>
                  <a:gd name="T9" fmla="*/ 0 h 9"/>
                  <a:gd name="T10" fmla="*/ 3489 w 9"/>
                  <a:gd name="T11" fmla="*/ 3194 h 9"/>
                  <a:gd name="T12" fmla="*/ 1993 w 9"/>
                  <a:gd name="T13" fmla="*/ 7173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4" y="9"/>
                      <a:pt x="4" y="9"/>
                      <a:pt x="4" y="9"/>
                    </a:cubicBez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469" name="Freeform 184"/>
              <p:cNvSpPr>
                <a:spLocks noChangeArrowheads="1"/>
              </p:cNvSpPr>
              <p:nvPr/>
            </p:nvSpPr>
            <p:spPr bwMode="auto">
              <a:xfrm>
                <a:off x="5476" y="200"/>
                <a:ext cx="12" cy="13"/>
              </a:xfrm>
              <a:custGeom>
                <a:avLst/>
                <a:gdLst>
                  <a:gd name="T0" fmla="*/ 1495 w 9"/>
                  <a:gd name="T1" fmla="*/ 5642 h 9"/>
                  <a:gd name="T2" fmla="*/ 0 w 9"/>
                  <a:gd name="T3" fmla="*/ 2417 h 9"/>
                  <a:gd name="T4" fmla="*/ 0 w 9"/>
                  <a:gd name="T5" fmla="*/ 2417 h 9"/>
                  <a:gd name="T6" fmla="*/ 1495 w 9"/>
                  <a:gd name="T7" fmla="*/ 0 h 9"/>
                  <a:gd name="T8" fmla="*/ 1993 w 9"/>
                  <a:gd name="T9" fmla="*/ 0 h 9"/>
                  <a:gd name="T10" fmla="*/ 3489 w 9"/>
                  <a:gd name="T11" fmla="*/ 2417 h 9"/>
                  <a:gd name="T12" fmla="*/ 1495 w 9"/>
                  <a:gd name="T13" fmla="*/ 5642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2" y="9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470" name="Freeform 185"/>
              <p:cNvSpPr>
                <a:spLocks noChangeArrowheads="1"/>
              </p:cNvSpPr>
              <p:nvPr/>
            </p:nvSpPr>
            <p:spPr bwMode="auto">
              <a:xfrm>
                <a:off x="5435" y="200"/>
                <a:ext cx="11" cy="13"/>
              </a:xfrm>
              <a:custGeom>
                <a:avLst/>
                <a:gdLst>
                  <a:gd name="T0" fmla="*/ 2164 w 8"/>
                  <a:gd name="T1" fmla="*/ 5642 h 9"/>
                  <a:gd name="T2" fmla="*/ 0 w 8"/>
                  <a:gd name="T3" fmla="*/ 2417 h 9"/>
                  <a:gd name="T4" fmla="*/ 0 w 8"/>
                  <a:gd name="T5" fmla="*/ 2417 h 9"/>
                  <a:gd name="T6" fmla="*/ 2164 w 8"/>
                  <a:gd name="T7" fmla="*/ 0 h 9"/>
                  <a:gd name="T8" fmla="*/ 2164 w 8"/>
                  <a:gd name="T9" fmla="*/ 0 h 9"/>
                  <a:gd name="T10" fmla="*/ 4077 w 8"/>
                  <a:gd name="T11" fmla="*/ 2417 h 9"/>
                  <a:gd name="T12" fmla="*/ 2164 w 8"/>
                  <a:gd name="T13" fmla="*/ 5642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2" y="9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7" y="0"/>
                      <a:pt x="8" y="2"/>
                      <a:pt x="8" y="4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471" name="Freeform 186"/>
              <p:cNvSpPr>
                <a:spLocks noChangeArrowheads="1"/>
              </p:cNvSpPr>
              <p:nvPr/>
            </p:nvSpPr>
            <p:spPr bwMode="auto">
              <a:xfrm>
                <a:off x="5415" y="186"/>
                <a:ext cx="13" cy="12"/>
              </a:xfrm>
              <a:custGeom>
                <a:avLst/>
                <a:gdLst>
                  <a:gd name="T0" fmla="*/ 2417 w 9"/>
                  <a:gd name="T1" fmla="*/ 3489 h 9"/>
                  <a:gd name="T2" fmla="*/ 0 w 9"/>
                  <a:gd name="T3" fmla="*/ 1993 h 9"/>
                  <a:gd name="T4" fmla="*/ 0 w 9"/>
                  <a:gd name="T5" fmla="*/ 1495 h 9"/>
                  <a:gd name="T6" fmla="*/ 2417 w 9"/>
                  <a:gd name="T7" fmla="*/ 0 h 9"/>
                  <a:gd name="T8" fmla="*/ 5642 w 9"/>
                  <a:gd name="T9" fmla="*/ 1495 h 9"/>
                  <a:gd name="T10" fmla="*/ 2417 w 9"/>
                  <a:gd name="T11" fmla="*/ 3489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472" name="Freeform 187"/>
              <p:cNvSpPr>
                <a:spLocks noChangeArrowheads="1"/>
              </p:cNvSpPr>
              <p:nvPr/>
            </p:nvSpPr>
            <p:spPr bwMode="auto">
              <a:xfrm>
                <a:off x="5601" y="200"/>
                <a:ext cx="12" cy="13"/>
              </a:xfrm>
              <a:custGeom>
                <a:avLst/>
                <a:gdLst>
                  <a:gd name="T0" fmla="*/ 1993 w 9"/>
                  <a:gd name="T1" fmla="*/ 5642 h 9"/>
                  <a:gd name="T2" fmla="*/ 0 w 9"/>
                  <a:gd name="T3" fmla="*/ 2417 h 9"/>
                  <a:gd name="T4" fmla="*/ 1495 w 9"/>
                  <a:gd name="T5" fmla="*/ 0 h 9"/>
                  <a:gd name="T6" fmla="*/ 1993 w 9"/>
                  <a:gd name="T7" fmla="*/ 0 h 9"/>
                  <a:gd name="T8" fmla="*/ 3489 w 9"/>
                  <a:gd name="T9" fmla="*/ 2417 h 9"/>
                  <a:gd name="T10" fmla="*/ 1993 w 9"/>
                  <a:gd name="T11" fmla="*/ 5642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2" y="9"/>
                      <a:pt x="0" y="7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473" name="Freeform 188"/>
              <p:cNvSpPr>
                <a:spLocks noChangeArrowheads="1"/>
              </p:cNvSpPr>
              <p:nvPr/>
            </p:nvSpPr>
            <p:spPr bwMode="auto">
              <a:xfrm>
                <a:off x="5581" y="186"/>
                <a:ext cx="10" cy="12"/>
              </a:xfrm>
              <a:custGeom>
                <a:avLst/>
                <a:gdLst>
                  <a:gd name="T0" fmla="*/ 868 w 8"/>
                  <a:gd name="T1" fmla="*/ 3489 h 9"/>
                  <a:gd name="T2" fmla="*/ 0 w 8"/>
                  <a:gd name="T3" fmla="*/ 1993 h 9"/>
                  <a:gd name="T4" fmla="*/ 0 w 8"/>
                  <a:gd name="T5" fmla="*/ 1495 h 9"/>
                  <a:gd name="T6" fmla="*/ 868 w 8"/>
                  <a:gd name="T7" fmla="*/ 0 h 9"/>
                  <a:gd name="T8" fmla="*/ 1780 w 8"/>
                  <a:gd name="T9" fmla="*/ 1495 h 9"/>
                  <a:gd name="T10" fmla="*/ 868 w 8"/>
                  <a:gd name="T11" fmla="*/ 3489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474" name="Freeform 189"/>
              <p:cNvSpPr>
                <a:spLocks noChangeArrowheads="1"/>
              </p:cNvSpPr>
              <p:nvPr/>
            </p:nvSpPr>
            <p:spPr bwMode="auto">
              <a:xfrm>
                <a:off x="5559" y="200"/>
                <a:ext cx="13" cy="13"/>
              </a:xfrm>
              <a:custGeom>
                <a:avLst/>
                <a:gdLst>
                  <a:gd name="T0" fmla="*/ 3194 w 9"/>
                  <a:gd name="T1" fmla="*/ 5642 h 9"/>
                  <a:gd name="T2" fmla="*/ 0 w 9"/>
                  <a:gd name="T3" fmla="*/ 2417 h 9"/>
                  <a:gd name="T4" fmla="*/ 0 w 9"/>
                  <a:gd name="T5" fmla="*/ 2417 h 9"/>
                  <a:gd name="T6" fmla="*/ 3194 w 9"/>
                  <a:gd name="T7" fmla="*/ 0 h 9"/>
                  <a:gd name="T8" fmla="*/ 3194 w 9"/>
                  <a:gd name="T9" fmla="*/ 0 h 9"/>
                  <a:gd name="T10" fmla="*/ 7173 w 9"/>
                  <a:gd name="T11" fmla="*/ 2417 h 9"/>
                  <a:gd name="T12" fmla="*/ 3194 w 9"/>
                  <a:gd name="T13" fmla="*/ 5642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2" y="9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475" name="Freeform 190"/>
              <p:cNvSpPr>
                <a:spLocks noChangeArrowheads="1"/>
              </p:cNvSpPr>
              <p:nvPr/>
            </p:nvSpPr>
            <p:spPr bwMode="auto">
              <a:xfrm>
                <a:off x="5538" y="186"/>
                <a:ext cx="12" cy="12"/>
              </a:xfrm>
              <a:custGeom>
                <a:avLst/>
                <a:gdLst>
                  <a:gd name="T0" fmla="*/ 1993 w 9"/>
                  <a:gd name="T1" fmla="*/ 3489 h 9"/>
                  <a:gd name="T2" fmla="*/ 0 w 9"/>
                  <a:gd name="T3" fmla="*/ 1993 h 9"/>
                  <a:gd name="T4" fmla="*/ 0 w 9"/>
                  <a:gd name="T5" fmla="*/ 1495 h 9"/>
                  <a:gd name="T6" fmla="*/ 1993 w 9"/>
                  <a:gd name="T7" fmla="*/ 0 h 9"/>
                  <a:gd name="T8" fmla="*/ 3489 w 9"/>
                  <a:gd name="T9" fmla="*/ 1495 h 9"/>
                  <a:gd name="T10" fmla="*/ 1993 w 9"/>
                  <a:gd name="T11" fmla="*/ 3489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476" name="Freeform 191"/>
              <p:cNvSpPr>
                <a:spLocks noChangeArrowheads="1"/>
              </p:cNvSpPr>
              <p:nvPr/>
            </p:nvSpPr>
            <p:spPr bwMode="auto">
              <a:xfrm>
                <a:off x="5518" y="200"/>
                <a:ext cx="11" cy="13"/>
              </a:xfrm>
              <a:custGeom>
                <a:avLst/>
                <a:gdLst>
                  <a:gd name="T0" fmla="*/ 2164 w 8"/>
                  <a:gd name="T1" fmla="*/ 5642 h 9"/>
                  <a:gd name="T2" fmla="*/ 0 w 8"/>
                  <a:gd name="T3" fmla="*/ 2417 h 9"/>
                  <a:gd name="T4" fmla="*/ 0 w 8"/>
                  <a:gd name="T5" fmla="*/ 2417 h 9"/>
                  <a:gd name="T6" fmla="*/ 2164 w 8"/>
                  <a:gd name="T7" fmla="*/ 0 h 9"/>
                  <a:gd name="T8" fmla="*/ 2164 w 8"/>
                  <a:gd name="T9" fmla="*/ 0 h 9"/>
                  <a:gd name="T10" fmla="*/ 4077 w 8"/>
                  <a:gd name="T11" fmla="*/ 2417 h 9"/>
                  <a:gd name="T12" fmla="*/ 2164 w 8"/>
                  <a:gd name="T13" fmla="*/ 5642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2" y="9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1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477" name="Freeform 192"/>
              <p:cNvSpPr>
                <a:spLocks noChangeArrowheads="1"/>
              </p:cNvSpPr>
              <p:nvPr/>
            </p:nvSpPr>
            <p:spPr bwMode="auto">
              <a:xfrm>
                <a:off x="5498" y="186"/>
                <a:ext cx="12" cy="12"/>
              </a:xfrm>
              <a:custGeom>
                <a:avLst/>
                <a:gdLst>
                  <a:gd name="T0" fmla="*/ 1495 w 9"/>
                  <a:gd name="T1" fmla="*/ 3489 h 9"/>
                  <a:gd name="T2" fmla="*/ 0 w 9"/>
                  <a:gd name="T3" fmla="*/ 1993 h 9"/>
                  <a:gd name="T4" fmla="*/ 0 w 9"/>
                  <a:gd name="T5" fmla="*/ 1495 h 9"/>
                  <a:gd name="T6" fmla="*/ 1495 w 9"/>
                  <a:gd name="T7" fmla="*/ 0 h 9"/>
                  <a:gd name="T8" fmla="*/ 3489 w 9"/>
                  <a:gd name="T9" fmla="*/ 1495 h 9"/>
                  <a:gd name="T10" fmla="*/ 1495 w 9"/>
                  <a:gd name="T11" fmla="*/ 3489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478" name="Oval 193"/>
              <p:cNvSpPr>
                <a:spLocks noChangeArrowheads="1"/>
              </p:cNvSpPr>
              <p:nvPr/>
            </p:nvSpPr>
            <p:spPr bwMode="auto">
              <a:xfrm>
                <a:off x="5455" y="186"/>
                <a:ext cx="13" cy="12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US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479" name="Oval 194"/>
              <p:cNvSpPr>
                <a:spLocks noChangeArrowheads="1"/>
              </p:cNvSpPr>
              <p:nvPr/>
            </p:nvSpPr>
            <p:spPr bwMode="auto">
              <a:xfrm>
                <a:off x="5744" y="186"/>
                <a:ext cx="13" cy="12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US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480" name="Freeform 195"/>
              <p:cNvSpPr>
                <a:spLocks noChangeArrowheads="1"/>
              </p:cNvSpPr>
              <p:nvPr/>
            </p:nvSpPr>
            <p:spPr bwMode="auto">
              <a:xfrm>
                <a:off x="5723" y="200"/>
                <a:ext cx="13" cy="13"/>
              </a:xfrm>
              <a:custGeom>
                <a:avLst/>
                <a:gdLst>
                  <a:gd name="T0" fmla="*/ 3225 w 9"/>
                  <a:gd name="T1" fmla="*/ 5642 h 9"/>
                  <a:gd name="T2" fmla="*/ 0 w 9"/>
                  <a:gd name="T3" fmla="*/ 2417 h 9"/>
                  <a:gd name="T4" fmla="*/ 0 w 9"/>
                  <a:gd name="T5" fmla="*/ 2417 h 9"/>
                  <a:gd name="T6" fmla="*/ 3225 w 9"/>
                  <a:gd name="T7" fmla="*/ 0 h 9"/>
                  <a:gd name="T8" fmla="*/ 3225 w 9"/>
                  <a:gd name="T9" fmla="*/ 0 h 9"/>
                  <a:gd name="T10" fmla="*/ 5642 w 9"/>
                  <a:gd name="T11" fmla="*/ 2417 h 9"/>
                  <a:gd name="T12" fmla="*/ 3225 w 9"/>
                  <a:gd name="T13" fmla="*/ 5642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2" y="9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481" name="Freeform 196"/>
              <p:cNvSpPr>
                <a:spLocks noChangeArrowheads="1"/>
              </p:cNvSpPr>
              <p:nvPr/>
            </p:nvSpPr>
            <p:spPr bwMode="auto">
              <a:xfrm>
                <a:off x="5704" y="186"/>
                <a:ext cx="11" cy="12"/>
              </a:xfrm>
              <a:custGeom>
                <a:avLst/>
                <a:gdLst>
                  <a:gd name="T0" fmla="*/ 2164 w 8"/>
                  <a:gd name="T1" fmla="*/ 3489 h 9"/>
                  <a:gd name="T2" fmla="*/ 0 w 8"/>
                  <a:gd name="T3" fmla="*/ 1993 h 9"/>
                  <a:gd name="T4" fmla="*/ 0 w 8"/>
                  <a:gd name="T5" fmla="*/ 1495 h 9"/>
                  <a:gd name="T6" fmla="*/ 2164 w 8"/>
                  <a:gd name="T7" fmla="*/ 0 h 9"/>
                  <a:gd name="T8" fmla="*/ 4077 w 8"/>
                  <a:gd name="T9" fmla="*/ 1495 h 9"/>
                  <a:gd name="T10" fmla="*/ 2164 w 8"/>
                  <a:gd name="T11" fmla="*/ 3489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482" name="Freeform 197"/>
              <p:cNvSpPr>
                <a:spLocks noChangeArrowheads="1"/>
              </p:cNvSpPr>
              <p:nvPr/>
            </p:nvSpPr>
            <p:spPr bwMode="auto">
              <a:xfrm>
                <a:off x="5683" y="200"/>
                <a:ext cx="13" cy="13"/>
              </a:xfrm>
              <a:custGeom>
                <a:avLst/>
                <a:gdLst>
                  <a:gd name="T0" fmla="*/ 2417 w 9"/>
                  <a:gd name="T1" fmla="*/ 5642 h 9"/>
                  <a:gd name="T2" fmla="*/ 0 w 9"/>
                  <a:gd name="T3" fmla="*/ 2417 h 9"/>
                  <a:gd name="T4" fmla="*/ 2417 w 9"/>
                  <a:gd name="T5" fmla="*/ 0 h 9"/>
                  <a:gd name="T6" fmla="*/ 2417 w 9"/>
                  <a:gd name="T7" fmla="*/ 0 h 9"/>
                  <a:gd name="T8" fmla="*/ 5642 w 9"/>
                  <a:gd name="T9" fmla="*/ 2417 h 9"/>
                  <a:gd name="T10" fmla="*/ 2417 w 9"/>
                  <a:gd name="T11" fmla="*/ 5642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2" y="9"/>
                      <a:pt x="0" y="7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483" name="Freeform 198"/>
              <p:cNvSpPr>
                <a:spLocks noChangeArrowheads="1"/>
              </p:cNvSpPr>
              <p:nvPr/>
            </p:nvSpPr>
            <p:spPr bwMode="auto">
              <a:xfrm>
                <a:off x="5662" y="186"/>
                <a:ext cx="13" cy="12"/>
              </a:xfrm>
              <a:custGeom>
                <a:avLst/>
                <a:gdLst>
                  <a:gd name="T0" fmla="*/ 3860 w 9"/>
                  <a:gd name="T1" fmla="*/ 3489 h 9"/>
                  <a:gd name="T2" fmla="*/ 0 w 9"/>
                  <a:gd name="T3" fmla="*/ 1993 h 9"/>
                  <a:gd name="T4" fmla="*/ 0 w 9"/>
                  <a:gd name="T5" fmla="*/ 1495 h 9"/>
                  <a:gd name="T6" fmla="*/ 3860 w 9"/>
                  <a:gd name="T7" fmla="*/ 0 h 9"/>
                  <a:gd name="T8" fmla="*/ 7173 w 9"/>
                  <a:gd name="T9" fmla="*/ 1495 h 9"/>
                  <a:gd name="T10" fmla="*/ 3860 w 9"/>
                  <a:gd name="T11" fmla="*/ 3489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484" name="Freeform 199"/>
              <p:cNvSpPr>
                <a:spLocks noChangeArrowheads="1"/>
              </p:cNvSpPr>
              <p:nvPr/>
            </p:nvSpPr>
            <p:spPr bwMode="auto">
              <a:xfrm>
                <a:off x="5642" y="200"/>
                <a:ext cx="11" cy="13"/>
              </a:xfrm>
              <a:custGeom>
                <a:avLst/>
                <a:gdLst>
                  <a:gd name="T0" fmla="*/ 2164 w 8"/>
                  <a:gd name="T1" fmla="*/ 5642 h 9"/>
                  <a:gd name="T2" fmla="*/ 0 w 8"/>
                  <a:gd name="T3" fmla="*/ 2417 h 9"/>
                  <a:gd name="T4" fmla="*/ 0 w 8"/>
                  <a:gd name="T5" fmla="*/ 2417 h 9"/>
                  <a:gd name="T6" fmla="*/ 2164 w 8"/>
                  <a:gd name="T7" fmla="*/ 0 h 9"/>
                  <a:gd name="T8" fmla="*/ 2164 w 8"/>
                  <a:gd name="T9" fmla="*/ 0 h 9"/>
                  <a:gd name="T10" fmla="*/ 4077 w 8"/>
                  <a:gd name="T11" fmla="*/ 2417 h 9"/>
                  <a:gd name="T12" fmla="*/ 4077 w 8"/>
                  <a:gd name="T13" fmla="*/ 2417 h 9"/>
                  <a:gd name="T14" fmla="*/ 2164 w 8"/>
                  <a:gd name="T15" fmla="*/ 5642 h 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2" y="9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485" name="Oval 200"/>
              <p:cNvSpPr>
                <a:spLocks noChangeArrowheads="1"/>
              </p:cNvSpPr>
              <p:nvPr/>
            </p:nvSpPr>
            <p:spPr bwMode="auto">
              <a:xfrm>
                <a:off x="5621" y="186"/>
                <a:ext cx="13" cy="12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US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486" name="Freeform 201"/>
              <p:cNvSpPr>
                <a:spLocks noChangeArrowheads="1"/>
              </p:cNvSpPr>
              <p:nvPr/>
            </p:nvSpPr>
            <p:spPr bwMode="auto">
              <a:xfrm>
                <a:off x="5393" y="200"/>
                <a:ext cx="13" cy="13"/>
              </a:xfrm>
              <a:custGeom>
                <a:avLst/>
                <a:gdLst>
                  <a:gd name="T0" fmla="*/ 3225 w 9"/>
                  <a:gd name="T1" fmla="*/ 5642 h 9"/>
                  <a:gd name="T2" fmla="*/ 0 w 9"/>
                  <a:gd name="T3" fmla="*/ 2417 h 9"/>
                  <a:gd name="T4" fmla="*/ 0 w 9"/>
                  <a:gd name="T5" fmla="*/ 2417 h 9"/>
                  <a:gd name="T6" fmla="*/ 3225 w 9"/>
                  <a:gd name="T7" fmla="*/ 0 h 9"/>
                  <a:gd name="T8" fmla="*/ 3225 w 9"/>
                  <a:gd name="T9" fmla="*/ 0 h 9"/>
                  <a:gd name="T10" fmla="*/ 5642 w 9"/>
                  <a:gd name="T11" fmla="*/ 2417 h 9"/>
                  <a:gd name="T12" fmla="*/ 3225 w 9"/>
                  <a:gd name="T13" fmla="*/ 5642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2" y="9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487" name="Freeform 202"/>
              <p:cNvSpPr>
                <a:spLocks noChangeArrowheads="1"/>
              </p:cNvSpPr>
              <p:nvPr/>
            </p:nvSpPr>
            <p:spPr bwMode="auto">
              <a:xfrm>
                <a:off x="5312" y="200"/>
                <a:ext cx="11" cy="13"/>
              </a:xfrm>
              <a:custGeom>
                <a:avLst/>
                <a:gdLst>
                  <a:gd name="T0" fmla="*/ 2164 w 8"/>
                  <a:gd name="T1" fmla="*/ 5642 h 9"/>
                  <a:gd name="T2" fmla="*/ 0 w 8"/>
                  <a:gd name="T3" fmla="*/ 2417 h 9"/>
                  <a:gd name="T4" fmla="*/ 0 w 8"/>
                  <a:gd name="T5" fmla="*/ 2417 h 9"/>
                  <a:gd name="T6" fmla="*/ 2164 w 8"/>
                  <a:gd name="T7" fmla="*/ 0 h 9"/>
                  <a:gd name="T8" fmla="*/ 2164 w 8"/>
                  <a:gd name="T9" fmla="*/ 0 h 9"/>
                  <a:gd name="T10" fmla="*/ 4077 w 8"/>
                  <a:gd name="T11" fmla="*/ 2417 h 9"/>
                  <a:gd name="T12" fmla="*/ 2164 w 8"/>
                  <a:gd name="T13" fmla="*/ 5642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2" y="9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488" name="Freeform 203"/>
              <p:cNvSpPr>
                <a:spLocks noChangeArrowheads="1"/>
              </p:cNvSpPr>
              <p:nvPr/>
            </p:nvSpPr>
            <p:spPr bwMode="auto">
              <a:xfrm>
                <a:off x="5250" y="186"/>
                <a:ext cx="11" cy="12"/>
              </a:xfrm>
              <a:custGeom>
                <a:avLst/>
                <a:gdLst>
                  <a:gd name="T0" fmla="*/ 2164 w 8"/>
                  <a:gd name="T1" fmla="*/ 3489 h 9"/>
                  <a:gd name="T2" fmla="*/ 0 w 8"/>
                  <a:gd name="T3" fmla="*/ 1993 h 9"/>
                  <a:gd name="T4" fmla="*/ 0 w 8"/>
                  <a:gd name="T5" fmla="*/ 1495 h 9"/>
                  <a:gd name="T6" fmla="*/ 2164 w 8"/>
                  <a:gd name="T7" fmla="*/ 0 h 9"/>
                  <a:gd name="T8" fmla="*/ 4077 w 8"/>
                  <a:gd name="T9" fmla="*/ 1495 h 9"/>
                  <a:gd name="T10" fmla="*/ 2164 w 8"/>
                  <a:gd name="T11" fmla="*/ 3489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489" name="Freeform 204"/>
              <p:cNvSpPr>
                <a:spLocks noChangeArrowheads="1"/>
              </p:cNvSpPr>
              <p:nvPr/>
            </p:nvSpPr>
            <p:spPr bwMode="auto">
              <a:xfrm>
                <a:off x="5373" y="186"/>
                <a:ext cx="11" cy="12"/>
              </a:xfrm>
              <a:custGeom>
                <a:avLst/>
                <a:gdLst>
                  <a:gd name="T0" fmla="*/ 2164 w 8"/>
                  <a:gd name="T1" fmla="*/ 3489 h 9"/>
                  <a:gd name="T2" fmla="*/ 0 w 8"/>
                  <a:gd name="T3" fmla="*/ 1993 h 9"/>
                  <a:gd name="T4" fmla="*/ 0 w 8"/>
                  <a:gd name="T5" fmla="*/ 1495 h 9"/>
                  <a:gd name="T6" fmla="*/ 2164 w 8"/>
                  <a:gd name="T7" fmla="*/ 0 h 9"/>
                  <a:gd name="T8" fmla="*/ 4077 w 8"/>
                  <a:gd name="T9" fmla="*/ 1495 h 9"/>
                  <a:gd name="T10" fmla="*/ 2164 w 8"/>
                  <a:gd name="T11" fmla="*/ 3489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490" name="Freeform 205"/>
              <p:cNvSpPr>
                <a:spLocks noChangeArrowheads="1"/>
              </p:cNvSpPr>
              <p:nvPr/>
            </p:nvSpPr>
            <p:spPr bwMode="auto">
              <a:xfrm>
                <a:off x="5291" y="186"/>
                <a:ext cx="13" cy="12"/>
              </a:xfrm>
              <a:custGeom>
                <a:avLst/>
                <a:gdLst>
                  <a:gd name="T0" fmla="*/ 2417 w 9"/>
                  <a:gd name="T1" fmla="*/ 3489 h 9"/>
                  <a:gd name="T2" fmla="*/ 0 w 9"/>
                  <a:gd name="T3" fmla="*/ 1993 h 9"/>
                  <a:gd name="T4" fmla="*/ 0 w 9"/>
                  <a:gd name="T5" fmla="*/ 1495 h 9"/>
                  <a:gd name="T6" fmla="*/ 2417 w 9"/>
                  <a:gd name="T7" fmla="*/ 0 h 9"/>
                  <a:gd name="T8" fmla="*/ 5642 w 9"/>
                  <a:gd name="T9" fmla="*/ 1495 h 9"/>
                  <a:gd name="T10" fmla="*/ 2417 w 9"/>
                  <a:gd name="T11" fmla="*/ 3489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491" name="Freeform 206"/>
              <p:cNvSpPr>
                <a:spLocks noChangeArrowheads="1"/>
              </p:cNvSpPr>
              <p:nvPr/>
            </p:nvSpPr>
            <p:spPr bwMode="auto">
              <a:xfrm>
                <a:off x="5229" y="200"/>
                <a:ext cx="13" cy="13"/>
              </a:xfrm>
              <a:custGeom>
                <a:avLst/>
                <a:gdLst>
                  <a:gd name="T0" fmla="*/ 3194 w 9"/>
                  <a:gd name="T1" fmla="*/ 5642 h 9"/>
                  <a:gd name="T2" fmla="*/ 0 w 9"/>
                  <a:gd name="T3" fmla="*/ 2417 h 9"/>
                  <a:gd name="T4" fmla="*/ 3194 w 9"/>
                  <a:gd name="T5" fmla="*/ 0 h 9"/>
                  <a:gd name="T6" fmla="*/ 3194 w 9"/>
                  <a:gd name="T7" fmla="*/ 0 h 9"/>
                  <a:gd name="T8" fmla="*/ 7173 w 9"/>
                  <a:gd name="T9" fmla="*/ 2417 h 9"/>
                  <a:gd name="T10" fmla="*/ 3194 w 9"/>
                  <a:gd name="T11" fmla="*/ 5642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2" y="9"/>
                      <a:pt x="0" y="7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492" name="Freeform 207"/>
              <p:cNvSpPr>
                <a:spLocks noChangeArrowheads="1"/>
              </p:cNvSpPr>
              <p:nvPr/>
            </p:nvSpPr>
            <p:spPr bwMode="auto">
              <a:xfrm>
                <a:off x="5270" y="200"/>
                <a:ext cx="12" cy="13"/>
              </a:xfrm>
              <a:custGeom>
                <a:avLst/>
                <a:gdLst>
                  <a:gd name="T0" fmla="*/ 1993 w 9"/>
                  <a:gd name="T1" fmla="*/ 5642 h 9"/>
                  <a:gd name="T2" fmla="*/ 0 w 9"/>
                  <a:gd name="T3" fmla="*/ 2417 h 9"/>
                  <a:gd name="T4" fmla="*/ 0 w 9"/>
                  <a:gd name="T5" fmla="*/ 2417 h 9"/>
                  <a:gd name="T6" fmla="*/ 1495 w 9"/>
                  <a:gd name="T7" fmla="*/ 0 h 9"/>
                  <a:gd name="T8" fmla="*/ 1993 w 9"/>
                  <a:gd name="T9" fmla="*/ 0 h 9"/>
                  <a:gd name="T10" fmla="*/ 3489 w 9"/>
                  <a:gd name="T11" fmla="*/ 2417 h 9"/>
                  <a:gd name="T12" fmla="*/ 1993 w 9"/>
                  <a:gd name="T13" fmla="*/ 5642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2" y="9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493" name="Freeform 208"/>
              <p:cNvSpPr>
                <a:spLocks noChangeArrowheads="1"/>
              </p:cNvSpPr>
              <p:nvPr/>
            </p:nvSpPr>
            <p:spPr bwMode="auto">
              <a:xfrm>
                <a:off x="5208" y="186"/>
                <a:ext cx="12" cy="12"/>
              </a:xfrm>
              <a:custGeom>
                <a:avLst/>
                <a:gdLst>
                  <a:gd name="T0" fmla="*/ 1993 w 9"/>
                  <a:gd name="T1" fmla="*/ 3489 h 9"/>
                  <a:gd name="T2" fmla="*/ 0 w 9"/>
                  <a:gd name="T3" fmla="*/ 1993 h 9"/>
                  <a:gd name="T4" fmla="*/ 0 w 9"/>
                  <a:gd name="T5" fmla="*/ 1495 h 9"/>
                  <a:gd name="T6" fmla="*/ 1993 w 9"/>
                  <a:gd name="T7" fmla="*/ 0 h 9"/>
                  <a:gd name="T8" fmla="*/ 3489 w 9"/>
                  <a:gd name="T9" fmla="*/ 1495 h 9"/>
                  <a:gd name="T10" fmla="*/ 1993 w 9"/>
                  <a:gd name="T11" fmla="*/ 3489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494" name="Freeform 209"/>
              <p:cNvSpPr>
                <a:spLocks noChangeArrowheads="1"/>
              </p:cNvSpPr>
              <p:nvPr/>
            </p:nvSpPr>
            <p:spPr bwMode="auto">
              <a:xfrm>
                <a:off x="5601" y="0"/>
                <a:ext cx="12" cy="5"/>
              </a:xfrm>
              <a:custGeom>
                <a:avLst/>
                <a:gdLst>
                  <a:gd name="T0" fmla="*/ 1993 w 9"/>
                  <a:gd name="T1" fmla="*/ 257 h 5"/>
                  <a:gd name="T2" fmla="*/ 1495 w 9"/>
                  <a:gd name="T3" fmla="*/ 257 h 5"/>
                  <a:gd name="T4" fmla="*/ 0 w 9"/>
                  <a:gd name="T5" fmla="*/ 0 h 5"/>
                  <a:gd name="T6" fmla="*/ 0 w 9"/>
                  <a:gd name="T7" fmla="*/ 0 h 5"/>
                  <a:gd name="T8" fmla="*/ 3489 w 9"/>
                  <a:gd name="T9" fmla="*/ 0 h 5"/>
                  <a:gd name="T10" fmla="*/ 3489 w 9"/>
                  <a:gd name="T11" fmla="*/ 0 h 5"/>
                  <a:gd name="T12" fmla="*/ 1993 w 9"/>
                  <a:gd name="T13" fmla="*/ 257 h 5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5">
                    <a:moveTo>
                      <a:pt x="5" y="5"/>
                    </a:moveTo>
                    <a:cubicBezTo>
                      <a:pt x="4" y="5"/>
                      <a:pt x="4" y="5"/>
                      <a:pt x="4" y="5"/>
                    </a:cubicBezTo>
                    <a:cubicBezTo>
                      <a:pt x="2" y="4"/>
                      <a:pt x="0" y="3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9" y="3"/>
                      <a:pt x="7" y="4"/>
                      <a:pt x="5" y="5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495" name="Freeform 210"/>
              <p:cNvSpPr>
                <a:spLocks noChangeArrowheads="1"/>
              </p:cNvSpPr>
              <p:nvPr/>
            </p:nvSpPr>
            <p:spPr bwMode="auto">
              <a:xfrm>
                <a:off x="5601" y="0"/>
                <a:ext cx="12" cy="0"/>
              </a:xfrm>
              <a:custGeom>
                <a:avLst/>
                <a:gdLst>
                  <a:gd name="T0" fmla="*/ 3489 w 9"/>
                  <a:gd name="T1" fmla="*/ 0 w 9"/>
                  <a:gd name="T2" fmla="*/ 0 w 9"/>
                  <a:gd name="T3" fmla="*/ 3489 w 9"/>
                  <a:gd name="T4" fmla="*/ 3489 w 9"/>
                  <a:gd name="T5" fmla="*/ 0 60000 65536"/>
                  <a:gd name="T6" fmla="*/ 0 60000 65536"/>
                  <a:gd name="T7" fmla="*/ 0 60000 65536"/>
                  <a:gd name="T8" fmla="*/ 0 60000 65536"/>
                  <a:gd name="T9" fmla="*/ 0 60000 65536"/>
                </a:gdLst>
                <a:ahLst/>
                <a:cxnLst>
                  <a:cxn ang="T5">
                    <a:pos x="T0" y="0"/>
                  </a:cxn>
                  <a:cxn ang="T6">
                    <a:pos x="T1" y="0"/>
                  </a:cxn>
                  <a:cxn ang="T7">
                    <a:pos x="T2" y="0"/>
                  </a:cxn>
                  <a:cxn ang="T8">
                    <a:pos x="T3" y="0"/>
                  </a:cxn>
                  <a:cxn ang="T9">
                    <a:pos x="T4" y="0"/>
                  </a:cxn>
                </a:cxnLst>
                <a:rect l="0" t="0" r="r" b="b"/>
                <a:pathLst>
                  <a:path w="9">
                    <a:moveTo>
                      <a:pt x="9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9" y="0"/>
                      <a:pt x="9" y="0"/>
                      <a:pt x="9" y="0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496" name="Freeform 211"/>
              <p:cNvSpPr>
                <a:spLocks noChangeArrowheads="1"/>
              </p:cNvSpPr>
              <p:nvPr/>
            </p:nvSpPr>
            <p:spPr bwMode="auto">
              <a:xfrm>
                <a:off x="5723" y="0"/>
                <a:ext cx="13" cy="5"/>
              </a:xfrm>
              <a:custGeom>
                <a:avLst/>
                <a:gdLst>
                  <a:gd name="T0" fmla="*/ 3225 w 9"/>
                  <a:gd name="T1" fmla="*/ 257 h 5"/>
                  <a:gd name="T2" fmla="*/ 3225 w 9"/>
                  <a:gd name="T3" fmla="*/ 257 h 5"/>
                  <a:gd name="T4" fmla="*/ 0 w 9"/>
                  <a:gd name="T5" fmla="*/ 0 h 5"/>
                  <a:gd name="T6" fmla="*/ 0 w 9"/>
                  <a:gd name="T7" fmla="*/ 0 h 5"/>
                  <a:gd name="T8" fmla="*/ 0 w 9"/>
                  <a:gd name="T9" fmla="*/ 0 h 5"/>
                  <a:gd name="T10" fmla="*/ 5642 w 9"/>
                  <a:gd name="T11" fmla="*/ 0 h 5"/>
                  <a:gd name="T12" fmla="*/ 5642 w 9"/>
                  <a:gd name="T13" fmla="*/ 0 h 5"/>
                  <a:gd name="T14" fmla="*/ 3225 w 9"/>
                  <a:gd name="T15" fmla="*/ 257 h 5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9" h="5">
                    <a:moveTo>
                      <a:pt x="5" y="5"/>
                    </a:moveTo>
                    <a:cubicBezTo>
                      <a:pt x="5" y="5"/>
                      <a:pt x="5" y="5"/>
                      <a:pt x="5" y="5"/>
                    </a:cubicBezTo>
                    <a:cubicBezTo>
                      <a:pt x="2" y="4"/>
                      <a:pt x="0" y="3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9" y="3"/>
                      <a:pt x="7" y="4"/>
                      <a:pt x="5" y="5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497" name="Freeform 212"/>
              <p:cNvSpPr>
                <a:spLocks noChangeArrowheads="1"/>
              </p:cNvSpPr>
              <p:nvPr/>
            </p:nvSpPr>
            <p:spPr bwMode="auto">
              <a:xfrm>
                <a:off x="5723" y="0"/>
                <a:ext cx="13" cy="0"/>
              </a:xfrm>
              <a:custGeom>
                <a:avLst/>
                <a:gdLst>
                  <a:gd name="T0" fmla="*/ 5642 w 9"/>
                  <a:gd name="T1" fmla="*/ 0 w 9"/>
                  <a:gd name="T2" fmla="*/ 0 w 9"/>
                  <a:gd name="T3" fmla="*/ 5642 w 9"/>
                  <a:gd name="T4" fmla="*/ 5642 w 9"/>
                  <a:gd name="T5" fmla="*/ 0 60000 65536"/>
                  <a:gd name="T6" fmla="*/ 0 60000 65536"/>
                  <a:gd name="T7" fmla="*/ 0 60000 65536"/>
                  <a:gd name="T8" fmla="*/ 0 60000 65536"/>
                  <a:gd name="T9" fmla="*/ 0 60000 65536"/>
                </a:gdLst>
                <a:ahLst/>
                <a:cxnLst>
                  <a:cxn ang="T5">
                    <a:pos x="T0" y="0"/>
                  </a:cxn>
                  <a:cxn ang="T6">
                    <a:pos x="T1" y="0"/>
                  </a:cxn>
                  <a:cxn ang="T7">
                    <a:pos x="T2" y="0"/>
                  </a:cxn>
                  <a:cxn ang="T8">
                    <a:pos x="T3" y="0"/>
                  </a:cxn>
                  <a:cxn ang="T9">
                    <a:pos x="T4" y="0"/>
                  </a:cxn>
                </a:cxnLst>
                <a:rect l="0" t="0" r="r" b="b"/>
                <a:pathLst>
                  <a:path w="9">
                    <a:moveTo>
                      <a:pt x="9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9" y="0"/>
                      <a:pt x="9" y="0"/>
                      <a:pt x="9" y="0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498" name="Freeform 213"/>
              <p:cNvSpPr>
                <a:spLocks noChangeArrowheads="1"/>
              </p:cNvSpPr>
              <p:nvPr/>
            </p:nvSpPr>
            <p:spPr bwMode="auto">
              <a:xfrm>
                <a:off x="5683" y="0"/>
                <a:ext cx="13" cy="5"/>
              </a:xfrm>
              <a:custGeom>
                <a:avLst/>
                <a:gdLst>
                  <a:gd name="T0" fmla="*/ 3225 w 9"/>
                  <a:gd name="T1" fmla="*/ 257 h 5"/>
                  <a:gd name="T2" fmla="*/ 2417 w 9"/>
                  <a:gd name="T3" fmla="*/ 257 h 5"/>
                  <a:gd name="T4" fmla="*/ 0 w 9"/>
                  <a:gd name="T5" fmla="*/ 0 h 5"/>
                  <a:gd name="T6" fmla="*/ 0 w 9"/>
                  <a:gd name="T7" fmla="*/ 0 h 5"/>
                  <a:gd name="T8" fmla="*/ 5642 w 9"/>
                  <a:gd name="T9" fmla="*/ 0 h 5"/>
                  <a:gd name="T10" fmla="*/ 5642 w 9"/>
                  <a:gd name="T11" fmla="*/ 0 h 5"/>
                  <a:gd name="T12" fmla="*/ 3225 w 9"/>
                  <a:gd name="T13" fmla="*/ 257 h 5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5">
                    <a:moveTo>
                      <a:pt x="5" y="5"/>
                    </a:moveTo>
                    <a:cubicBezTo>
                      <a:pt x="4" y="5"/>
                      <a:pt x="4" y="5"/>
                      <a:pt x="4" y="5"/>
                    </a:cubicBezTo>
                    <a:cubicBezTo>
                      <a:pt x="2" y="4"/>
                      <a:pt x="0" y="3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9" y="3"/>
                      <a:pt x="7" y="4"/>
                      <a:pt x="5" y="5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499" name="Freeform 214"/>
              <p:cNvSpPr>
                <a:spLocks noChangeArrowheads="1"/>
              </p:cNvSpPr>
              <p:nvPr/>
            </p:nvSpPr>
            <p:spPr bwMode="auto">
              <a:xfrm>
                <a:off x="5683" y="0"/>
                <a:ext cx="13" cy="0"/>
              </a:xfrm>
              <a:custGeom>
                <a:avLst/>
                <a:gdLst>
                  <a:gd name="T0" fmla="*/ 5642 w 9"/>
                  <a:gd name="T1" fmla="*/ 0 w 9"/>
                  <a:gd name="T2" fmla="*/ 0 w 9"/>
                  <a:gd name="T3" fmla="*/ 5642 w 9"/>
                  <a:gd name="T4" fmla="*/ 5642 w 9"/>
                  <a:gd name="T5" fmla="*/ 0 60000 65536"/>
                  <a:gd name="T6" fmla="*/ 0 60000 65536"/>
                  <a:gd name="T7" fmla="*/ 0 60000 65536"/>
                  <a:gd name="T8" fmla="*/ 0 60000 65536"/>
                  <a:gd name="T9" fmla="*/ 0 60000 65536"/>
                </a:gdLst>
                <a:ahLst/>
                <a:cxnLst>
                  <a:cxn ang="T5">
                    <a:pos x="T0" y="0"/>
                  </a:cxn>
                  <a:cxn ang="T6">
                    <a:pos x="T1" y="0"/>
                  </a:cxn>
                  <a:cxn ang="T7">
                    <a:pos x="T2" y="0"/>
                  </a:cxn>
                  <a:cxn ang="T8">
                    <a:pos x="T3" y="0"/>
                  </a:cxn>
                  <a:cxn ang="T9">
                    <a:pos x="T4" y="0"/>
                  </a:cxn>
                </a:cxnLst>
                <a:rect l="0" t="0" r="r" b="b"/>
                <a:pathLst>
                  <a:path w="9">
                    <a:moveTo>
                      <a:pt x="9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9" y="0"/>
                      <a:pt x="9" y="0"/>
                      <a:pt x="9" y="0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500" name="Freeform 215"/>
              <p:cNvSpPr>
                <a:spLocks noChangeArrowheads="1"/>
              </p:cNvSpPr>
              <p:nvPr/>
            </p:nvSpPr>
            <p:spPr bwMode="auto">
              <a:xfrm>
                <a:off x="5642" y="0"/>
                <a:ext cx="11" cy="5"/>
              </a:xfrm>
              <a:custGeom>
                <a:avLst/>
                <a:gdLst>
                  <a:gd name="T0" fmla="*/ 2164 w 8"/>
                  <a:gd name="T1" fmla="*/ 257 h 5"/>
                  <a:gd name="T2" fmla="*/ 2164 w 8"/>
                  <a:gd name="T3" fmla="*/ 257 h 5"/>
                  <a:gd name="T4" fmla="*/ 0 w 8"/>
                  <a:gd name="T5" fmla="*/ 0 h 5"/>
                  <a:gd name="T6" fmla="*/ 0 w 8"/>
                  <a:gd name="T7" fmla="*/ 0 h 5"/>
                  <a:gd name="T8" fmla="*/ 0 w 8"/>
                  <a:gd name="T9" fmla="*/ 0 h 5"/>
                  <a:gd name="T10" fmla="*/ 4077 w 8"/>
                  <a:gd name="T11" fmla="*/ 0 h 5"/>
                  <a:gd name="T12" fmla="*/ 4077 w 8"/>
                  <a:gd name="T13" fmla="*/ 0 h 5"/>
                  <a:gd name="T14" fmla="*/ 4077 w 8"/>
                  <a:gd name="T15" fmla="*/ 0 h 5"/>
                  <a:gd name="T16" fmla="*/ 2164 w 8"/>
                  <a:gd name="T17" fmla="*/ 257 h 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8" h="5">
                    <a:moveTo>
                      <a:pt x="4" y="5"/>
                    </a:moveTo>
                    <a:cubicBezTo>
                      <a:pt x="4" y="5"/>
                      <a:pt x="4" y="5"/>
                      <a:pt x="4" y="5"/>
                    </a:cubicBezTo>
                    <a:cubicBezTo>
                      <a:pt x="2" y="4"/>
                      <a:pt x="0" y="3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8" y="3"/>
                      <a:pt x="6" y="4"/>
                      <a:pt x="4" y="5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501" name="Freeform 216"/>
              <p:cNvSpPr>
                <a:spLocks noChangeArrowheads="1"/>
              </p:cNvSpPr>
              <p:nvPr/>
            </p:nvSpPr>
            <p:spPr bwMode="auto">
              <a:xfrm>
                <a:off x="5642" y="0"/>
                <a:ext cx="11" cy="0"/>
              </a:xfrm>
              <a:custGeom>
                <a:avLst/>
                <a:gdLst>
                  <a:gd name="T0" fmla="*/ 4077 w 8"/>
                  <a:gd name="T1" fmla="*/ 0 w 8"/>
                  <a:gd name="T2" fmla="*/ 0 w 8"/>
                  <a:gd name="T3" fmla="*/ 4077 w 8"/>
                  <a:gd name="T4" fmla="*/ 4077 w 8"/>
                  <a:gd name="T5" fmla="*/ 0 60000 65536"/>
                  <a:gd name="T6" fmla="*/ 0 60000 65536"/>
                  <a:gd name="T7" fmla="*/ 0 60000 65536"/>
                  <a:gd name="T8" fmla="*/ 0 60000 65536"/>
                  <a:gd name="T9" fmla="*/ 0 60000 65536"/>
                </a:gdLst>
                <a:ahLst/>
                <a:cxnLst>
                  <a:cxn ang="T5">
                    <a:pos x="T0" y="0"/>
                  </a:cxn>
                  <a:cxn ang="T6">
                    <a:pos x="T1" y="0"/>
                  </a:cxn>
                  <a:cxn ang="T7">
                    <a:pos x="T2" y="0"/>
                  </a:cxn>
                  <a:cxn ang="T8">
                    <a:pos x="T3" y="0"/>
                  </a:cxn>
                  <a:cxn ang="T9">
                    <a:pos x="T4" y="0"/>
                  </a:cxn>
                </a:cxnLst>
                <a:rect l="0" t="0" r="r" b="b"/>
                <a:pathLst>
                  <a:path w="8">
                    <a:moveTo>
                      <a:pt x="8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8" y="0"/>
                      <a:pt x="8" y="0"/>
                      <a:pt x="8" y="0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502" name="Freeform 217"/>
              <p:cNvSpPr>
                <a:spLocks noChangeArrowheads="1"/>
              </p:cNvSpPr>
              <p:nvPr/>
            </p:nvSpPr>
            <p:spPr bwMode="auto">
              <a:xfrm>
                <a:off x="5476" y="221"/>
                <a:ext cx="12" cy="11"/>
              </a:xfrm>
              <a:custGeom>
                <a:avLst/>
                <a:gdLst>
                  <a:gd name="T0" fmla="*/ 1495 w 9"/>
                  <a:gd name="T1" fmla="*/ 4077 h 8"/>
                  <a:gd name="T2" fmla="*/ 0 w 9"/>
                  <a:gd name="T3" fmla="*/ 2164 h 8"/>
                  <a:gd name="T4" fmla="*/ 0 w 9"/>
                  <a:gd name="T5" fmla="*/ 2164 h 8"/>
                  <a:gd name="T6" fmla="*/ 1495 w 9"/>
                  <a:gd name="T7" fmla="*/ 0 h 8"/>
                  <a:gd name="T8" fmla="*/ 3489 w 9"/>
                  <a:gd name="T9" fmla="*/ 2164 h 8"/>
                  <a:gd name="T10" fmla="*/ 1495 w 9"/>
                  <a:gd name="T11" fmla="*/ 4077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8">
                    <a:moveTo>
                      <a:pt x="4" y="8"/>
                    </a:moveTo>
                    <a:cubicBezTo>
                      <a:pt x="2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6"/>
                      <a:pt x="7" y="8"/>
                      <a:pt x="4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503" name="Freeform 218"/>
              <p:cNvSpPr>
                <a:spLocks noChangeArrowheads="1"/>
              </p:cNvSpPr>
              <p:nvPr/>
            </p:nvSpPr>
            <p:spPr bwMode="auto">
              <a:xfrm>
                <a:off x="5415" y="207"/>
                <a:ext cx="13" cy="13"/>
              </a:xfrm>
              <a:custGeom>
                <a:avLst/>
                <a:gdLst>
                  <a:gd name="T0" fmla="*/ 2417 w 9"/>
                  <a:gd name="T1" fmla="*/ 5642 h 9"/>
                  <a:gd name="T2" fmla="*/ 0 w 9"/>
                  <a:gd name="T3" fmla="*/ 2417 h 9"/>
                  <a:gd name="T4" fmla="*/ 0 w 9"/>
                  <a:gd name="T5" fmla="*/ 2417 h 9"/>
                  <a:gd name="T6" fmla="*/ 2417 w 9"/>
                  <a:gd name="T7" fmla="*/ 0 h 9"/>
                  <a:gd name="T8" fmla="*/ 3225 w 9"/>
                  <a:gd name="T9" fmla="*/ 0 h 9"/>
                  <a:gd name="T10" fmla="*/ 5642 w 9"/>
                  <a:gd name="T11" fmla="*/ 2417 h 9"/>
                  <a:gd name="T12" fmla="*/ 2417 w 9"/>
                  <a:gd name="T13" fmla="*/ 5642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2" y="9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504" name="Oval 219"/>
              <p:cNvSpPr>
                <a:spLocks noChangeArrowheads="1"/>
              </p:cNvSpPr>
              <p:nvPr/>
            </p:nvSpPr>
            <p:spPr bwMode="auto">
              <a:xfrm>
                <a:off x="5601" y="221"/>
                <a:ext cx="12" cy="11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US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505" name="Freeform 220"/>
              <p:cNvSpPr>
                <a:spLocks noChangeArrowheads="1"/>
              </p:cNvSpPr>
              <p:nvPr/>
            </p:nvSpPr>
            <p:spPr bwMode="auto">
              <a:xfrm>
                <a:off x="5581" y="207"/>
                <a:ext cx="10" cy="13"/>
              </a:xfrm>
              <a:custGeom>
                <a:avLst/>
                <a:gdLst>
                  <a:gd name="T0" fmla="*/ 868 w 8"/>
                  <a:gd name="T1" fmla="*/ 5642 h 9"/>
                  <a:gd name="T2" fmla="*/ 0 w 8"/>
                  <a:gd name="T3" fmla="*/ 2417 h 9"/>
                  <a:gd name="T4" fmla="*/ 0 w 8"/>
                  <a:gd name="T5" fmla="*/ 2417 h 9"/>
                  <a:gd name="T6" fmla="*/ 868 w 8"/>
                  <a:gd name="T7" fmla="*/ 0 h 9"/>
                  <a:gd name="T8" fmla="*/ 868 w 8"/>
                  <a:gd name="T9" fmla="*/ 0 h 9"/>
                  <a:gd name="T10" fmla="*/ 1780 w 8"/>
                  <a:gd name="T11" fmla="*/ 2417 h 9"/>
                  <a:gd name="T12" fmla="*/ 868 w 8"/>
                  <a:gd name="T13" fmla="*/ 5642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2" y="9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506" name="Freeform 221"/>
              <p:cNvSpPr>
                <a:spLocks noChangeArrowheads="1"/>
              </p:cNvSpPr>
              <p:nvPr/>
            </p:nvSpPr>
            <p:spPr bwMode="auto">
              <a:xfrm>
                <a:off x="5559" y="221"/>
                <a:ext cx="13" cy="11"/>
              </a:xfrm>
              <a:custGeom>
                <a:avLst/>
                <a:gdLst>
                  <a:gd name="T0" fmla="*/ 3194 w 9"/>
                  <a:gd name="T1" fmla="*/ 4077 h 8"/>
                  <a:gd name="T2" fmla="*/ 0 w 9"/>
                  <a:gd name="T3" fmla="*/ 2164 h 8"/>
                  <a:gd name="T4" fmla="*/ 0 w 9"/>
                  <a:gd name="T5" fmla="*/ 2164 h 8"/>
                  <a:gd name="T6" fmla="*/ 3194 w 9"/>
                  <a:gd name="T7" fmla="*/ 0 h 8"/>
                  <a:gd name="T8" fmla="*/ 7173 w 9"/>
                  <a:gd name="T9" fmla="*/ 2164 h 8"/>
                  <a:gd name="T10" fmla="*/ 3194 w 9"/>
                  <a:gd name="T11" fmla="*/ 4077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8">
                    <a:moveTo>
                      <a:pt x="4" y="8"/>
                    </a:moveTo>
                    <a:cubicBezTo>
                      <a:pt x="2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6"/>
                      <a:pt x="7" y="8"/>
                      <a:pt x="4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507" name="Freeform 222"/>
              <p:cNvSpPr>
                <a:spLocks noChangeArrowheads="1"/>
              </p:cNvSpPr>
              <p:nvPr/>
            </p:nvSpPr>
            <p:spPr bwMode="auto">
              <a:xfrm>
                <a:off x="5538" y="207"/>
                <a:ext cx="12" cy="13"/>
              </a:xfrm>
              <a:custGeom>
                <a:avLst/>
                <a:gdLst>
                  <a:gd name="T0" fmla="*/ 1993 w 9"/>
                  <a:gd name="T1" fmla="*/ 5642 h 9"/>
                  <a:gd name="T2" fmla="*/ 0 w 9"/>
                  <a:gd name="T3" fmla="*/ 2417 h 9"/>
                  <a:gd name="T4" fmla="*/ 0 w 9"/>
                  <a:gd name="T5" fmla="*/ 2417 h 9"/>
                  <a:gd name="T6" fmla="*/ 1495 w 9"/>
                  <a:gd name="T7" fmla="*/ 0 h 9"/>
                  <a:gd name="T8" fmla="*/ 1993 w 9"/>
                  <a:gd name="T9" fmla="*/ 0 h 9"/>
                  <a:gd name="T10" fmla="*/ 3489 w 9"/>
                  <a:gd name="T11" fmla="*/ 2417 h 9"/>
                  <a:gd name="T12" fmla="*/ 1993 w 9"/>
                  <a:gd name="T13" fmla="*/ 5642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2" y="9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508" name="Freeform 223"/>
              <p:cNvSpPr>
                <a:spLocks noChangeArrowheads="1"/>
              </p:cNvSpPr>
              <p:nvPr/>
            </p:nvSpPr>
            <p:spPr bwMode="auto">
              <a:xfrm>
                <a:off x="5518" y="221"/>
                <a:ext cx="11" cy="11"/>
              </a:xfrm>
              <a:custGeom>
                <a:avLst/>
                <a:gdLst>
                  <a:gd name="T0" fmla="*/ 2164 w 8"/>
                  <a:gd name="T1" fmla="*/ 4077 h 8"/>
                  <a:gd name="T2" fmla="*/ 0 w 8"/>
                  <a:gd name="T3" fmla="*/ 2164 h 8"/>
                  <a:gd name="T4" fmla="*/ 0 w 8"/>
                  <a:gd name="T5" fmla="*/ 2164 h 8"/>
                  <a:gd name="T6" fmla="*/ 2164 w 8"/>
                  <a:gd name="T7" fmla="*/ 0 h 8"/>
                  <a:gd name="T8" fmla="*/ 4077 w 8"/>
                  <a:gd name="T9" fmla="*/ 2164 h 8"/>
                  <a:gd name="T10" fmla="*/ 2164 w 8"/>
                  <a:gd name="T11" fmla="*/ 4077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8" h="8">
                    <a:moveTo>
                      <a:pt x="4" y="8"/>
                    </a:moveTo>
                    <a:cubicBezTo>
                      <a:pt x="2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6"/>
                      <a:pt x="6" y="8"/>
                      <a:pt x="4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509" name="Freeform 224"/>
              <p:cNvSpPr>
                <a:spLocks noChangeArrowheads="1"/>
              </p:cNvSpPr>
              <p:nvPr/>
            </p:nvSpPr>
            <p:spPr bwMode="auto">
              <a:xfrm>
                <a:off x="5498" y="207"/>
                <a:ext cx="12" cy="13"/>
              </a:xfrm>
              <a:custGeom>
                <a:avLst/>
                <a:gdLst>
                  <a:gd name="T0" fmla="*/ 1495 w 9"/>
                  <a:gd name="T1" fmla="*/ 5642 h 9"/>
                  <a:gd name="T2" fmla="*/ 0 w 9"/>
                  <a:gd name="T3" fmla="*/ 2417 h 9"/>
                  <a:gd name="T4" fmla="*/ 0 w 9"/>
                  <a:gd name="T5" fmla="*/ 2417 h 9"/>
                  <a:gd name="T6" fmla="*/ 1495 w 9"/>
                  <a:gd name="T7" fmla="*/ 0 h 9"/>
                  <a:gd name="T8" fmla="*/ 1495 w 9"/>
                  <a:gd name="T9" fmla="*/ 0 h 9"/>
                  <a:gd name="T10" fmla="*/ 3489 w 9"/>
                  <a:gd name="T11" fmla="*/ 2417 h 9"/>
                  <a:gd name="T12" fmla="*/ 1495 w 9"/>
                  <a:gd name="T13" fmla="*/ 5642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2" y="9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510" name="Freeform 225"/>
              <p:cNvSpPr>
                <a:spLocks noChangeArrowheads="1"/>
              </p:cNvSpPr>
              <p:nvPr/>
            </p:nvSpPr>
            <p:spPr bwMode="auto">
              <a:xfrm>
                <a:off x="5455" y="207"/>
                <a:ext cx="13" cy="13"/>
              </a:xfrm>
              <a:custGeom>
                <a:avLst/>
                <a:gdLst>
                  <a:gd name="T0" fmla="*/ 3225 w 9"/>
                  <a:gd name="T1" fmla="*/ 5642 h 9"/>
                  <a:gd name="T2" fmla="*/ 0 w 9"/>
                  <a:gd name="T3" fmla="*/ 2417 h 9"/>
                  <a:gd name="T4" fmla="*/ 3225 w 9"/>
                  <a:gd name="T5" fmla="*/ 0 h 9"/>
                  <a:gd name="T6" fmla="*/ 3225 w 9"/>
                  <a:gd name="T7" fmla="*/ 0 h 9"/>
                  <a:gd name="T8" fmla="*/ 5642 w 9"/>
                  <a:gd name="T9" fmla="*/ 2417 h 9"/>
                  <a:gd name="T10" fmla="*/ 3225 w 9"/>
                  <a:gd name="T11" fmla="*/ 5642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2" y="9"/>
                      <a:pt x="0" y="7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511" name="Freeform 226"/>
              <p:cNvSpPr>
                <a:spLocks noChangeArrowheads="1"/>
              </p:cNvSpPr>
              <p:nvPr/>
            </p:nvSpPr>
            <p:spPr bwMode="auto">
              <a:xfrm>
                <a:off x="5744" y="207"/>
                <a:ext cx="13" cy="13"/>
              </a:xfrm>
              <a:custGeom>
                <a:avLst/>
                <a:gdLst>
                  <a:gd name="T0" fmla="*/ 3194 w 9"/>
                  <a:gd name="T1" fmla="*/ 5642 h 9"/>
                  <a:gd name="T2" fmla="*/ 0 w 9"/>
                  <a:gd name="T3" fmla="*/ 2417 h 9"/>
                  <a:gd name="T4" fmla="*/ 3194 w 9"/>
                  <a:gd name="T5" fmla="*/ 0 h 9"/>
                  <a:gd name="T6" fmla="*/ 3860 w 9"/>
                  <a:gd name="T7" fmla="*/ 0 h 9"/>
                  <a:gd name="T8" fmla="*/ 7173 w 9"/>
                  <a:gd name="T9" fmla="*/ 2417 h 9"/>
                  <a:gd name="T10" fmla="*/ 3194 w 9"/>
                  <a:gd name="T11" fmla="*/ 5642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2" y="9"/>
                      <a:pt x="0" y="7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512" name="Freeform 227"/>
              <p:cNvSpPr>
                <a:spLocks noChangeArrowheads="1"/>
              </p:cNvSpPr>
              <p:nvPr/>
            </p:nvSpPr>
            <p:spPr bwMode="auto">
              <a:xfrm>
                <a:off x="5723" y="221"/>
                <a:ext cx="13" cy="11"/>
              </a:xfrm>
              <a:custGeom>
                <a:avLst/>
                <a:gdLst>
                  <a:gd name="T0" fmla="*/ 3225 w 9"/>
                  <a:gd name="T1" fmla="*/ 4077 h 8"/>
                  <a:gd name="T2" fmla="*/ 0 w 9"/>
                  <a:gd name="T3" fmla="*/ 2164 h 8"/>
                  <a:gd name="T4" fmla="*/ 0 w 9"/>
                  <a:gd name="T5" fmla="*/ 2164 h 8"/>
                  <a:gd name="T6" fmla="*/ 3225 w 9"/>
                  <a:gd name="T7" fmla="*/ 0 h 8"/>
                  <a:gd name="T8" fmla="*/ 5642 w 9"/>
                  <a:gd name="T9" fmla="*/ 2164 h 8"/>
                  <a:gd name="T10" fmla="*/ 3225 w 9"/>
                  <a:gd name="T11" fmla="*/ 4077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8">
                    <a:moveTo>
                      <a:pt x="5" y="8"/>
                    </a:moveTo>
                    <a:cubicBezTo>
                      <a:pt x="2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6"/>
                      <a:pt x="7" y="8"/>
                      <a:pt x="5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513" name="Freeform 228"/>
              <p:cNvSpPr>
                <a:spLocks noChangeArrowheads="1"/>
              </p:cNvSpPr>
              <p:nvPr/>
            </p:nvSpPr>
            <p:spPr bwMode="auto">
              <a:xfrm>
                <a:off x="5704" y="207"/>
                <a:ext cx="11" cy="13"/>
              </a:xfrm>
              <a:custGeom>
                <a:avLst/>
                <a:gdLst>
                  <a:gd name="T0" fmla="*/ 2164 w 8"/>
                  <a:gd name="T1" fmla="*/ 5642 h 9"/>
                  <a:gd name="T2" fmla="*/ 0 w 8"/>
                  <a:gd name="T3" fmla="*/ 2417 h 9"/>
                  <a:gd name="T4" fmla="*/ 0 w 8"/>
                  <a:gd name="T5" fmla="*/ 2417 h 9"/>
                  <a:gd name="T6" fmla="*/ 2164 w 8"/>
                  <a:gd name="T7" fmla="*/ 0 h 9"/>
                  <a:gd name="T8" fmla="*/ 2164 w 8"/>
                  <a:gd name="T9" fmla="*/ 0 h 9"/>
                  <a:gd name="T10" fmla="*/ 4077 w 8"/>
                  <a:gd name="T11" fmla="*/ 2417 h 9"/>
                  <a:gd name="T12" fmla="*/ 2164 w 8"/>
                  <a:gd name="T13" fmla="*/ 5642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2" y="9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7" y="0"/>
                      <a:pt x="8" y="2"/>
                      <a:pt x="8" y="4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514" name="Oval 229"/>
              <p:cNvSpPr>
                <a:spLocks noChangeArrowheads="1"/>
              </p:cNvSpPr>
              <p:nvPr/>
            </p:nvSpPr>
            <p:spPr bwMode="auto">
              <a:xfrm>
                <a:off x="5683" y="221"/>
                <a:ext cx="13" cy="11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US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515" name="Freeform 230"/>
              <p:cNvSpPr>
                <a:spLocks noChangeArrowheads="1"/>
              </p:cNvSpPr>
              <p:nvPr/>
            </p:nvSpPr>
            <p:spPr bwMode="auto">
              <a:xfrm>
                <a:off x="5662" y="207"/>
                <a:ext cx="13" cy="13"/>
              </a:xfrm>
              <a:custGeom>
                <a:avLst/>
                <a:gdLst>
                  <a:gd name="T0" fmla="*/ 3860 w 9"/>
                  <a:gd name="T1" fmla="*/ 5642 h 9"/>
                  <a:gd name="T2" fmla="*/ 0 w 9"/>
                  <a:gd name="T3" fmla="*/ 2417 h 9"/>
                  <a:gd name="T4" fmla="*/ 0 w 9"/>
                  <a:gd name="T5" fmla="*/ 2417 h 9"/>
                  <a:gd name="T6" fmla="*/ 3860 w 9"/>
                  <a:gd name="T7" fmla="*/ 0 h 9"/>
                  <a:gd name="T8" fmla="*/ 3860 w 9"/>
                  <a:gd name="T9" fmla="*/ 0 h 9"/>
                  <a:gd name="T10" fmla="*/ 7173 w 9"/>
                  <a:gd name="T11" fmla="*/ 2417 h 9"/>
                  <a:gd name="T12" fmla="*/ 3860 w 9"/>
                  <a:gd name="T13" fmla="*/ 5642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2" y="9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516" name="Freeform 231"/>
              <p:cNvSpPr>
                <a:spLocks noChangeArrowheads="1"/>
              </p:cNvSpPr>
              <p:nvPr/>
            </p:nvSpPr>
            <p:spPr bwMode="auto">
              <a:xfrm>
                <a:off x="5642" y="221"/>
                <a:ext cx="11" cy="11"/>
              </a:xfrm>
              <a:custGeom>
                <a:avLst/>
                <a:gdLst>
                  <a:gd name="T0" fmla="*/ 2164 w 8"/>
                  <a:gd name="T1" fmla="*/ 4077 h 8"/>
                  <a:gd name="T2" fmla="*/ 0 w 8"/>
                  <a:gd name="T3" fmla="*/ 2164 h 8"/>
                  <a:gd name="T4" fmla="*/ 0 w 8"/>
                  <a:gd name="T5" fmla="*/ 2164 h 8"/>
                  <a:gd name="T6" fmla="*/ 2164 w 8"/>
                  <a:gd name="T7" fmla="*/ 0 h 8"/>
                  <a:gd name="T8" fmla="*/ 4077 w 8"/>
                  <a:gd name="T9" fmla="*/ 2164 h 8"/>
                  <a:gd name="T10" fmla="*/ 4077 w 8"/>
                  <a:gd name="T11" fmla="*/ 2164 h 8"/>
                  <a:gd name="T12" fmla="*/ 2164 w 8"/>
                  <a:gd name="T13" fmla="*/ 4077 h 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8" h="8">
                    <a:moveTo>
                      <a:pt x="4" y="8"/>
                    </a:moveTo>
                    <a:cubicBezTo>
                      <a:pt x="2" y="8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6"/>
                      <a:pt x="6" y="8"/>
                      <a:pt x="4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517" name="Freeform 232"/>
              <p:cNvSpPr>
                <a:spLocks noChangeArrowheads="1"/>
              </p:cNvSpPr>
              <p:nvPr/>
            </p:nvSpPr>
            <p:spPr bwMode="auto">
              <a:xfrm>
                <a:off x="5621" y="207"/>
                <a:ext cx="13" cy="13"/>
              </a:xfrm>
              <a:custGeom>
                <a:avLst/>
                <a:gdLst>
                  <a:gd name="T0" fmla="*/ 2417 w 9"/>
                  <a:gd name="T1" fmla="*/ 5642 h 9"/>
                  <a:gd name="T2" fmla="*/ 0 w 9"/>
                  <a:gd name="T3" fmla="*/ 2417 h 9"/>
                  <a:gd name="T4" fmla="*/ 2417 w 9"/>
                  <a:gd name="T5" fmla="*/ 0 h 9"/>
                  <a:gd name="T6" fmla="*/ 2417 w 9"/>
                  <a:gd name="T7" fmla="*/ 0 h 9"/>
                  <a:gd name="T8" fmla="*/ 5642 w 9"/>
                  <a:gd name="T9" fmla="*/ 2417 h 9"/>
                  <a:gd name="T10" fmla="*/ 2417 w 9"/>
                  <a:gd name="T11" fmla="*/ 5642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2" y="9"/>
                      <a:pt x="0" y="7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518" name="Freeform 233"/>
              <p:cNvSpPr>
                <a:spLocks noChangeArrowheads="1"/>
              </p:cNvSpPr>
              <p:nvPr/>
            </p:nvSpPr>
            <p:spPr bwMode="auto">
              <a:xfrm>
                <a:off x="5312" y="221"/>
                <a:ext cx="11" cy="11"/>
              </a:xfrm>
              <a:custGeom>
                <a:avLst/>
                <a:gdLst>
                  <a:gd name="T0" fmla="*/ 2164 w 8"/>
                  <a:gd name="T1" fmla="*/ 4077 h 8"/>
                  <a:gd name="T2" fmla="*/ 0 w 8"/>
                  <a:gd name="T3" fmla="*/ 2164 h 8"/>
                  <a:gd name="T4" fmla="*/ 0 w 8"/>
                  <a:gd name="T5" fmla="*/ 2164 h 8"/>
                  <a:gd name="T6" fmla="*/ 2164 w 8"/>
                  <a:gd name="T7" fmla="*/ 0 h 8"/>
                  <a:gd name="T8" fmla="*/ 4077 w 8"/>
                  <a:gd name="T9" fmla="*/ 2164 h 8"/>
                  <a:gd name="T10" fmla="*/ 2164 w 8"/>
                  <a:gd name="T11" fmla="*/ 4077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8" h="8">
                    <a:moveTo>
                      <a:pt x="4" y="8"/>
                    </a:moveTo>
                    <a:cubicBezTo>
                      <a:pt x="2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6"/>
                      <a:pt x="6" y="8"/>
                      <a:pt x="4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519" name="Freeform 234"/>
              <p:cNvSpPr>
                <a:spLocks noChangeArrowheads="1"/>
              </p:cNvSpPr>
              <p:nvPr/>
            </p:nvSpPr>
            <p:spPr bwMode="auto">
              <a:xfrm>
                <a:off x="5250" y="207"/>
                <a:ext cx="11" cy="13"/>
              </a:xfrm>
              <a:custGeom>
                <a:avLst/>
                <a:gdLst>
                  <a:gd name="T0" fmla="*/ 2164 w 8"/>
                  <a:gd name="T1" fmla="*/ 5642 h 9"/>
                  <a:gd name="T2" fmla="*/ 0 w 8"/>
                  <a:gd name="T3" fmla="*/ 2417 h 9"/>
                  <a:gd name="T4" fmla="*/ 0 w 8"/>
                  <a:gd name="T5" fmla="*/ 2417 h 9"/>
                  <a:gd name="T6" fmla="*/ 2164 w 8"/>
                  <a:gd name="T7" fmla="*/ 0 h 9"/>
                  <a:gd name="T8" fmla="*/ 2164 w 8"/>
                  <a:gd name="T9" fmla="*/ 0 h 9"/>
                  <a:gd name="T10" fmla="*/ 4077 w 8"/>
                  <a:gd name="T11" fmla="*/ 2417 h 9"/>
                  <a:gd name="T12" fmla="*/ 2164 w 8"/>
                  <a:gd name="T13" fmla="*/ 5642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2" y="9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1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520" name="Freeform 235"/>
              <p:cNvSpPr>
                <a:spLocks noChangeArrowheads="1"/>
              </p:cNvSpPr>
              <p:nvPr/>
            </p:nvSpPr>
            <p:spPr bwMode="auto">
              <a:xfrm>
                <a:off x="5373" y="207"/>
                <a:ext cx="11" cy="13"/>
              </a:xfrm>
              <a:custGeom>
                <a:avLst/>
                <a:gdLst>
                  <a:gd name="T0" fmla="*/ 2164 w 8"/>
                  <a:gd name="T1" fmla="*/ 5642 h 9"/>
                  <a:gd name="T2" fmla="*/ 0 w 8"/>
                  <a:gd name="T3" fmla="*/ 2417 h 9"/>
                  <a:gd name="T4" fmla="*/ 0 w 8"/>
                  <a:gd name="T5" fmla="*/ 2417 h 9"/>
                  <a:gd name="T6" fmla="*/ 2164 w 8"/>
                  <a:gd name="T7" fmla="*/ 0 h 9"/>
                  <a:gd name="T8" fmla="*/ 2164 w 8"/>
                  <a:gd name="T9" fmla="*/ 0 h 9"/>
                  <a:gd name="T10" fmla="*/ 4077 w 8"/>
                  <a:gd name="T11" fmla="*/ 2417 h 9"/>
                  <a:gd name="T12" fmla="*/ 2164 w 8"/>
                  <a:gd name="T13" fmla="*/ 5642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2" y="9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521" name="Freeform 236"/>
              <p:cNvSpPr>
                <a:spLocks noChangeArrowheads="1"/>
              </p:cNvSpPr>
              <p:nvPr/>
            </p:nvSpPr>
            <p:spPr bwMode="auto">
              <a:xfrm>
                <a:off x="5291" y="207"/>
                <a:ext cx="13" cy="13"/>
              </a:xfrm>
              <a:custGeom>
                <a:avLst/>
                <a:gdLst>
                  <a:gd name="T0" fmla="*/ 2417 w 9"/>
                  <a:gd name="T1" fmla="*/ 5642 h 9"/>
                  <a:gd name="T2" fmla="*/ 0 w 9"/>
                  <a:gd name="T3" fmla="*/ 2417 h 9"/>
                  <a:gd name="T4" fmla="*/ 0 w 9"/>
                  <a:gd name="T5" fmla="*/ 2417 h 9"/>
                  <a:gd name="T6" fmla="*/ 2417 w 9"/>
                  <a:gd name="T7" fmla="*/ 0 h 9"/>
                  <a:gd name="T8" fmla="*/ 2417 w 9"/>
                  <a:gd name="T9" fmla="*/ 0 h 9"/>
                  <a:gd name="T10" fmla="*/ 5642 w 9"/>
                  <a:gd name="T11" fmla="*/ 2417 h 9"/>
                  <a:gd name="T12" fmla="*/ 2417 w 9"/>
                  <a:gd name="T13" fmla="*/ 5642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2" y="9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522" name="Oval 237"/>
              <p:cNvSpPr>
                <a:spLocks noChangeArrowheads="1"/>
              </p:cNvSpPr>
              <p:nvPr/>
            </p:nvSpPr>
            <p:spPr bwMode="auto">
              <a:xfrm>
                <a:off x="5229" y="221"/>
                <a:ext cx="13" cy="11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US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523" name="Freeform 238"/>
              <p:cNvSpPr>
                <a:spLocks noChangeArrowheads="1"/>
              </p:cNvSpPr>
              <p:nvPr/>
            </p:nvSpPr>
            <p:spPr bwMode="auto">
              <a:xfrm>
                <a:off x="5270" y="221"/>
                <a:ext cx="12" cy="11"/>
              </a:xfrm>
              <a:custGeom>
                <a:avLst/>
                <a:gdLst>
                  <a:gd name="T0" fmla="*/ 1993 w 9"/>
                  <a:gd name="T1" fmla="*/ 4077 h 8"/>
                  <a:gd name="T2" fmla="*/ 0 w 9"/>
                  <a:gd name="T3" fmla="*/ 2164 h 8"/>
                  <a:gd name="T4" fmla="*/ 0 w 9"/>
                  <a:gd name="T5" fmla="*/ 2164 h 8"/>
                  <a:gd name="T6" fmla="*/ 1993 w 9"/>
                  <a:gd name="T7" fmla="*/ 0 h 8"/>
                  <a:gd name="T8" fmla="*/ 3489 w 9"/>
                  <a:gd name="T9" fmla="*/ 2164 h 8"/>
                  <a:gd name="T10" fmla="*/ 1993 w 9"/>
                  <a:gd name="T11" fmla="*/ 4077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8">
                    <a:moveTo>
                      <a:pt x="5" y="8"/>
                    </a:moveTo>
                    <a:cubicBezTo>
                      <a:pt x="2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6"/>
                      <a:pt x="7" y="8"/>
                      <a:pt x="5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524" name="Freeform 239"/>
              <p:cNvSpPr>
                <a:spLocks noChangeArrowheads="1"/>
              </p:cNvSpPr>
              <p:nvPr/>
            </p:nvSpPr>
            <p:spPr bwMode="auto">
              <a:xfrm>
                <a:off x="5208" y="207"/>
                <a:ext cx="12" cy="13"/>
              </a:xfrm>
              <a:custGeom>
                <a:avLst/>
                <a:gdLst>
                  <a:gd name="T0" fmla="*/ 1993 w 9"/>
                  <a:gd name="T1" fmla="*/ 5642 h 9"/>
                  <a:gd name="T2" fmla="*/ 0 w 9"/>
                  <a:gd name="T3" fmla="*/ 2417 h 9"/>
                  <a:gd name="T4" fmla="*/ 0 w 9"/>
                  <a:gd name="T5" fmla="*/ 2417 h 9"/>
                  <a:gd name="T6" fmla="*/ 1495 w 9"/>
                  <a:gd name="T7" fmla="*/ 0 h 9"/>
                  <a:gd name="T8" fmla="*/ 1993 w 9"/>
                  <a:gd name="T9" fmla="*/ 0 h 9"/>
                  <a:gd name="T10" fmla="*/ 3489 w 9"/>
                  <a:gd name="T11" fmla="*/ 2417 h 9"/>
                  <a:gd name="T12" fmla="*/ 1993 w 9"/>
                  <a:gd name="T13" fmla="*/ 5642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2" y="9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525" name="Freeform 240"/>
              <p:cNvSpPr>
                <a:spLocks noChangeArrowheads="1"/>
              </p:cNvSpPr>
              <p:nvPr/>
            </p:nvSpPr>
            <p:spPr bwMode="auto">
              <a:xfrm>
                <a:off x="5476" y="242"/>
                <a:ext cx="12" cy="11"/>
              </a:xfrm>
              <a:custGeom>
                <a:avLst/>
                <a:gdLst>
                  <a:gd name="T0" fmla="*/ 1993 w 9"/>
                  <a:gd name="T1" fmla="*/ 4077 h 8"/>
                  <a:gd name="T2" fmla="*/ 1495 w 9"/>
                  <a:gd name="T3" fmla="*/ 4077 h 8"/>
                  <a:gd name="T4" fmla="*/ 0 w 9"/>
                  <a:gd name="T5" fmla="*/ 2164 h 8"/>
                  <a:gd name="T6" fmla="*/ 0 w 9"/>
                  <a:gd name="T7" fmla="*/ 2164 h 8"/>
                  <a:gd name="T8" fmla="*/ 1495 w 9"/>
                  <a:gd name="T9" fmla="*/ 0 h 8"/>
                  <a:gd name="T10" fmla="*/ 3489 w 9"/>
                  <a:gd name="T11" fmla="*/ 2164 h 8"/>
                  <a:gd name="T12" fmla="*/ 1993 w 9"/>
                  <a:gd name="T13" fmla="*/ 4077 h 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8">
                    <a:moveTo>
                      <a:pt x="5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7" y="0"/>
                      <a:pt x="9" y="1"/>
                      <a:pt x="9" y="4"/>
                    </a:cubicBezTo>
                    <a:cubicBezTo>
                      <a:pt x="9" y="6"/>
                      <a:pt x="7" y="8"/>
                      <a:pt x="5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526" name="Freeform 241"/>
              <p:cNvSpPr>
                <a:spLocks noChangeArrowheads="1"/>
              </p:cNvSpPr>
              <p:nvPr/>
            </p:nvSpPr>
            <p:spPr bwMode="auto">
              <a:xfrm>
                <a:off x="5435" y="242"/>
                <a:ext cx="11" cy="11"/>
              </a:xfrm>
              <a:custGeom>
                <a:avLst/>
                <a:gdLst>
                  <a:gd name="T0" fmla="*/ 2164 w 8"/>
                  <a:gd name="T1" fmla="*/ 4077 h 8"/>
                  <a:gd name="T2" fmla="*/ 2164 w 8"/>
                  <a:gd name="T3" fmla="*/ 4077 h 8"/>
                  <a:gd name="T4" fmla="*/ 0 w 8"/>
                  <a:gd name="T5" fmla="*/ 2164 h 8"/>
                  <a:gd name="T6" fmla="*/ 0 w 8"/>
                  <a:gd name="T7" fmla="*/ 2164 h 8"/>
                  <a:gd name="T8" fmla="*/ 2164 w 8"/>
                  <a:gd name="T9" fmla="*/ 0 h 8"/>
                  <a:gd name="T10" fmla="*/ 4077 w 8"/>
                  <a:gd name="T11" fmla="*/ 2164 h 8"/>
                  <a:gd name="T12" fmla="*/ 2164 w 8"/>
                  <a:gd name="T13" fmla="*/ 4077 h 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8" h="8">
                    <a:moveTo>
                      <a:pt x="4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6" y="0"/>
                      <a:pt x="8" y="1"/>
                      <a:pt x="8" y="4"/>
                    </a:cubicBezTo>
                    <a:cubicBezTo>
                      <a:pt x="8" y="6"/>
                      <a:pt x="7" y="8"/>
                      <a:pt x="4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527" name="Freeform 242"/>
              <p:cNvSpPr>
                <a:spLocks noChangeArrowheads="1"/>
              </p:cNvSpPr>
              <p:nvPr/>
            </p:nvSpPr>
            <p:spPr bwMode="auto">
              <a:xfrm>
                <a:off x="5331" y="229"/>
                <a:ext cx="13" cy="10"/>
              </a:xfrm>
              <a:custGeom>
                <a:avLst/>
                <a:gdLst>
                  <a:gd name="T0" fmla="*/ 3860 w 9"/>
                  <a:gd name="T1" fmla="*/ 1780 h 8"/>
                  <a:gd name="T2" fmla="*/ 0 w 9"/>
                  <a:gd name="T3" fmla="*/ 868 h 8"/>
                  <a:gd name="T4" fmla="*/ 0 w 9"/>
                  <a:gd name="T5" fmla="*/ 868 h 8"/>
                  <a:gd name="T6" fmla="*/ 3860 w 9"/>
                  <a:gd name="T7" fmla="*/ 0 h 8"/>
                  <a:gd name="T8" fmla="*/ 7173 w 9"/>
                  <a:gd name="T9" fmla="*/ 868 h 8"/>
                  <a:gd name="T10" fmla="*/ 3860 w 9"/>
                  <a:gd name="T11" fmla="*/ 1780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8">
                    <a:moveTo>
                      <a:pt x="5" y="8"/>
                    </a:moveTo>
                    <a:cubicBezTo>
                      <a:pt x="2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6"/>
                      <a:pt x="7" y="8"/>
                      <a:pt x="5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528" name="Freeform 243"/>
              <p:cNvSpPr>
                <a:spLocks noChangeArrowheads="1"/>
              </p:cNvSpPr>
              <p:nvPr/>
            </p:nvSpPr>
            <p:spPr bwMode="auto">
              <a:xfrm>
                <a:off x="5601" y="242"/>
                <a:ext cx="12" cy="11"/>
              </a:xfrm>
              <a:custGeom>
                <a:avLst/>
                <a:gdLst>
                  <a:gd name="T0" fmla="*/ 1993 w 9"/>
                  <a:gd name="T1" fmla="*/ 4077 h 8"/>
                  <a:gd name="T2" fmla="*/ 1495 w 9"/>
                  <a:gd name="T3" fmla="*/ 4077 h 8"/>
                  <a:gd name="T4" fmla="*/ 0 w 9"/>
                  <a:gd name="T5" fmla="*/ 2164 h 8"/>
                  <a:gd name="T6" fmla="*/ 1993 w 9"/>
                  <a:gd name="T7" fmla="*/ 0 h 8"/>
                  <a:gd name="T8" fmla="*/ 3489 w 9"/>
                  <a:gd name="T9" fmla="*/ 2164 h 8"/>
                  <a:gd name="T10" fmla="*/ 1993 w 9"/>
                  <a:gd name="T11" fmla="*/ 4077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8">
                    <a:moveTo>
                      <a:pt x="5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0" y="6"/>
                      <a:pt x="0" y="4"/>
                    </a:cubicBezTo>
                    <a:cubicBezTo>
                      <a:pt x="0" y="1"/>
                      <a:pt x="2" y="0"/>
                      <a:pt x="5" y="0"/>
                    </a:cubicBezTo>
                    <a:cubicBezTo>
                      <a:pt x="7" y="0"/>
                      <a:pt x="9" y="1"/>
                      <a:pt x="9" y="4"/>
                    </a:cubicBezTo>
                    <a:cubicBezTo>
                      <a:pt x="9" y="6"/>
                      <a:pt x="7" y="8"/>
                      <a:pt x="5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529" name="Freeform 244"/>
              <p:cNvSpPr>
                <a:spLocks noChangeArrowheads="1"/>
              </p:cNvSpPr>
              <p:nvPr/>
            </p:nvSpPr>
            <p:spPr bwMode="auto">
              <a:xfrm>
                <a:off x="5581" y="229"/>
                <a:ext cx="10" cy="10"/>
              </a:xfrm>
              <a:custGeom>
                <a:avLst/>
                <a:gdLst>
                  <a:gd name="T0" fmla="*/ 868 w 8"/>
                  <a:gd name="T1" fmla="*/ 1780 h 8"/>
                  <a:gd name="T2" fmla="*/ 0 w 8"/>
                  <a:gd name="T3" fmla="*/ 868 h 8"/>
                  <a:gd name="T4" fmla="*/ 0 w 8"/>
                  <a:gd name="T5" fmla="*/ 868 h 8"/>
                  <a:gd name="T6" fmla="*/ 868 w 8"/>
                  <a:gd name="T7" fmla="*/ 0 h 8"/>
                  <a:gd name="T8" fmla="*/ 1780 w 8"/>
                  <a:gd name="T9" fmla="*/ 868 h 8"/>
                  <a:gd name="T10" fmla="*/ 868 w 8"/>
                  <a:gd name="T11" fmla="*/ 1780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8" h="8">
                    <a:moveTo>
                      <a:pt x="4" y="8"/>
                    </a:moveTo>
                    <a:cubicBezTo>
                      <a:pt x="2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6"/>
                      <a:pt x="6" y="8"/>
                      <a:pt x="4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530" name="Freeform 245"/>
              <p:cNvSpPr>
                <a:spLocks noChangeArrowheads="1"/>
              </p:cNvSpPr>
              <p:nvPr/>
            </p:nvSpPr>
            <p:spPr bwMode="auto">
              <a:xfrm>
                <a:off x="5559" y="242"/>
                <a:ext cx="13" cy="11"/>
              </a:xfrm>
              <a:custGeom>
                <a:avLst/>
                <a:gdLst>
                  <a:gd name="T0" fmla="*/ 3194 w 9"/>
                  <a:gd name="T1" fmla="*/ 4077 h 8"/>
                  <a:gd name="T2" fmla="*/ 3194 w 9"/>
                  <a:gd name="T3" fmla="*/ 4077 h 8"/>
                  <a:gd name="T4" fmla="*/ 0 w 9"/>
                  <a:gd name="T5" fmla="*/ 2164 h 8"/>
                  <a:gd name="T6" fmla="*/ 0 w 9"/>
                  <a:gd name="T7" fmla="*/ 2164 h 8"/>
                  <a:gd name="T8" fmla="*/ 3194 w 9"/>
                  <a:gd name="T9" fmla="*/ 0 h 8"/>
                  <a:gd name="T10" fmla="*/ 7173 w 9"/>
                  <a:gd name="T11" fmla="*/ 2164 h 8"/>
                  <a:gd name="T12" fmla="*/ 3194 w 9"/>
                  <a:gd name="T13" fmla="*/ 4077 h 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8">
                    <a:moveTo>
                      <a:pt x="4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7" y="0"/>
                      <a:pt x="9" y="1"/>
                      <a:pt x="9" y="4"/>
                    </a:cubicBezTo>
                    <a:cubicBezTo>
                      <a:pt x="9" y="6"/>
                      <a:pt x="7" y="8"/>
                      <a:pt x="4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531" name="Freeform 246"/>
              <p:cNvSpPr>
                <a:spLocks noChangeArrowheads="1"/>
              </p:cNvSpPr>
              <p:nvPr/>
            </p:nvSpPr>
            <p:spPr bwMode="auto">
              <a:xfrm>
                <a:off x="5538" y="229"/>
                <a:ext cx="12" cy="10"/>
              </a:xfrm>
              <a:custGeom>
                <a:avLst/>
                <a:gdLst>
                  <a:gd name="T0" fmla="*/ 1993 w 9"/>
                  <a:gd name="T1" fmla="*/ 1780 h 8"/>
                  <a:gd name="T2" fmla="*/ 0 w 9"/>
                  <a:gd name="T3" fmla="*/ 868 h 8"/>
                  <a:gd name="T4" fmla="*/ 0 w 9"/>
                  <a:gd name="T5" fmla="*/ 868 h 8"/>
                  <a:gd name="T6" fmla="*/ 1993 w 9"/>
                  <a:gd name="T7" fmla="*/ 0 h 8"/>
                  <a:gd name="T8" fmla="*/ 3489 w 9"/>
                  <a:gd name="T9" fmla="*/ 868 h 8"/>
                  <a:gd name="T10" fmla="*/ 1993 w 9"/>
                  <a:gd name="T11" fmla="*/ 1780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8">
                    <a:moveTo>
                      <a:pt x="5" y="8"/>
                    </a:moveTo>
                    <a:cubicBezTo>
                      <a:pt x="2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6"/>
                      <a:pt x="7" y="8"/>
                      <a:pt x="5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532" name="Freeform 247"/>
              <p:cNvSpPr>
                <a:spLocks noChangeArrowheads="1"/>
              </p:cNvSpPr>
              <p:nvPr/>
            </p:nvSpPr>
            <p:spPr bwMode="auto">
              <a:xfrm>
                <a:off x="5518" y="242"/>
                <a:ext cx="11" cy="11"/>
              </a:xfrm>
              <a:custGeom>
                <a:avLst/>
                <a:gdLst>
                  <a:gd name="T0" fmla="*/ 2164 w 8"/>
                  <a:gd name="T1" fmla="*/ 4077 h 8"/>
                  <a:gd name="T2" fmla="*/ 2164 w 8"/>
                  <a:gd name="T3" fmla="*/ 4077 h 8"/>
                  <a:gd name="T4" fmla="*/ 0 w 8"/>
                  <a:gd name="T5" fmla="*/ 2164 h 8"/>
                  <a:gd name="T6" fmla="*/ 0 w 8"/>
                  <a:gd name="T7" fmla="*/ 2164 h 8"/>
                  <a:gd name="T8" fmla="*/ 2164 w 8"/>
                  <a:gd name="T9" fmla="*/ 0 h 8"/>
                  <a:gd name="T10" fmla="*/ 4077 w 8"/>
                  <a:gd name="T11" fmla="*/ 2164 h 8"/>
                  <a:gd name="T12" fmla="*/ 2164 w 8"/>
                  <a:gd name="T13" fmla="*/ 4077 h 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8" h="8">
                    <a:moveTo>
                      <a:pt x="4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1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6" y="0"/>
                      <a:pt x="8" y="1"/>
                      <a:pt x="8" y="4"/>
                    </a:cubicBezTo>
                    <a:cubicBezTo>
                      <a:pt x="8" y="6"/>
                      <a:pt x="6" y="8"/>
                      <a:pt x="4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533" name="Freeform 248"/>
              <p:cNvSpPr>
                <a:spLocks noChangeArrowheads="1"/>
              </p:cNvSpPr>
              <p:nvPr/>
            </p:nvSpPr>
            <p:spPr bwMode="auto">
              <a:xfrm>
                <a:off x="5498" y="229"/>
                <a:ext cx="12" cy="10"/>
              </a:xfrm>
              <a:custGeom>
                <a:avLst/>
                <a:gdLst>
                  <a:gd name="T0" fmla="*/ 1495 w 9"/>
                  <a:gd name="T1" fmla="*/ 1780 h 8"/>
                  <a:gd name="T2" fmla="*/ 0 w 9"/>
                  <a:gd name="T3" fmla="*/ 868 h 8"/>
                  <a:gd name="T4" fmla="*/ 0 w 9"/>
                  <a:gd name="T5" fmla="*/ 868 h 8"/>
                  <a:gd name="T6" fmla="*/ 1495 w 9"/>
                  <a:gd name="T7" fmla="*/ 0 h 8"/>
                  <a:gd name="T8" fmla="*/ 3489 w 9"/>
                  <a:gd name="T9" fmla="*/ 868 h 8"/>
                  <a:gd name="T10" fmla="*/ 1495 w 9"/>
                  <a:gd name="T11" fmla="*/ 1780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8">
                    <a:moveTo>
                      <a:pt x="4" y="8"/>
                    </a:moveTo>
                    <a:cubicBezTo>
                      <a:pt x="2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6"/>
                      <a:pt x="7" y="8"/>
                      <a:pt x="4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534" name="Oval 249"/>
              <p:cNvSpPr>
                <a:spLocks noChangeArrowheads="1"/>
              </p:cNvSpPr>
              <p:nvPr/>
            </p:nvSpPr>
            <p:spPr bwMode="auto">
              <a:xfrm>
                <a:off x="5455" y="229"/>
                <a:ext cx="13" cy="10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US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535" name="Oval 250"/>
              <p:cNvSpPr>
                <a:spLocks noChangeArrowheads="1"/>
              </p:cNvSpPr>
              <p:nvPr/>
            </p:nvSpPr>
            <p:spPr bwMode="auto">
              <a:xfrm>
                <a:off x="5744" y="229"/>
                <a:ext cx="13" cy="10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US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536" name="Freeform 251"/>
              <p:cNvSpPr>
                <a:spLocks noChangeArrowheads="1"/>
              </p:cNvSpPr>
              <p:nvPr/>
            </p:nvSpPr>
            <p:spPr bwMode="auto">
              <a:xfrm>
                <a:off x="5723" y="242"/>
                <a:ext cx="13" cy="11"/>
              </a:xfrm>
              <a:custGeom>
                <a:avLst/>
                <a:gdLst>
                  <a:gd name="T0" fmla="*/ 3225 w 9"/>
                  <a:gd name="T1" fmla="*/ 4077 h 8"/>
                  <a:gd name="T2" fmla="*/ 3225 w 9"/>
                  <a:gd name="T3" fmla="*/ 4077 h 8"/>
                  <a:gd name="T4" fmla="*/ 0 w 9"/>
                  <a:gd name="T5" fmla="*/ 2164 h 8"/>
                  <a:gd name="T6" fmla="*/ 0 w 9"/>
                  <a:gd name="T7" fmla="*/ 2164 h 8"/>
                  <a:gd name="T8" fmla="*/ 3225 w 9"/>
                  <a:gd name="T9" fmla="*/ 0 h 8"/>
                  <a:gd name="T10" fmla="*/ 5642 w 9"/>
                  <a:gd name="T11" fmla="*/ 2164 h 8"/>
                  <a:gd name="T12" fmla="*/ 3225 w 9"/>
                  <a:gd name="T13" fmla="*/ 4077 h 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8">
                    <a:moveTo>
                      <a:pt x="5" y="8"/>
                    </a:moveTo>
                    <a:cubicBezTo>
                      <a:pt x="5" y="8"/>
                      <a:pt x="5" y="8"/>
                      <a:pt x="5" y="8"/>
                    </a:cubicBezTo>
                    <a:cubicBezTo>
                      <a:pt x="2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1"/>
                      <a:pt x="2" y="0"/>
                      <a:pt x="5" y="0"/>
                    </a:cubicBezTo>
                    <a:cubicBezTo>
                      <a:pt x="7" y="0"/>
                      <a:pt x="9" y="1"/>
                      <a:pt x="9" y="4"/>
                    </a:cubicBezTo>
                    <a:cubicBezTo>
                      <a:pt x="9" y="6"/>
                      <a:pt x="7" y="8"/>
                      <a:pt x="5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537" name="Freeform 252"/>
              <p:cNvSpPr>
                <a:spLocks noChangeArrowheads="1"/>
              </p:cNvSpPr>
              <p:nvPr/>
            </p:nvSpPr>
            <p:spPr bwMode="auto">
              <a:xfrm>
                <a:off x="5704" y="229"/>
                <a:ext cx="11" cy="10"/>
              </a:xfrm>
              <a:custGeom>
                <a:avLst/>
                <a:gdLst>
                  <a:gd name="T0" fmla="*/ 2164 w 8"/>
                  <a:gd name="T1" fmla="*/ 1780 h 8"/>
                  <a:gd name="T2" fmla="*/ 0 w 8"/>
                  <a:gd name="T3" fmla="*/ 868 h 8"/>
                  <a:gd name="T4" fmla="*/ 0 w 8"/>
                  <a:gd name="T5" fmla="*/ 868 h 8"/>
                  <a:gd name="T6" fmla="*/ 2164 w 8"/>
                  <a:gd name="T7" fmla="*/ 0 h 8"/>
                  <a:gd name="T8" fmla="*/ 4077 w 8"/>
                  <a:gd name="T9" fmla="*/ 868 h 8"/>
                  <a:gd name="T10" fmla="*/ 2164 w 8"/>
                  <a:gd name="T11" fmla="*/ 1780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8" h="8">
                    <a:moveTo>
                      <a:pt x="4" y="8"/>
                    </a:moveTo>
                    <a:cubicBezTo>
                      <a:pt x="2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6"/>
                      <a:pt x="6" y="8"/>
                      <a:pt x="4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538" name="Freeform 253"/>
              <p:cNvSpPr>
                <a:spLocks noChangeArrowheads="1"/>
              </p:cNvSpPr>
              <p:nvPr/>
            </p:nvSpPr>
            <p:spPr bwMode="auto">
              <a:xfrm>
                <a:off x="5683" y="242"/>
                <a:ext cx="13" cy="11"/>
              </a:xfrm>
              <a:custGeom>
                <a:avLst/>
                <a:gdLst>
                  <a:gd name="T0" fmla="*/ 2417 w 9"/>
                  <a:gd name="T1" fmla="*/ 4077 h 8"/>
                  <a:gd name="T2" fmla="*/ 2417 w 9"/>
                  <a:gd name="T3" fmla="*/ 4077 h 8"/>
                  <a:gd name="T4" fmla="*/ 0 w 9"/>
                  <a:gd name="T5" fmla="*/ 2164 h 8"/>
                  <a:gd name="T6" fmla="*/ 2417 w 9"/>
                  <a:gd name="T7" fmla="*/ 0 h 8"/>
                  <a:gd name="T8" fmla="*/ 5642 w 9"/>
                  <a:gd name="T9" fmla="*/ 2164 h 8"/>
                  <a:gd name="T10" fmla="*/ 2417 w 9"/>
                  <a:gd name="T11" fmla="*/ 4077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8">
                    <a:moveTo>
                      <a:pt x="4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0" y="6"/>
                      <a:pt x="0" y="4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7" y="0"/>
                      <a:pt x="9" y="1"/>
                      <a:pt x="9" y="4"/>
                    </a:cubicBezTo>
                    <a:cubicBezTo>
                      <a:pt x="9" y="6"/>
                      <a:pt x="7" y="8"/>
                      <a:pt x="4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539" name="Freeform 254"/>
              <p:cNvSpPr>
                <a:spLocks noChangeArrowheads="1"/>
              </p:cNvSpPr>
              <p:nvPr/>
            </p:nvSpPr>
            <p:spPr bwMode="auto">
              <a:xfrm>
                <a:off x="5662" y="229"/>
                <a:ext cx="13" cy="10"/>
              </a:xfrm>
              <a:custGeom>
                <a:avLst/>
                <a:gdLst>
                  <a:gd name="T0" fmla="*/ 3860 w 9"/>
                  <a:gd name="T1" fmla="*/ 1780 h 8"/>
                  <a:gd name="T2" fmla="*/ 0 w 9"/>
                  <a:gd name="T3" fmla="*/ 868 h 8"/>
                  <a:gd name="T4" fmla="*/ 0 w 9"/>
                  <a:gd name="T5" fmla="*/ 868 h 8"/>
                  <a:gd name="T6" fmla="*/ 3860 w 9"/>
                  <a:gd name="T7" fmla="*/ 0 h 8"/>
                  <a:gd name="T8" fmla="*/ 7173 w 9"/>
                  <a:gd name="T9" fmla="*/ 868 h 8"/>
                  <a:gd name="T10" fmla="*/ 3860 w 9"/>
                  <a:gd name="T11" fmla="*/ 1780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8">
                    <a:moveTo>
                      <a:pt x="5" y="8"/>
                    </a:moveTo>
                    <a:cubicBezTo>
                      <a:pt x="2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6"/>
                      <a:pt x="7" y="8"/>
                      <a:pt x="5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540" name="Freeform 255"/>
              <p:cNvSpPr>
                <a:spLocks noChangeArrowheads="1"/>
              </p:cNvSpPr>
              <p:nvPr/>
            </p:nvSpPr>
            <p:spPr bwMode="auto">
              <a:xfrm>
                <a:off x="5642" y="242"/>
                <a:ext cx="11" cy="11"/>
              </a:xfrm>
              <a:custGeom>
                <a:avLst/>
                <a:gdLst>
                  <a:gd name="T0" fmla="*/ 2164 w 8"/>
                  <a:gd name="T1" fmla="*/ 4077 h 8"/>
                  <a:gd name="T2" fmla="*/ 2164 w 8"/>
                  <a:gd name="T3" fmla="*/ 4077 h 8"/>
                  <a:gd name="T4" fmla="*/ 0 w 8"/>
                  <a:gd name="T5" fmla="*/ 2164 h 8"/>
                  <a:gd name="T6" fmla="*/ 0 w 8"/>
                  <a:gd name="T7" fmla="*/ 2164 h 8"/>
                  <a:gd name="T8" fmla="*/ 2164 w 8"/>
                  <a:gd name="T9" fmla="*/ 0 h 8"/>
                  <a:gd name="T10" fmla="*/ 4077 w 8"/>
                  <a:gd name="T11" fmla="*/ 2164 h 8"/>
                  <a:gd name="T12" fmla="*/ 4077 w 8"/>
                  <a:gd name="T13" fmla="*/ 2164 h 8"/>
                  <a:gd name="T14" fmla="*/ 2164 w 8"/>
                  <a:gd name="T15" fmla="*/ 4077 h 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8" h="8">
                    <a:moveTo>
                      <a:pt x="4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6" y="0"/>
                      <a:pt x="8" y="1"/>
                      <a:pt x="8" y="4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6"/>
                      <a:pt x="6" y="8"/>
                      <a:pt x="4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541" name="Oval 256"/>
              <p:cNvSpPr>
                <a:spLocks noChangeArrowheads="1"/>
              </p:cNvSpPr>
              <p:nvPr/>
            </p:nvSpPr>
            <p:spPr bwMode="auto">
              <a:xfrm>
                <a:off x="5621" y="229"/>
                <a:ext cx="13" cy="10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US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542" name="Freeform 257"/>
              <p:cNvSpPr>
                <a:spLocks noChangeArrowheads="1"/>
              </p:cNvSpPr>
              <p:nvPr/>
            </p:nvSpPr>
            <p:spPr bwMode="auto">
              <a:xfrm>
                <a:off x="5312" y="242"/>
                <a:ext cx="11" cy="11"/>
              </a:xfrm>
              <a:custGeom>
                <a:avLst/>
                <a:gdLst>
                  <a:gd name="T0" fmla="*/ 2164 w 8"/>
                  <a:gd name="T1" fmla="*/ 4077 h 8"/>
                  <a:gd name="T2" fmla="*/ 2164 w 8"/>
                  <a:gd name="T3" fmla="*/ 4077 h 8"/>
                  <a:gd name="T4" fmla="*/ 0 w 8"/>
                  <a:gd name="T5" fmla="*/ 2164 h 8"/>
                  <a:gd name="T6" fmla="*/ 0 w 8"/>
                  <a:gd name="T7" fmla="*/ 2164 h 8"/>
                  <a:gd name="T8" fmla="*/ 2164 w 8"/>
                  <a:gd name="T9" fmla="*/ 0 h 8"/>
                  <a:gd name="T10" fmla="*/ 4077 w 8"/>
                  <a:gd name="T11" fmla="*/ 2164 h 8"/>
                  <a:gd name="T12" fmla="*/ 2164 w 8"/>
                  <a:gd name="T13" fmla="*/ 4077 h 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8" h="8">
                    <a:moveTo>
                      <a:pt x="4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6" y="0"/>
                      <a:pt x="8" y="1"/>
                      <a:pt x="8" y="4"/>
                    </a:cubicBezTo>
                    <a:cubicBezTo>
                      <a:pt x="8" y="6"/>
                      <a:pt x="6" y="8"/>
                      <a:pt x="4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543" name="Freeform 258"/>
              <p:cNvSpPr>
                <a:spLocks noChangeArrowheads="1"/>
              </p:cNvSpPr>
              <p:nvPr/>
            </p:nvSpPr>
            <p:spPr bwMode="auto">
              <a:xfrm>
                <a:off x="5250" y="229"/>
                <a:ext cx="11" cy="10"/>
              </a:xfrm>
              <a:custGeom>
                <a:avLst/>
                <a:gdLst>
                  <a:gd name="T0" fmla="*/ 2164 w 8"/>
                  <a:gd name="T1" fmla="*/ 1780 h 8"/>
                  <a:gd name="T2" fmla="*/ 0 w 8"/>
                  <a:gd name="T3" fmla="*/ 868 h 8"/>
                  <a:gd name="T4" fmla="*/ 0 w 8"/>
                  <a:gd name="T5" fmla="*/ 868 h 8"/>
                  <a:gd name="T6" fmla="*/ 2164 w 8"/>
                  <a:gd name="T7" fmla="*/ 0 h 8"/>
                  <a:gd name="T8" fmla="*/ 4077 w 8"/>
                  <a:gd name="T9" fmla="*/ 868 h 8"/>
                  <a:gd name="T10" fmla="*/ 2164 w 8"/>
                  <a:gd name="T11" fmla="*/ 1780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8" h="8">
                    <a:moveTo>
                      <a:pt x="4" y="8"/>
                    </a:moveTo>
                    <a:cubicBezTo>
                      <a:pt x="2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6"/>
                      <a:pt x="6" y="8"/>
                      <a:pt x="4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544" name="Freeform 259"/>
              <p:cNvSpPr>
                <a:spLocks noChangeArrowheads="1"/>
              </p:cNvSpPr>
              <p:nvPr/>
            </p:nvSpPr>
            <p:spPr bwMode="auto">
              <a:xfrm>
                <a:off x="5291" y="229"/>
                <a:ext cx="13" cy="10"/>
              </a:xfrm>
              <a:custGeom>
                <a:avLst/>
                <a:gdLst>
                  <a:gd name="T0" fmla="*/ 2417 w 9"/>
                  <a:gd name="T1" fmla="*/ 1780 h 8"/>
                  <a:gd name="T2" fmla="*/ 0 w 9"/>
                  <a:gd name="T3" fmla="*/ 868 h 8"/>
                  <a:gd name="T4" fmla="*/ 0 w 9"/>
                  <a:gd name="T5" fmla="*/ 868 h 8"/>
                  <a:gd name="T6" fmla="*/ 2417 w 9"/>
                  <a:gd name="T7" fmla="*/ 0 h 8"/>
                  <a:gd name="T8" fmla="*/ 5642 w 9"/>
                  <a:gd name="T9" fmla="*/ 868 h 8"/>
                  <a:gd name="T10" fmla="*/ 2417 w 9"/>
                  <a:gd name="T11" fmla="*/ 1780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8">
                    <a:moveTo>
                      <a:pt x="4" y="8"/>
                    </a:moveTo>
                    <a:cubicBezTo>
                      <a:pt x="2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6"/>
                      <a:pt x="7" y="8"/>
                      <a:pt x="4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545" name="Freeform 260"/>
              <p:cNvSpPr>
                <a:spLocks noChangeArrowheads="1"/>
              </p:cNvSpPr>
              <p:nvPr/>
            </p:nvSpPr>
            <p:spPr bwMode="auto">
              <a:xfrm>
                <a:off x="5229" y="242"/>
                <a:ext cx="13" cy="11"/>
              </a:xfrm>
              <a:custGeom>
                <a:avLst/>
                <a:gdLst>
                  <a:gd name="T0" fmla="*/ 3194 w 9"/>
                  <a:gd name="T1" fmla="*/ 4077 h 8"/>
                  <a:gd name="T2" fmla="*/ 3194 w 9"/>
                  <a:gd name="T3" fmla="*/ 4077 h 8"/>
                  <a:gd name="T4" fmla="*/ 0 w 9"/>
                  <a:gd name="T5" fmla="*/ 2164 h 8"/>
                  <a:gd name="T6" fmla="*/ 3194 w 9"/>
                  <a:gd name="T7" fmla="*/ 0 h 8"/>
                  <a:gd name="T8" fmla="*/ 7173 w 9"/>
                  <a:gd name="T9" fmla="*/ 2164 h 8"/>
                  <a:gd name="T10" fmla="*/ 3194 w 9"/>
                  <a:gd name="T11" fmla="*/ 4077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8">
                    <a:moveTo>
                      <a:pt x="4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0" y="6"/>
                      <a:pt x="0" y="4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7" y="0"/>
                      <a:pt x="9" y="1"/>
                      <a:pt x="9" y="4"/>
                    </a:cubicBezTo>
                    <a:cubicBezTo>
                      <a:pt x="9" y="6"/>
                      <a:pt x="7" y="8"/>
                      <a:pt x="4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546" name="Freeform 261"/>
              <p:cNvSpPr>
                <a:spLocks noChangeArrowheads="1"/>
              </p:cNvSpPr>
              <p:nvPr/>
            </p:nvSpPr>
            <p:spPr bwMode="auto">
              <a:xfrm>
                <a:off x="5085" y="229"/>
                <a:ext cx="13" cy="10"/>
              </a:xfrm>
              <a:custGeom>
                <a:avLst/>
                <a:gdLst>
                  <a:gd name="T0" fmla="*/ 2417 w 9"/>
                  <a:gd name="T1" fmla="*/ 1780 h 8"/>
                  <a:gd name="T2" fmla="*/ 0 w 9"/>
                  <a:gd name="T3" fmla="*/ 868 h 8"/>
                  <a:gd name="T4" fmla="*/ 0 w 9"/>
                  <a:gd name="T5" fmla="*/ 868 h 8"/>
                  <a:gd name="T6" fmla="*/ 2417 w 9"/>
                  <a:gd name="T7" fmla="*/ 0 h 8"/>
                  <a:gd name="T8" fmla="*/ 5642 w 9"/>
                  <a:gd name="T9" fmla="*/ 868 h 8"/>
                  <a:gd name="T10" fmla="*/ 2417 w 9"/>
                  <a:gd name="T11" fmla="*/ 1780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8">
                    <a:moveTo>
                      <a:pt x="4" y="8"/>
                    </a:moveTo>
                    <a:cubicBezTo>
                      <a:pt x="2" y="8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6"/>
                      <a:pt x="7" y="8"/>
                      <a:pt x="4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547" name="Freeform 262"/>
              <p:cNvSpPr>
                <a:spLocks noChangeArrowheads="1"/>
              </p:cNvSpPr>
              <p:nvPr/>
            </p:nvSpPr>
            <p:spPr bwMode="auto">
              <a:xfrm>
                <a:off x="5270" y="242"/>
                <a:ext cx="12" cy="11"/>
              </a:xfrm>
              <a:custGeom>
                <a:avLst/>
                <a:gdLst>
                  <a:gd name="T0" fmla="*/ 1993 w 9"/>
                  <a:gd name="T1" fmla="*/ 4077 h 8"/>
                  <a:gd name="T2" fmla="*/ 1495 w 9"/>
                  <a:gd name="T3" fmla="*/ 4077 h 8"/>
                  <a:gd name="T4" fmla="*/ 0 w 9"/>
                  <a:gd name="T5" fmla="*/ 2164 h 8"/>
                  <a:gd name="T6" fmla="*/ 0 w 9"/>
                  <a:gd name="T7" fmla="*/ 2164 h 8"/>
                  <a:gd name="T8" fmla="*/ 1993 w 9"/>
                  <a:gd name="T9" fmla="*/ 0 h 8"/>
                  <a:gd name="T10" fmla="*/ 3489 w 9"/>
                  <a:gd name="T11" fmla="*/ 2164 h 8"/>
                  <a:gd name="T12" fmla="*/ 1993 w 9"/>
                  <a:gd name="T13" fmla="*/ 4077 h 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8">
                    <a:moveTo>
                      <a:pt x="5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1"/>
                      <a:pt x="2" y="0"/>
                      <a:pt x="5" y="0"/>
                    </a:cubicBezTo>
                    <a:cubicBezTo>
                      <a:pt x="7" y="0"/>
                      <a:pt x="9" y="1"/>
                      <a:pt x="9" y="4"/>
                    </a:cubicBezTo>
                    <a:cubicBezTo>
                      <a:pt x="9" y="6"/>
                      <a:pt x="7" y="8"/>
                      <a:pt x="5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548" name="Freeform 263"/>
              <p:cNvSpPr>
                <a:spLocks noChangeArrowheads="1"/>
              </p:cNvSpPr>
              <p:nvPr/>
            </p:nvSpPr>
            <p:spPr bwMode="auto">
              <a:xfrm>
                <a:off x="5208" y="229"/>
                <a:ext cx="12" cy="10"/>
              </a:xfrm>
              <a:custGeom>
                <a:avLst/>
                <a:gdLst>
                  <a:gd name="T0" fmla="*/ 1993 w 9"/>
                  <a:gd name="T1" fmla="*/ 1780 h 8"/>
                  <a:gd name="T2" fmla="*/ 0 w 9"/>
                  <a:gd name="T3" fmla="*/ 868 h 8"/>
                  <a:gd name="T4" fmla="*/ 0 w 9"/>
                  <a:gd name="T5" fmla="*/ 868 h 8"/>
                  <a:gd name="T6" fmla="*/ 1993 w 9"/>
                  <a:gd name="T7" fmla="*/ 0 h 8"/>
                  <a:gd name="T8" fmla="*/ 3489 w 9"/>
                  <a:gd name="T9" fmla="*/ 868 h 8"/>
                  <a:gd name="T10" fmla="*/ 1993 w 9"/>
                  <a:gd name="T11" fmla="*/ 1780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8">
                    <a:moveTo>
                      <a:pt x="5" y="8"/>
                    </a:moveTo>
                    <a:cubicBezTo>
                      <a:pt x="2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6"/>
                      <a:pt x="7" y="8"/>
                      <a:pt x="5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549" name="Freeform 264"/>
              <p:cNvSpPr>
                <a:spLocks noChangeArrowheads="1"/>
              </p:cNvSpPr>
              <p:nvPr/>
            </p:nvSpPr>
            <p:spPr bwMode="auto">
              <a:xfrm>
                <a:off x="5063" y="242"/>
                <a:ext cx="13" cy="11"/>
              </a:xfrm>
              <a:custGeom>
                <a:avLst/>
                <a:gdLst>
                  <a:gd name="T0" fmla="*/ 3860 w 9"/>
                  <a:gd name="T1" fmla="*/ 4077 h 8"/>
                  <a:gd name="T2" fmla="*/ 3860 w 9"/>
                  <a:gd name="T3" fmla="*/ 4077 h 8"/>
                  <a:gd name="T4" fmla="*/ 0 w 9"/>
                  <a:gd name="T5" fmla="*/ 2164 h 8"/>
                  <a:gd name="T6" fmla="*/ 0 w 9"/>
                  <a:gd name="T7" fmla="*/ 2164 h 8"/>
                  <a:gd name="T8" fmla="*/ 3860 w 9"/>
                  <a:gd name="T9" fmla="*/ 0 h 8"/>
                  <a:gd name="T10" fmla="*/ 7173 w 9"/>
                  <a:gd name="T11" fmla="*/ 2164 h 8"/>
                  <a:gd name="T12" fmla="*/ 3860 w 9"/>
                  <a:gd name="T13" fmla="*/ 4077 h 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8">
                    <a:moveTo>
                      <a:pt x="5" y="8"/>
                    </a:moveTo>
                    <a:cubicBezTo>
                      <a:pt x="5" y="8"/>
                      <a:pt x="5" y="8"/>
                      <a:pt x="5" y="8"/>
                    </a:cubicBezTo>
                    <a:cubicBezTo>
                      <a:pt x="2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1"/>
                      <a:pt x="2" y="0"/>
                      <a:pt x="5" y="0"/>
                    </a:cubicBezTo>
                    <a:cubicBezTo>
                      <a:pt x="7" y="0"/>
                      <a:pt x="9" y="1"/>
                      <a:pt x="9" y="4"/>
                    </a:cubicBezTo>
                    <a:cubicBezTo>
                      <a:pt x="9" y="6"/>
                      <a:pt x="7" y="8"/>
                      <a:pt x="5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550" name="Freeform 265"/>
              <p:cNvSpPr>
                <a:spLocks noChangeArrowheads="1"/>
              </p:cNvSpPr>
              <p:nvPr/>
            </p:nvSpPr>
            <p:spPr bwMode="auto">
              <a:xfrm>
                <a:off x="5476" y="262"/>
                <a:ext cx="12" cy="13"/>
              </a:xfrm>
              <a:custGeom>
                <a:avLst/>
                <a:gdLst>
                  <a:gd name="T0" fmla="*/ 1495 w 9"/>
                  <a:gd name="T1" fmla="*/ 7173 h 9"/>
                  <a:gd name="T2" fmla="*/ 0 w 9"/>
                  <a:gd name="T3" fmla="*/ 3860 h 9"/>
                  <a:gd name="T4" fmla="*/ 0 w 9"/>
                  <a:gd name="T5" fmla="*/ 3860 h 9"/>
                  <a:gd name="T6" fmla="*/ 1495 w 9"/>
                  <a:gd name="T7" fmla="*/ 0 h 9"/>
                  <a:gd name="T8" fmla="*/ 1993 w 9"/>
                  <a:gd name="T9" fmla="*/ 0 h 9"/>
                  <a:gd name="T10" fmla="*/ 3489 w 9"/>
                  <a:gd name="T11" fmla="*/ 3860 h 9"/>
                  <a:gd name="T12" fmla="*/ 1495 w 9"/>
                  <a:gd name="T13" fmla="*/ 7173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7" y="0"/>
                      <a:pt x="9" y="2"/>
                      <a:pt x="9" y="5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551" name="Freeform 266"/>
              <p:cNvSpPr>
                <a:spLocks noChangeArrowheads="1"/>
              </p:cNvSpPr>
              <p:nvPr/>
            </p:nvSpPr>
            <p:spPr bwMode="auto">
              <a:xfrm>
                <a:off x="5435" y="262"/>
                <a:ext cx="11" cy="13"/>
              </a:xfrm>
              <a:custGeom>
                <a:avLst/>
                <a:gdLst>
                  <a:gd name="T0" fmla="*/ 2164 w 8"/>
                  <a:gd name="T1" fmla="*/ 7173 h 9"/>
                  <a:gd name="T2" fmla="*/ 0 w 8"/>
                  <a:gd name="T3" fmla="*/ 3860 h 9"/>
                  <a:gd name="T4" fmla="*/ 0 w 8"/>
                  <a:gd name="T5" fmla="*/ 3860 h 9"/>
                  <a:gd name="T6" fmla="*/ 2164 w 8"/>
                  <a:gd name="T7" fmla="*/ 0 h 9"/>
                  <a:gd name="T8" fmla="*/ 2164 w 8"/>
                  <a:gd name="T9" fmla="*/ 0 h 9"/>
                  <a:gd name="T10" fmla="*/ 4077 w 8"/>
                  <a:gd name="T11" fmla="*/ 3860 h 9"/>
                  <a:gd name="T12" fmla="*/ 2164 w 8"/>
                  <a:gd name="T13" fmla="*/ 7173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7" y="0"/>
                      <a:pt x="8" y="2"/>
                      <a:pt x="8" y="5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552" name="Freeform 267"/>
              <p:cNvSpPr>
                <a:spLocks noChangeArrowheads="1"/>
              </p:cNvSpPr>
              <p:nvPr/>
            </p:nvSpPr>
            <p:spPr bwMode="auto">
              <a:xfrm>
                <a:off x="5415" y="248"/>
                <a:ext cx="13" cy="12"/>
              </a:xfrm>
              <a:custGeom>
                <a:avLst/>
                <a:gdLst>
                  <a:gd name="T0" fmla="*/ 2417 w 9"/>
                  <a:gd name="T1" fmla="*/ 3489 h 9"/>
                  <a:gd name="T2" fmla="*/ 0 w 9"/>
                  <a:gd name="T3" fmla="*/ 1993 h 9"/>
                  <a:gd name="T4" fmla="*/ 0 w 9"/>
                  <a:gd name="T5" fmla="*/ 1993 h 9"/>
                  <a:gd name="T6" fmla="*/ 2417 w 9"/>
                  <a:gd name="T7" fmla="*/ 0 h 9"/>
                  <a:gd name="T8" fmla="*/ 5642 w 9"/>
                  <a:gd name="T9" fmla="*/ 1993 h 9"/>
                  <a:gd name="T10" fmla="*/ 2417 w 9"/>
                  <a:gd name="T11" fmla="*/ 3489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5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553" name="Freeform 268"/>
              <p:cNvSpPr>
                <a:spLocks noChangeArrowheads="1"/>
              </p:cNvSpPr>
              <p:nvPr/>
            </p:nvSpPr>
            <p:spPr bwMode="auto">
              <a:xfrm>
                <a:off x="5601" y="262"/>
                <a:ext cx="12" cy="13"/>
              </a:xfrm>
              <a:custGeom>
                <a:avLst/>
                <a:gdLst>
                  <a:gd name="T0" fmla="*/ 1993 w 9"/>
                  <a:gd name="T1" fmla="*/ 7173 h 9"/>
                  <a:gd name="T2" fmla="*/ 0 w 9"/>
                  <a:gd name="T3" fmla="*/ 3860 h 9"/>
                  <a:gd name="T4" fmla="*/ 1495 w 9"/>
                  <a:gd name="T5" fmla="*/ 0 h 9"/>
                  <a:gd name="T6" fmla="*/ 1993 w 9"/>
                  <a:gd name="T7" fmla="*/ 0 h 9"/>
                  <a:gd name="T8" fmla="*/ 3489 w 9"/>
                  <a:gd name="T9" fmla="*/ 3860 h 9"/>
                  <a:gd name="T10" fmla="*/ 1993 w 9"/>
                  <a:gd name="T11" fmla="*/ 7173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7" y="0"/>
                      <a:pt x="9" y="2"/>
                      <a:pt x="9" y="5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554" name="Freeform 269"/>
              <p:cNvSpPr>
                <a:spLocks noChangeArrowheads="1"/>
              </p:cNvSpPr>
              <p:nvPr/>
            </p:nvSpPr>
            <p:spPr bwMode="auto">
              <a:xfrm>
                <a:off x="5581" y="248"/>
                <a:ext cx="10" cy="12"/>
              </a:xfrm>
              <a:custGeom>
                <a:avLst/>
                <a:gdLst>
                  <a:gd name="T0" fmla="*/ 868 w 8"/>
                  <a:gd name="T1" fmla="*/ 3489 h 9"/>
                  <a:gd name="T2" fmla="*/ 0 w 8"/>
                  <a:gd name="T3" fmla="*/ 1993 h 9"/>
                  <a:gd name="T4" fmla="*/ 0 w 8"/>
                  <a:gd name="T5" fmla="*/ 1993 h 9"/>
                  <a:gd name="T6" fmla="*/ 868 w 8"/>
                  <a:gd name="T7" fmla="*/ 0 h 9"/>
                  <a:gd name="T8" fmla="*/ 1780 w 8"/>
                  <a:gd name="T9" fmla="*/ 1993 h 9"/>
                  <a:gd name="T10" fmla="*/ 868 w 8"/>
                  <a:gd name="T11" fmla="*/ 3489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5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555" name="Freeform 270"/>
              <p:cNvSpPr>
                <a:spLocks noChangeArrowheads="1"/>
              </p:cNvSpPr>
              <p:nvPr/>
            </p:nvSpPr>
            <p:spPr bwMode="auto">
              <a:xfrm>
                <a:off x="5559" y="262"/>
                <a:ext cx="13" cy="13"/>
              </a:xfrm>
              <a:custGeom>
                <a:avLst/>
                <a:gdLst>
                  <a:gd name="T0" fmla="*/ 3194 w 9"/>
                  <a:gd name="T1" fmla="*/ 7173 h 9"/>
                  <a:gd name="T2" fmla="*/ 0 w 9"/>
                  <a:gd name="T3" fmla="*/ 3860 h 9"/>
                  <a:gd name="T4" fmla="*/ 0 w 9"/>
                  <a:gd name="T5" fmla="*/ 3860 h 9"/>
                  <a:gd name="T6" fmla="*/ 3194 w 9"/>
                  <a:gd name="T7" fmla="*/ 0 h 9"/>
                  <a:gd name="T8" fmla="*/ 3194 w 9"/>
                  <a:gd name="T9" fmla="*/ 0 h 9"/>
                  <a:gd name="T10" fmla="*/ 7173 w 9"/>
                  <a:gd name="T11" fmla="*/ 3860 h 9"/>
                  <a:gd name="T12" fmla="*/ 3194 w 9"/>
                  <a:gd name="T13" fmla="*/ 7173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7" y="0"/>
                      <a:pt x="9" y="2"/>
                      <a:pt x="9" y="5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556" name="Freeform 271"/>
              <p:cNvSpPr>
                <a:spLocks noChangeArrowheads="1"/>
              </p:cNvSpPr>
              <p:nvPr/>
            </p:nvSpPr>
            <p:spPr bwMode="auto">
              <a:xfrm>
                <a:off x="5538" y="248"/>
                <a:ext cx="12" cy="12"/>
              </a:xfrm>
              <a:custGeom>
                <a:avLst/>
                <a:gdLst>
                  <a:gd name="T0" fmla="*/ 1993 w 9"/>
                  <a:gd name="T1" fmla="*/ 3489 h 9"/>
                  <a:gd name="T2" fmla="*/ 0 w 9"/>
                  <a:gd name="T3" fmla="*/ 1993 h 9"/>
                  <a:gd name="T4" fmla="*/ 0 w 9"/>
                  <a:gd name="T5" fmla="*/ 1993 h 9"/>
                  <a:gd name="T6" fmla="*/ 1993 w 9"/>
                  <a:gd name="T7" fmla="*/ 0 h 9"/>
                  <a:gd name="T8" fmla="*/ 3489 w 9"/>
                  <a:gd name="T9" fmla="*/ 1993 h 9"/>
                  <a:gd name="T10" fmla="*/ 1993 w 9"/>
                  <a:gd name="T11" fmla="*/ 3489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5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557" name="Freeform 272"/>
              <p:cNvSpPr>
                <a:spLocks noChangeArrowheads="1"/>
              </p:cNvSpPr>
              <p:nvPr/>
            </p:nvSpPr>
            <p:spPr bwMode="auto">
              <a:xfrm>
                <a:off x="5518" y="262"/>
                <a:ext cx="11" cy="13"/>
              </a:xfrm>
              <a:custGeom>
                <a:avLst/>
                <a:gdLst>
                  <a:gd name="T0" fmla="*/ 2164 w 8"/>
                  <a:gd name="T1" fmla="*/ 7173 h 9"/>
                  <a:gd name="T2" fmla="*/ 0 w 8"/>
                  <a:gd name="T3" fmla="*/ 3860 h 9"/>
                  <a:gd name="T4" fmla="*/ 0 w 8"/>
                  <a:gd name="T5" fmla="*/ 3860 h 9"/>
                  <a:gd name="T6" fmla="*/ 2164 w 8"/>
                  <a:gd name="T7" fmla="*/ 0 h 9"/>
                  <a:gd name="T8" fmla="*/ 2164 w 8"/>
                  <a:gd name="T9" fmla="*/ 0 h 9"/>
                  <a:gd name="T10" fmla="*/ 4077 w 8"/>
                  <a:gd name="T11" fmla="*/ 3860 h 9"/>
                  <a:gd name="T12" fmla="*/ 2164 w 8"/>
                  <a:gd name="T13" fmla="*/ 7173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1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6" y="0"/>
                      <a:pt x="8" y="2"/>
                      <a:pt x="8" y="5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558" name="Freeform 273"/>
              <p:cNvSpPr>
                <a:spLocks noChangeArrowheads="1"/>
              </p:cNvSpPr>
              <p:nvPr/>
            </p:nvSpPr>
            <p:spPr bwMode="auto">
              <a:xfrm>
                <a:off x="5498" y="248"/>
                <a:ext cx="12" cy="12"/>
              </a:xfrm>
              <a:custGeom>
                <a:avLst/>
                <a:gdLst>
                  <a:gd name="T0" fmla="*/ 1495 w 9"/>
                  <a:gd name="T1" fmla="*/ 3489 h 9"/>
                  <a:gd name="T2" fmla="*/ 0 w 9"/>
                  <a:gd name="T3" fmla="*/ 1993 h 9"/>
                  <a:gd name="T4" fmla="*/ 0 w 9"/>
                  <a:gd name="T5" fmla="*/ 1993 h 9"/>
                  <a:gd name="T6" fmla="*/ 1495 w 9"/>
                  <a:gd name="T7" fmla="*/ 0 h 9"/>
                  <a:gd name="T8" fmla="*/ 3489 w 9"/>
                  <a:gd name="T9" fmla="*/ 1993 h 9"/>
                  <a:gd name="T10" fmla="*/ 1495 w 9"/>
                  <a:gd name="T11" fmla="*/ 3489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5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559" name="Oval 274"/>
              <p:cNvSpPr>
                <a:spLocks noChangeArrowheads="1"/>
              </p:cNvSpPr>
              <p:nvPr/>
            </p:nvSpPr>
            <p:spPr bwMode="auto">
              <a:xfrm>
                <a:off x="5455" y="248"/>
                <a:ext cx="13" cy="12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US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560" name="Oval 275"/>
              <p:cNvSpPr>
                <a:spLocks noChangeArrowheads="1"/>
              </p:cNvSpPr>
              <p:nvPr/>
            </p:nvSpPr>
            <p:spPr bwMode="auto">
              <a:xfrm>
                <a:off x="5744" y="248"/>
                <a:ext cx="13" cy="12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US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561" name="Freeform 276"/>
              <p:cNvSpPr>
                <a:spLocks noChangeArrowheads="1"/>
              </p:cNvSpPr>
              <p:nvPr/>
            </p:nvSpPr>
            <p:spPr bwMode="auto">
              <a:xfrm>
                <a:off x="5723" y="262"/>
                <a:ext cx="13" cy="13"/>
              </a:xfrm>
              <a:custGeom>
                <a:avLst/>
                <a:gdLst>
                  <a:gd name="T0" fmla="*/ 3225 w 9"/>
                  <a:gd name="T1" fmla="*/ 7173 h 9"/>
                  <a:gd name="T2" fmla="*/ 0 w 9"/>
                  <a:gd name="T3" fmla="*/ 3860 h 9"/>
                  <a:gd name="T4" fmla="*/ 0 w 9"/>
                  <a:gd name="T5" fmla="*/ 3860 h 9"/>
                  <a:gd name="T6" fmla="*/ 3225 w 9"/>
                  <a:gd name="T7" fmla="*/ 0 h 9"/>
                  <a:gd name="T8" fmla="*/ 3225 w 9"/>
                  <a:gd name="T9" fmla="*/ 0 h 9"/>
                  <a:gd name="T10" fmla="*/ 5642 w 9"/>
                  <a:gd name="T11" fmla="*/ 3860 h 9"/>
                  <a:gd name="T12" fmla="*/ 3225 w 9"/>
                  <a:gd name="T13" fmla="*/ 7173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7" y="0"/>
                      <a:pt x="9" y="2"/>
                      <a:pt x="9" y="5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562" name="Freeform 277"/>
              <p:cNvSpPr>
                <a:spLocks noChangeArrowheads="1"/>
              </p:cNvSpPr>
              <p:nvPr/>
            </p:nvSpPr>
            <p:spPr bwMode="auto">
              <a:xfrm>
                <a:off x="5704" y="248"/>
                <a:ext cx="11" cy="12"/>
              </a:xfrm>
              <a:custGeom>
                <a:avLst/>
                <a:gdLst>
                  <a:gd name="T0" fmla="*/ 2164 w 8"/>
                  <a:gd name="T1" fmla="*/ 3489 h 9"/>
                  <a:gd name="T2" fmla="*/ 0 w 8"/>
                  <a:gd name="T3" fmla="*/ 1993 h 9"/>
                  <a:gd name="T4" fmla="*/ 0 w 8"/>
                  <a:gd name="T5" fmla="*/ 1993 h 9"/>
                  <a:gd name="T6" fmla="*/ 2164 w 8"/>
                  <a:gd name="T7" fmla="*/ 0 h 9"/>
                  <a:gd name="T8" fmla="*/ 4077 w 8"/>
                  <a:gd name="T9" fmla="*/ 1993 h 9"/>
                  <a:gd name="T10" fmla="*/ 2164 w 8"/>
                  <a:gd name="T11" fmla="*/ 3489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5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563" name="Freeform 278"/>
              <p:cNvSpPr>
                <a:spLocks noChangeArrowheads="1"/>
              </p:cNvSpPr>
              <p:nvPr/>
            </p:nvSpPr>
            <p:spPr bwMode="auto">
              <a:xfrm>
                <a:off x="5683" y="262"/>
                <a:ext cx="13" cy="13"/>
              </a:xfrm>
              <a:custGeom>
                <a:avLst/>
                <a:gdLst>
                  <a:gd name="T0" fmla="*/ 2417 w 9"/>
                  <a:gd name="T1" fmla="*/ 7173 h 9"/>
                  <a:gd name="T2" fmla="*/ 0 w 9"/>
                  <a:gd name="T3" fmla="*/ 3860 h 9"/>
                  <a:gd name="T4" fmla="*/ 2417 w 9"/>
                  <a:gd name="T5" fmla="*/ 0 h 9"/>
                  <a:gd name="T6" fmla="*/ 2417 w 9"/>
                  <a:gd name="T7" fmla="*/ 0 h 9"/>
                  <a:gd name="T8" fmla="*/ 5642 w 9"/>
                  <a:gd name="T9" fmla="*/ 3860 h 9"/>
                  <a:gd name="T10" fmla="*/ 2417 w 9"/>
                  <a:gd name="T11" fmla="*/ 7173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7" y="0"/>
                      <a:pt x="9" y="2"/>
                      <a:pt x="9" y="5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564" name="Freeform 279"/>
              <p:cNvSpPr>
                <a:spLocks noChangeArrowheads="1"/>
              </p:cNvSpPr>
              <p:nvPr/>
            </p:nvSpPr>
            <p:spPr bwMode="auto">
              <a:xfrm>
                <a:off x="5662" y="248"/>
                <a:ext cx="13" cy="12"/>
              </a:xfrm>
              <a:custGeom>
                <a:avLst/>
                <a:gdLst>
                  <a:gd name="T0" fmla="*/ 3860 w 9"/>
                  <a:gd name="T1" fmla="*/ 3489 h 9"/>
                  <a:gd name="T2" fmla="*/ 0 w 9"/>
                  <a:gd name="T3" fmla="*/ 1993 h 9"/>
                  <a:gd name="T4" fmla="*/ 0 w 9"/>
                  <a:gd name="T5" fmla="*/ 1993 h 9"/>
                  <a:gd name="T6" fmla="*/ 3860 w 9"/>
                  <a:gd name="T7" fmla="*/ 0 h 9"/>
                  <a:gd name="T8" fmla="*/ 7173 w 9"/>
                  <a:gd name="T9" fmla="*/ 1993 h 9"/>
                  <a:gd name="T10" fmla="*/ 3860 w 9"/>
                  <a:gd name="T11" fmla="*/ 3489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5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565" name="Freeform 280"/>
              <p:cNvSpPr>
                <a:spLocks noChangeArrowheads="1"/>
              </p:cNvSpPr>
              <p:nvPr/>
            </p:nvSpPr>
            <p:spPr bwMode="auto">
              <a:xfrm>
                <a:off x="5642" y="262"/>
                <a:ext cx="11" cy="13"/>
              </a:xfrm>
              <a:custGeom>
                <a:avLst/>
                <a:gdLst>
                  <a:gd name="T0" fmla="*/ 2164 w 8"/>
                  <a:gd name="T1" fmla="*/ 7173 h 9"/>
                  <a:gd name="T2" fmla="*/ 0 w 8"/>
                  <a:gd name="T3" fmla="*/ 3860 h 9"/>
                  <a:gd name="T4" fmla="*/ 0 w 8"/>
                  <a:gd name="T5" fmla="*/ 3194 h 9"/>
                  <a:gd name="T6" fmla="*/ 2164 w 8"/>
                  <a:gd name="T7" fmla="*/ 0 h 9"/>
                  <a:gd name="T8" fmla="*/ 2164 w 8"/>
                  <a:gd name="T9" fmla="*/ 0 h 9"/>
                  <a:gd name="T10" fmla="*/ 4077 w 8"/>
                  <a:gd name="T11" fmla="*/ 3860 h 9"/>
                  <a:gd name="T12" fmla="*/ 4077 w 8"/>
                  <a:gd name="T13" fmla="*/ 3860 h 9"/>
                  <a:gd name="T14" fmla="*/ 2164 w 8"/>
                  <a:gd name="T15" fmla="*/ 7173 h 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6" y="0"/>
                      <a:pt x="8" y="2"/>
                      <a:pt x="8" y="5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566" name="Oval 281"/>
              <p:cNvSpPr>
                <a:spLocks noChangeArrowheads="1"/>
              </p:cNvSpPr>
              <p:nvPr/>
            </p:nvSpPr>
            <p:spPr bwMode="auto">
              <a:xfrm>
                <a:off x="5621" y="248"/>
                <a:ext cx="13" cy="12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US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567" name="Freeform 282"/>
              <p:cNvSpPr>
                <a:spLocks noChangeArrowheads="1"/>
              </p:cNvSpPr>
              <p:nvPr/>
            </p:nvSpPr>
            <p:spPr bwMode="auto">
              <a:xfrm>
                <a:off x="5393" y="262"/>
                <a:ext cx="13" cy="13"/>
              </a:xfrm>
              <a:custGeom>
                <a:avLst/>
                <a:gdLst>
                  <a:gd name="T0" fmla="*/ 3225 w 9"/>
                  <a:gd name="T1" fmla="*/ 7173 h 9"/>
                  <a:gd name="T2" fmla="*/ 0 w 9"/>
                  <a:gd name="T3" fmla="*/ 3860 h 9"/>
                  <a:gd name="T4" fmla="*/ 0 w 9"/>
                  <a:gd name="T5" fmla="*/ 3860 h 9"/>
                  <a:gd name="T6" fmla="*/ 3225 w 9"/>
                  <a:gd name="T7" fmla="*/ 0 h 9"/>
                  <a:gd name="T8" fmla="*/ 3225 w 9"/>
                  <a:gd name="T9" fmla="*/ 0 h 9"/>
                  <a:gd name="T10" fmla="*/ 5642 w 9"/>
                  <a:gd name="T11" fmla="*/ 3860 h 9"/>
                  <a:gd name="T12" fmla="*/ 3225 w 9"/>
                  <a:gd name="T13" fmla="*/ 7173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7" y="0"/>
                      <a:pt x="9" y="2"/>
                      <a:pt x="9" y="5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568" name="Freeform 283"/>
              <p:cNvSpPr>
                <a:spLocks noChangeArrowheads="1"/>
              </p:cNvSpPr>
              <p:nvPr/>
            </p:nvSpPr>
            <p:spPr bwMode="auto">
              <a:xfrm>
                <a:off x="5312" y="262"/>
                <a:ext cx="11" cy="13"/>
              </a:xfrm>
              <a:custGeom>
                <a:avLst/>
                <a:gdLst>
                  <a:gd name="T0" fmla="*/ 2164 w 8"/>
                  <a:gd name="T1" fmla="*/ 7173 h 9"/>
                  <a:gd name="T2" fmla="*/ 0 w 8"/>
                  <a:gd name="T3" fmla="*/ 3860 h 9"/>
                  <a:gd name="T4" fmla="*/ 0 w 8"/>
                  <a:gd name="T5" fmla="*/ 3860 h 9"/>
                  <a:gd name="T6" fmla="*/ 2164 w 8"/>
                  <a:gd name="T7" fmla="*/ 0 h 9"/>
                  <a:gd name="T8" fmla="*/ 2164 w 8"/>
                  <a:gd name="T9" fmla="*/ 0 h 9"/>
                  <a:gd name="T10" fmla="*/ 4077 w 8"/>
                  <a:gd name="T11" fmla="*/ 3860 h 9"/>
                  <a:gd name="T12" fmla="*/ 2164 w 8"/>
                  <a:gd name="T13" fmla="*/ 7173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6" y="0"/>
                      <a:pt x="8" y="2"/>
                      <a:pt x="8" y="5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569" name="Freeform 284"/>
              <p:cNvSpPr>
                <a:spLocks noChangeArrowheads="1"/>
              </p:cNvSpPr>
              <p:nvPr/>
            </p:nvSpPr>
            <p:spPr bwMode="auto">
              <a:xfrm>
                <a:off x="5291" y="248"/>
                <a:ext cx="13" cy="12"/>
              </a:xfrm>
              <a:custGeom>
                <a:avLst/>
                <a:gdLst>
                  <a:gd name="T0" fmla="*/ 2417 w 9"/>
                  <a:gd name="T1" fmla="*/ 3489 h 9"/>
                  <a:gd name="T2" fmla="*/ 0 w 9"/>
                  <a:gd name="T3" fmla="*/ 1993 h 9"/>
                  <a:gd name="T4" fmla="*/ 0 w 9"/>
                  <a:gd name="T5" fmla="*/ 1993 h 9"/>
                  <a:gd name="T6" fmla="*/ 2417 w 9"/>
                  <a:gd name="T7" fmla="*/ 0 h 9"/>
                  <a:gd name="T8" fmla="*/ 5642 w 9"/>
                  <a:gd name="T9" fmla="*/ 1993 h 9"/>
                  <a:gd name="T10" fmla="*/ 2417 w 9"/>
                  <a:gd name="T11" fmla="*/ 3489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5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570" name="Freeform 285"/>
              <p:cNvSpPr>
                <a:spLocks noChangeArrowheads="1"/>
              </p:cNvSpPr>
              <p:nvPr/>
            </p:nvSpPr>
            <p:spPr bwMode="auto">
              <a:xfrm>
                <a:off x="5085" y="248"/>
                <a:ext cx="13" cy="12"/>
              </a:xfrm>
              <a:custGeom>
                <a:avLst/>
                <a:gdLst>
                  <a:gd name="T0" fmla="*/ 2417 w 9"/>
                  <a:gd name="T1" fmla="*/ 3489 h 9"/>
                  <a:gd name="T2" fmla="*/ 0 w 9"/>
                  <a:gd name="T3" fmla="*/ 1993 h 9"/>
                  <a:gd name="T4" fmla="*/ 0 w 9"/>
                  <a:gd name="T5" fmla="*/ 1993 h 9"/>
                  <a:gd name="T6" fmla="*/ 2417 w 9"/>
                  <a:gd name="T7" fmla="*/ 0 h 9"/>
                  <a:gd name="T8" fmla="*/ 5642 w 9"/>
                  <a:gd name="T9" fmla="*/ 1993 h 9"/>
                  <a:gd name="T10" fmla="*/ 2417 w 9"/>
                  <a:gd name="T11" fmla="*/ 3489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5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571" name="Freeform 286"/>
              <p:cNvSpPr>
                <a:spLocks noChangeArrowheads="1"/>
              </p:cNvSpPr>
              <p:nvPr/>
            </p:nvSpPr>
            <p:spPr bwMode="auto">
              <a:xfrm>
                <a:off x="5270" y="262"/>
                <a:ext cx="12" cy="13"/>
              </a:xfrm>
              <a:custGeom>
                <a:avLst/>
                <a:gdLst>
                  <a:gd name="T0" fmla="*/ 1993 w 9"/>
                  <a:gd name="T1" fmla="*/ 7173 h 9"/>
                  <a:gd name="T2" fmla="*/ 0 w 9"/>
                  <a:gd name="T3" fmla="*/ 3860 h 9"/>
                  <a:gd name="T4" fmla="*/ 0 w 9"/>
                  <a:gd name="T5" fmla="*/ 3860 h 9"/>
                  <a:gd name="T6" fmla="*/ 1495 w 9"/>
                  <a:gd name="T7" fmla="*/ 0 h 9"/>
                  <a:gd name="T8" fmla="*/ 1993 w 9"/>
                  <a:gd name="T9" fmla="*/ 0 h 9"/>
                  <a:gd name="T10" fmla="*/ 3489 w 9"/>
                  <a:gd name="T11" fmla="*/ 3860 h 9"/>
                  <a:gd name="T12" fmla="*/ 1993 w 9"/>
                  <a:gd name="T13" fmla="*/ 7173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7" y="0"/>
                      <a:pt x="9" y="2"/>
                      <a:pt x="9" y="5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572" name="Freeform 287"/>
              <p:cNvSpPr>
                <a:spLocks noChangeArrowheads="1"/>
              </p:cNvSpPr>
              <p:nvPr/>
            </p:nvSpPr>
            <p:spPr bwMode="auto">
              <a:xfrm>
                <a:off x="5208" y="248"/>
                <a:ext cx="12" cy="12"/>
              </a:xfrm>
              <a:custGeom>
                <a:avLst/>
                <a:gdLst>
                  <a:gd name="T0" fmla="*/ 1993 w 9"/>
                  <a:gd name="T1" fmla="*/ 3489 h 9"/>
                  <a:gd name="T2" fmla="*/ 0 w 9"/>
                  <a:gd name="T3" fmla="*/ 1993 h 9"/>
                  <a:gd name="T4" fmla="*/ 0 w 9"/>
                  <a:gd name="T5" fmla="*/ 1993 h 9"/>
                  <a:gd name="T6" fmla="*/ 1993 w 9"/>
                  <a:gd name="T7" fmla="*/ 0 h 9"/>
                  <a:gd name="T8" fmla="*/ 3489 w 9"/>
                  <a:gd name="T9" fmla="*/ 1993 h 9"/>
                  <a:gd name="T10" fmla="*/ 1993 w 9"/>
                  <a:gd name="T11" fmla="*/ 3489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5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573" name="Freeform 288"/>
              <p:cNvSpPr>
                <a:spLocks noChangeArrowheads="1"/>
              </p:cNvSpPr>
              <p:nvPr/>
            </p:nvSpPr>
            <p:spPr bwMode="auto">
              <a:xfrm>
                <a:off x="5063" y="262"/>
                <a:ext cx="13" cy="13"/>
              </a:xfrm>
              <a:custGeom>
                <a:avLst/>
                <a:gdLst>
                  <a:gd name="T0" fmla="*/ 3860 w 9"/>
                  <a:gd name="T1" fmla="*/ 7173 h 9"/>
                  <a:gd name="T2" fmla="*/ 0 w 9"/>
                  <a:gd name="T3" fmla="*/ 3860 h 9"/>
                  <a:gd name="T4" fmla="*/ 0 w 9"/>
                  <a:gd name="T5" fmla="*/ 3860 h 9"/>
                  <a:gd name="T6" fmla="*/ 3860 w 9"/>
                  <a:gd name="T7" fmla="*/ 0 h 9"/>
                  <a:gd name="T8" fmla="*/ 3860 w 9"/>
                  <a:gd name="T9" fmla="*/ 0 h 9"/>
                  <a:gd name="T10" fmla="*/ 7173 w 9"/>
                  <a:gd name="T11" fmla="*/ 3860 h 9"/>
                  <a:gd name="T12" fmla="*/ 3860 w 9"/>
                  <a:gd name="T13" fmla="*/ 7173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7" y="0"/>
                      <a:pt x="9" y="2"/>
                      <a:pt x="9" y="5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574" name="Freeform 289"/>
              <p:cNvSpPr>
                <a:spLocks noChangeArrowheads="1"/>
              </p:cNvSpPr>
              <p:nvPr/>
            </p:nvSpPr>
            <p:spPr bwMode="auto">
              <a:xfrm>
                <a:off x="5476" y="283"/>
                <a:ext cx="12" cy="13"/>
              </a:xfrm>
              <a:custGeom>
                <a:avLst/>
                <a:gdLst>
                  <a:gd name="T0" fmla="*/ 1495 w 9"/>
                  <a:gd name="T1" fmla="*/ 5642 h 9"/>
                  <a:gd name="T2" fmla="*/ 0 w 9"/>
                  <a:gd name="T3" fmla="*/ 3225 h 9"/>
                  <a:gd name="T4" fmla="*/ 0 w 9"/>
                  <a:gd name="T5" fmla="*/ 2417 h 9"/>
                  <a:gd name="T6" fmla="*/ 1495 w 9"/>
                  <a:gd name="T7" fmla="*/ 0 h 9"/>
                  <a:gd name="T8" fmla="*/ 3489 w 9"/>
                  <a:gd name="T9" fmla="*/ 2417 h 9"/>
                  <a:gd name="T10" fmla="*/ 1495 w 9"/>
                  <a:gd name="T11" fmla="*/ 5642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575" name="Freeform 290"/>
              <p:cNvSpPr>
                <a:spLocks noChangeArrowheads="1"/>
              </p:cNvSpPr>
              <p:nvPr/>
            </p:nvSpPr>
            <p:spPr bwMode="auto">
              <a:xfrm>
                <a:off x="5435" y="283"/>
                <a:ext cx="11" cy="13"/>
              </a:xfrm>
              <a:custGeom>
                <a:avLst/>
                <a:gdLst>
                  <a:gd name="T0" fmla="*/ 2164 w 8"/>
                  <a:gd name="T1" fmla="*/ 5642 h 9"/>
                  <a:gd name="T2" fmla="*/ 0 w 8"/>
                  <a:gd name="T3" fmla="*/ 3225 h 9"/>
                  <a:gd name="T4" fmla="*/ 0 w 8"/>
                  <a:gd name="T5" fmla="*/ 2417 h 9"/>
                  <a:gd name="T6" fmla="*/ 2164 w 8"/>
                  <a:gd name="T7" fmla="*/ 0 h 9"/>
                  <a:gd name="T8" fmla="*/ 4077 w 8"/>
                  <a:gd name="T9" fmla="*/ 2417 h 9"/>
                  <a:gd name="T10" fmla="*/ 2164 w 8"/>
                  <a:gd name="T11" fmla="*/ 5642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576" name="Freeform 291"/>
              <p:cNvSpPr>
                <a:spLocks noChangeArrowheads="1"/>
              </p:cNvSpPr>
              <p:nvPr/>
            </p:nvSpPr>
            <p:spPr bwMode="auto">
              <a:xfrm>
                <a:off x="5415" y="269"/>
                <a:ext cx="13" cy="13"/>
              </a:xfrm>
              <a:custGeom>
                <a:avLst/>
                <a:gdLst>
                  <a:gd name="T0" fmla="*/ 3225 w 9"/>
                  <a:gd name="T1" fmla="*/ 5642 h 9"/>
                  <a:gd name="T2" fmla="*/ 2417 w 9"/>
                  <a:gd name="T3" fmla="*/ 5642 h 9"/>
                  <a:gd name="T4" fmla="*/ 0 w 9"/>
                  <a:gd name="T5" fmla="*/ 3225 h 9"/>
                  <a:gd name="T6" fmla="*/ 0 w 9"/>
                  <a:gd name="T7" fmla="*/ 2417 h 9"/>
                  <a:gd name="T8" fmla="*/ 2417 w 9"/>
                  <a:gd name="T9" fmla="*/ 0 h 9"/>
                  <a:gd name="T10" fmla="*/ 5642 w 9"/>
                  <a:gd name="T11" fmla="*/ 3225 h 9"/>
                  <a:gd name="T12" fmla="*/ 3225 w 9"/>
                  <a:gd name="T13" fmla="*/ 5642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4" y="9"/>
                      <a:pt x="4" y="9"/>
                      <a:pt x="4" y="9"/>
                    </a:cubicBez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5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577" name="Oval 292"/>
              <p:cNvSpPr>
                <a:spLocks noChangeArrowheads="1"/>
              </p:cNvSpPr>
              <p:nvPr/>
            </p:nvSpPr>
            <p:spPr bwMode="auto">
              <a:xfrm>
                <a:off x="5601" y="283"/>
                <a:ext cx="12" cy="13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US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578" name="Freeform 293"/>
              <p:cNvSpPr>
                <a:spLocks noChangeArrowheads="1"/>
              </p:cNvSpPr>
              <p:nvPr/>
            </p:nvSpPr>
            <p:spPr bwMode="auto">
              <a:xfrm>
                <a:off x="5581" y="269"/>
                <a:ext cx="10" cy="13"/>
              </a:xfrm>
              <a:custGeom>
                <a:avLst/>
                <a:gdLst>
                  <a:gd name="T0" fmla="*/ 868 w 8"/>
                  <a:gd name="T1" fmla="*/ 5642 h 9"/>
                  <a:gd name="T2" fmla="*/ 868 w 8"/>
                  <a:gd name="T3" fmla="*/ 5642 h 9"/>
                  <a:gd name="T4" fmla="*/ 0 w 8"/>
                  <a:gd name="T5" fmla="*/ 3225 h 9"/>
                  <a:gd name="T6" fmla="*/ 0 w 8"/>
                  <a:gd name="T7" fmla="*/ 2417 h 9"/>
                  <a:gd name="T8" fmla="*/ 868 w 8"/>
                  <a:gd name="T9" fmla="*/ 0 h 9"/>
                  <a:gd name="T10" fmla="*/ 1780 w 8"/>
                  <a:gd name="T11" fmla="*/ 3225 h 9"/>
                  <a:gd name="T12" fmla="*/ 868 w 8"/>
                  <a:gd name="T13" fmla="*/ 5642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4" y="9"/>
                      <a:pt x="4" y="9"/>
                      <a:pt x="4" y="9"/>
                    </a:cubicBez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5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579" name="Freeform 294"/>
              <p:cNvSpPr>
                <a:spLocks noChangeArrowheads="1"/>
              </p:cNvSpPr>
              <p:nvPr/>
            </p:nvSpPr>
            <p:spPr bwMode="auto">
              <a:xfrm>
                <a:off x="5559" y="283"/>
                <a:ext cx="13" cy="13"/>
              </a:xfrm>
              <a:custGeom>
                <a:avLst/>
                <a:gdLst>
                  <a:gd name="T0" fmla="*/ 3194 w 9"/>
                  <a:gd name="T1" fmla="*/ 5642 h 9"/>
                  <a:gd name="T2" fmla="*/ 0 w 9"/>
                  <a:gd name="T3" fmla="*/ 3225 h 9"/>
                  <a:gd name="T4" fmla="*/ 0 w 9"/>
                  <a:gd name="T5" fmla="*/ 2417 h 9"/>
                  <a:gd name="T6" fmla="*/ 3194 w 9"/>
                  <a:gd name="T7" fmla="*/ 0 h 9"/>
                  <a:gd name="T8" fmla="*/ 7173 w 9"/>
                  <a:gd name="T9" fmla="*/ 2417 h 9"/>
                  <a:gd name="T10" fmla="*/ 3194 w 9"/>
                  <a:gd name="T11" fmla="*/ 5642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580" name="Freeform 295"/>
              <p:cNvSpPr>
                <a:spLocks noChangeArrowheads="1"/>
              </p:cNvSpPr>
              <p:nvPr/>
            </p:nvSpPr>
            <p:spPr bwMode="auto">
              <a:xfrm>
                <a:off x="5538" y="269"/>
                <a:ext cx="12" cy="13"/>
              </a:xfrm>
              <a:custGeom>
                <a:avLst/>
                <a:gdLst>
                  <a:gd name="T0" fmla="*/ 1993 w 9"/>
                  <a:gd name="T1" fmla="*/ 5642 h 9"/>
                  <a:gd name="T2" fmla="*/ 1495 w 9"/>
                  <a:gd name="T3" fmla="*/ 5642 h 9"/>
                  <a:gd name="T4" fmla="*/ 0 w 9"/>
                  <a:gd name="T5" fmla="*/ 3225 h 9"/>
                  <a:gd name="T6" fmla="*/ 0 w 9"/>
                  <a:gd name="T7" fmla="*/ 2417 h 9"/>
                  <a:gd name="T8" fmla="*/ 1993 w 9"/>
                  <a:gd name="T9" fmla="*/ 0 h 9"/>
                  <a:gd name="T10" fmla="*/ 3489 w 9"/>
                  <a:gd name="T11" fmla="*/ 3225 h 9"/>
                  <a:gd name="T12" fmla="*/ 1993 w 9"/>
                  <a:gd name="T13" fmla="*/ 5642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4" y="9"/>
                      <a:pt x="4" y="9"/>
                      <a:pt x="4" y="9"/>
                    </a:cubicBez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5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581" name="Freeform 296"/>
              <p:cNvSpPr>
                <a:spLocks noChangeArrowheads="1"/>
              </p:cNvSpPr>
              <p:nvPr/>
            </p:nvSpPr>
            <p:spPr bwMode="auto">
              <a:xfrm>
                <a:off x="5518" y="283"/>
                <a:ext cx="11" cy="13"/>
              </a:xfrm>
              <a:custGeom>
                <a:avLst/>
                <a:gdLst>
                  <a:gd name="T0" fmla="*/ 2164 w 8"/>
                  <a:gd name="T1" fmla="*/ 5642 h 9"/>
                  <a:gd name="T2" fmla="*/ 0 w 8"/>
                  <a:gd name="T3" fmla="*/ 3225 h 9"/>
                  <a:gd name="T4" fmla="*/ 0 w 8"/>
                  <a:gd name="T5" fmla="*/ 2417 h 9"/>
                  <a:gd name="T6" fmla="*/ 2164 w 8"/>
                  <a:gd name="T7" fmla="*/ 0 h 9"/>
                  <a:gd name="T8" fmla="*/ 4077 w 8"/>
                  <a:gd name="T9" fmla="*/ 2417 h 9"/>
                  <a:gd name="T10" fmla="*/ 2164 w 8"/>
                  <a:gd name="T11" fmla="*/ 5642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582" name="Freeform 297"/>
              <p:cNvSpPr>
                <a:spLocks noChangeArrowheads="1"/>
              </p:cNvSpPr>
              <p:nvPr/>
            </p:nvSpPr>
            <p:spPr bwMode="auto">
              <a:xfrm>
                <a:off x="5498" y="269"/>
                <a:ext cx="12" cy="13"/>
              </a:xfrm>
              <a:custGeom>
                <a:avLst/>
                <a:gdLst>
                  <a:gd name="T0" fmla="*/ 1495 w 9"/>
                  <a:gd name="T1" fmla="*/ 5642 h 9"/>
                  <a:gd name="T2" fmla="*/ 1495 w 9"/>
                  <a:gd name="T3" fmla="*/ 5642 h 9"/>
                  <a:gd name="T4" fmla="*/ 0 w 9"/>
                  <a:gd name="T5" fmla="*/ 3225 h 9"/>
                  <a:gd name="T6" fmla="*/ 0 w 9"/>
                  <a:gd name="T7" fmla="*/ 2417 h 9"/>
                  <a:gd name="T8" fmla="*/ 1495 w 9"/>
                  <a:gd name="T9" fmla="*/ 0 h 9"/>
                  <a:gd name="T10" fmla="*/ 3489 w 9"/>
                  <a:gd name="T11" fmla="*/ 3225 h 9"/>
                  <a:gd name="T12" fmla="*/ 1495 w 9"/>
                  <a:gd name="T13" fmla="*/ 5642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4" y="9"/>
                      <a:pt x="4" y="9"/>
                      <a:pt x="4" y="9"/>
                    </a:cubicBez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5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583" name="Freeform 298"/>
              <p:cNvSpPr>
                <a:spLocks noChangeArrowheads="1"/>
              </p:cNvSpPr>
              <p:nvPr/>
            </p:nvSpPr>
            <p:spPr bwMode="auto">
              <a:xfrm>
                <a:off x="5455" y="269"/>
                <a:ext cx="13" cy="13"/>
              </a:xfrm>
              <a:custGeom>
                <a:avLst/>
                <a:gdLst>
                  <a:gd name="T0" fmla="*/ 3225 w 9"/>
                  <a:gd name="T1" fmla="*/ 5642 h 9"/>
                  <a:gd name="T2" fmla="*/ 3225 w 9"/>
                  <a:gd name="T3" fmla="*/ 5642 h 9"/>
                  <a:gd name="T4" fmla="*/ 0 w 9"/>
                  <a:gd name="T5" fmla="*/ 3225 h 9"/>
                  <a:gd name="T6" fmla="*/ 3225 w 9"/>
                  <a:gd name="T7" fmla="*/ 0 h 9"/>
                  <a:gd name="T8" fmla="*/ 5642 w 9"/>
                  <a:gd name="T9" fmla="*/ 3225 h 9"/>
                  <a:gd name="T10" fmla="*/ 3225 w 9"/>
                  <a:gd name="T11" fmla="*/ 5642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2" y="9"/>
                      <a:pt x="0" y="7"/>
                      <a:pt x="0" y="5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5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584" name="Freeform 299"/>
              <p:cNvSpPr>
                <a:spLocks noChangeArrowheads="1"/>
              </p:cNvSpPr>
              <p:nvPr/>
            </p:nvSpPr>
            <p:spPr bwMode="auto">
              <a:xfrm>
                <a:off x="5744" y="269"/>
                <a:ext cx="13" cy="13"/>
              </a:xfrm>
              <a:custGeom>
                <a:avLst/>
                <a:gdLst>
                  <a:gd name="T0" fmla="*/ 3860 w 9"/>
                  <a:gd name="T1" fmla="*/ 5642 h 9"/>
                  <a:gd name="T2" fmla="*/ 3194 w 9"/>
                  <a:gd name="T3" fmla="*/ 5642 h 9"/>
                  <a:gd name="T4" fmla="*/ 0 w 9"/>
                  <a:gd name="T5" fmla="*/ 3225 h 9"/>
                  <a:gd name="T6" fmla="*/ 3194 w 9"/>
                  <a:gd name="T7" fmla="*/ 0 h 9"/>
                  <a:gd name="T8" fmla="*/ 7173 w 9"/>
                  <a:gd name="T9" fmla="*/ 3225 h 9"/>
                  <a:gd name="T10" fmla="*/ 3860 w 9"/>
                  <a:gd name="T11" fmla="*/ 5642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4" y="9"/>
                      <a:pt x="4" y="9"/>
                      <a:pt x="4" y="9"/>
                    </a:cubicBezTo>
                    <a:cubicBezTo>
                      <a:pt x="2" y="9"/>
                      <a:pt x="0" y="7"/>
                      <a:pt x="0" y="5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5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585" name="Freeform 300"/>
              <p:cNvSpPr>
                <a:spLocks noChangeArrowheads="1"/>
              </p:cNvSpPr>
              <p:nvPr/>
            </p:nvSpPr>
            <p:spPr bwMode="auto">
              <a:xfrm>
                <a:off x="5723" y="283"/>
                <a:ext cx="13" cy="13"/>
              </a:xfrm>
              <a:custGeom>
                <a:avLst/>
                <a:gdLst>
                  <a:gd name="T0" fmla="*/ 3225 w 9"/>
                  <a:gd name="T1" fmla="*/ 5642 h 9"/>
                  <a:gd name="T2" fmla="*/ 0 w 9"/>
                  <a:gd name="T3" fmla="*/ 3225 h 9"/>
                  <a:gd name="T4" fmla="*/ 0 w 9"/>
                  <a:gd name="T5" fmla="*/ 2417 h 9"/>
                  <a:gd name="T6" fmla="*/ 3225 w 9"/>
                  <a:gd name="T7" fmla="*/ 0 h 9"/>
                  <a:gd name="T8" fmla="*/ 5642 w 9"/>
                  <a:gd name="T9" fmla="*/ 2417 h 9"/>
                  <a:gd name="T10" fmla="*/ 3225 w 9"/>
                  <a:gd name="T11" fmla="*/ 5642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586" name="Freeform 301"/>
              <p:cNvSpPr>
                <a:spLocks noChangeArrowheads="1"/>
              </p:cNvSpPr>
              <p:nvPr/>
            </p:nvSpPr>
            <p:spPr bwMode="auto">
              <a:xfrm>
                <a:off x="5704" y="269"/>
                <a:ext cx="11" cy="13"/>
              </a:xfrm>
              <a:custGeom>
                <a:avLst/>
                <a:gdLst>
                  <a:gd name="T0" fmla="*/ 2164 w 8"/>
                  <a:gd name="T1" fmla="*/ 5642 h 9"/>
                  <a:gd name="T2" fmla="*/ 2164 w 8"/>
                  <a:gd name="T3" fmla="*/ 5642 h 9"/>
                  <a:gd name="T4" fmla="*/ 0 w 8"/>
                  <a:gd name="T5" fmla="*/ 3225 h 9"/>
                  <a:gd name="T6" fmla="*/ 0 w 8"/>
                  <a:gd name="T7" fmla="*/ 2417 h 9"/>
                  <a:gd name="T8" fmla="*/ 2164 w 8"/>
                  <a:gd name="T9" fmla="*/ 0 h 9"/>
                  <a:gd name="T10" fmla="*/ 4077 w 8"/>
                  <a:gd name="T11" fmla="*/ 3225 h 9"/>
                  <a:gd name="T12" fmla="*/ 2164 w 8"/>
                  <a:gd name="T13" fmla="*/ 5642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4" y="9"/>
                      <a:pt x="4" y="9"/>
                      <a:pt x="4" y="9"/>
                    </a:cubicBez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5"/>
                    </a:cubicBezTo>
                    <a:cubicBezTo>
                      <a:pt x="8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587" name="Oval 302"/>
              <p:cNvSpPr>
                <a:spLocks noChangeArrowheads="1"/>
              </p:cNvSpPr>
              <p:nvPr/>
            </p:nvSpPr>
            <p:spPr bwMode="auto">
              <a:xfrm>
                <a:off x="5683" y="283"/>
                <a:ext cx="13" cy="13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US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588" name="Freeform 303"/>
              <p:cNvSpPr>
                <a:spLocks noChangeArrowheads="1"/>
              </p:cNvSpPr>
              <p:nvPr/>
            </p:nvSpPr>
            <p:spPr bwMode="auto">
              <a:xfrm>
                <a:off x="5662" y="269"/>
                <a:ext cx="13" cy="13"/>
              </a:xfrm>
              <a:custGeom>
                <a:avLst/>
                <a:gdLst>
                  <a:gd name="T0" fmla="*/ 3860 w 9"/>
                  <a:gd name="T1" fmla="*/ 5642 h 9"/>
                  <a:gd name="T2" fmla="*/ 3860 w 9"/>
                  <a:gd name="T3" fmla="*/ 5642 h 9"/>
                  <a:gd name="T4" fmla="*/ 0 w 9"/>
                  <a:gd name="T5" fmla="*/ 3225 h 9"/>
                  <a:gd name="T6" fmla="*/ 0 w 9"/>
                  <a:gd name="T7" fmla="*/ 2417 h 9"/>
                  <a:gd name="T8" fmla="*/ 3860 w 9"/>
                  <a:gd name="T9" fmla="*/ 0 h 9"/>
                  <a:gd name="T10" fmla="*/ 7173 w 9"/>
                  <a:gd name="T11" fmla="*/ 3225 h 9"/>
                  <a:gd name="T12" fmla="*/ 3860 w 9"/>
                  <a:gd name="T13" fmla="*/ 5642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5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589" name="Freeform 304"/>
              <p:cNvSpPr>
                <a:spLocks noChangeArrowheads="1"/>
              </p:cNvSpPr>
              <p:nvPr/>
            </p:nvSpPr>
            <p:spPr bwMode="auto">
              <a:xfrm>
                <a:off x="5642" y="283"/>
                <a:ext cx="11" cy="13"/>
              </a:xfrm>
              <a:custGeom>
                <a:avLst/>
                <a:gdLst>
                  <a:gd name="T0" fmla="*/ 2164 w 8"/>
                  <a:gd name="T1" fmla="*/ 5642 h 9"/>
                  <a:gd name="T2" fmla="*/ 0 w 8"/>
                  <a:gd name="T3" fmla="*/ 3225 h 9"/>
                  <a:gd name="T4" fmla="*/ 0 w 8"/>
                  <a:gd name="T5" fmla="*/ 2417 h 9"/>
                  <a:gd name="T6" fmla="*/ 2164 w 8"/>
                  <a:gd name="T7" fmla="*/ 0 h 9"/>
                  <a:gd name="T8" fmla="*/ 4077 w 8"/>
                  <a:gd name="T9" fmla="*/ 2417 h 9"/>
                  <a:gd name="T10" fmla="*/ 4077 w 8"/>
                  <a:gd name="T11" fmla="*/ 3225 h 9"/>
                  <a:gd name="T12" fmla="*/ 2164 w 8"/>
                  <a:gd name="T13" fmla="*/ 5642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590" name="Freeform 305"/>
              <p:cNvSpPr>
                <a:spLocks noChangeArrowheads="1"/>
              </p:cNvSpPr>
              <p:nvPr/>
            </p:nvSpPr>
            <p:spPr bwMode="auto">
              <a:xfrm>
                <a:off x="5621" y="269"/>
                <a:ext cx="13" cy="13"/>
              </a:xfrm>
              <a:custGeom>
                <a:avLst/>
                <a:gdLst>
                  <a:gd name="T0" fmla="*/ 2417 w 9"/>
                  <a:gd name="T1" fmla="*/ 5642 h 9"/>
                  <a:gd name="T2" fmla="*/ 2417 w 9"/>
                  <a:gd name="T3" fmla="*/ 5642 h 9"/>
                  <a:gd name="T4" fmla="*/ 0 w 9"/>
                  <a:gd name="T5" fmla="*/ 3225 h 9"/>
                  <a:gd name="T6" fmla="*/ 2417 w 9"/>
                  <a:gd name="T7" fmla="*/ 0 h 9"/>
                  <a:gd name="T8" fmla="*/ 5642 w 9"/>
                  <a:gd name="T9" fmla="*/ 3225 h 9"/>
                  <a:gd name="T10" fmla="*/ 2417 w 9"/>
                  <a:gd name="T11" fmla="*/ 5642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4" y="9"/>
                      <a:pt x="4" y="9"/>
                      <a:pt x="4" y="9"/>
                    </a:cubicBezTo>
                    <a:cubicBezTo>
                      <a:pt x="2" y="9"/>
                      <a:pt x="0" y="7"/>
                      <a:pt x="0" y="5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5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591" name="Freeform 306"/>
              <p:cNvSpPr>
                <a:spLocks noChangeArrowheads="1"/>
              </p:cNvSpPr>
              <p:nvPr/>
            </p:nvSpPr>
            <p:spPr bwMode="auto">
              <a:xfrm>
                <a:off x="5393" y="283"/>
                <a:ext cx="13" cy="13"/>
              </a:xfrm>
              <a:custGeom>
                <a:avLst/>
                <a:gdLst>
                  <a:gd name="T0" fmla="*/ 3225 w 9"/>
                  <a:gd name="T1" fmla="*/ 5642 h 9"/>
                  <a:gd name="T2" fmla="*/ 0 w 9"/>
                  <a:gd name="T3" fmla="*/ 3225 h 9"/>
                  <a:gd name="T4" fmla="*/ 0 w 9"/>
                  <a:gd name="T5" fmla="*/ 2417 h 9"/>
                  <a:gd name="T6" fmla="*/ 3225 w 9"/>
                  <a:gd name="T7" fmla="*/ 0 h 9"/>
                  <a:gd name="T8" fmla="*/ 5642 w 9"/>
                  <a:gd name="T9" fmla="*/ 2417 h 9"/>
                  <a:gd name="T10" fmla="*/ 3225 w 9"/>
                  <a:gd name="T11" fmla="*/ 5642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592" name="Freeform 307"/>
              <p:cNvSpPr>
                <a:spLocks noChangeArrowheads="1"/>
              </p:cNvSpPr>
              <p:nvPr/>
            </p:nvSpPr>
            <p:spPr bwMode="auto">
              <a:xfrm>
                <a:off x="5312" y="283"/>
                <a:ext cx="11" cy="13"/>
              </a:xfrm>
              <a:custGeom>
                <a:avLst/>
                <a:gdLst>
                  <a:gd name="T0" fmla="*/ 2164 w 8"/>
                  <a:gd name="T1" fmla="*/ 5642 h 9"/>
                  <a:gd name="T2" fmla="*/ 0 w 8"/>
                  <a:gd name="T3" fmla="*/ 3225 h 9"/>
                  <a:gd name="T4" fmla="*/ 0 w 8"/>
                  <a:gd name="T5" fmla="*/ 2417 h 9"/>
                  <a:gd name="T6" fmla="*/ 2164 w 8"/>
                  <a:gd name="T7" fmla="*/ 0 h 9"/>
                  <a:gd name="T8" fmla="*/ 4077 w 8"/>
                  <a:gd name="T9" fmla="*/ 2417 h 9"/>
                  <a:gd name="T10" fmla="*/ 2164 w 8"/>
                  <a:gd name="T11" fmla="*/ 5642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593" name="Freeform 308"/>
              <p:cNvSpPr>
                <a:spLocks noChangeArrowheads="1"/>
              </p:cNvSpPr>
              <p:nvPr/>
            </p:nvSpPr>
            <p:spPr bwMode="auto">
              <a:xfrm>
                <a:off x="5373" y="269"/>
                <a:ext cx="11" cy="13"/>
              </a:xfrm>
              <a:custGeom>
                <a:avLst/>
                <a:gdLst>
                  <a:gd name="T0" fmla="*/ 2164 w 8"/>
                  <a:gd name="T1" fmla="*/ 5642 h 9"/>
                  <a:gd name="T2" fmla="*/ 2164 w 8"/>
                  <a:gd name="T3" fmla="*/ 5642 h 9"/>
                  <a:gd name="T4" fmla="*/ 0 w 8"/>
                  <a:gd name="T5" fmla="*/ 3225 h 9"/>
                  <a:gd name="T6" fmla="*/ 0 w 8"/>
                  <a:gd name="T7" fmla="*/ 2417 h 9"/>
                  <a:gd name="T8" fmla="*/ 2164 w 8"/>
                  <a:gd name="T9" fmla="*/ 0 h 9"/>
                  <a:gd name="T10" fmla="*/ 4077 w 8"/>
                  <a:gd name="T11" fmla="*/ 3225 h 9"/>
                  <a:gd name="T12" fmla="*/ 2164 w 8"/>
                  <a:gd name="T13" fmla="*/ 5642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4" y="9"/>
                      <a:pt x="4" y="9"/>
                      <a:pt x="4" y="9"/>
                    </a:cubicBez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5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594" name="Freeform 309"/>
              <p:cNvSpPr>
                <a:spLocks noChangeArrowheads="1"/>
              </p:cNvSpPr>
              <p:nvPr/>
            </p:nvSpPr>
            <p:spPr bwMode="auto">
              <a:xfrm>
                <a:off x="5291" y="269"/>
                <a:ext cx="13" cy="13"/>
              </a:xfrm>
              <a:custGeom>
                <a:avLst/>
                <a:gdLst>
                  <a:gd name="T0" fmla="*/ 2417 w 9"/>
                  <a:gd name="T1" fmla="*/ 5642 h 9"/>
                  <a:gd name="T2" fmla="*/ 2417 w 9"/>
                  <a:gd name="T3" fmla="*/ 5642 h 9"/>
                  <a:gd name="T4" fmla="*/ 0 w 9"/>
                  <a:gd name="T5" fmla="*/ 3225 h 9"/>
                  <a:gd name="T6" fmla="*/ 0 w 9"/>
                  <a:gd name="T7" fmla="*/ 2417 h 9"/>
                  <a:gd name="T8" fmla="*/ 2417 w 9"/>
                  <a:gd name="T9" fmla="*/ 0 h 9"/>
                  <a:gd name="T10" fmla="*/ 5642 w 9"/>
                  <a:gd name="T11" fmla="*/ 3225 h 9"/>
                  <a:gd name="T12" fmla="*/ 2417 w 9"/>
                  <a:gd name="T13" fmla="*/ 5642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4" y="9"/>
                      <a:pt x="4" y="9"/>
                      <a:pt x="4" y="9"/>
                    </a:cubicBez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5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595" name="Freeform 310"/>
              <p:cNvSpPr>
                <a:spLocks noChangeArrowheads="1"/>
              </p:cNvSpPr>
              <p:nvPr/>
            </p:nvSpPr>
            <p:spPr bwMode="auto">
              <a:xfrm>
                <a:off x="5085" y="269"/>
                <a:ext cx="13" cy="13"/>
              </a:xfrm>
              <a:custGeom>
                <a:avLst/>
                <a:gdLst>
                  <a:gd name="T0" fmla="*/ 3225 w 9"/>
                  <a:gd name="T1" fmla="*/ 5642 h 9"/>
                  <a:gd name="T2" fmla="*/ 2417 w 9"/>
                  <a:gd name="T3" fmla="*/ 5642 h 9"/>
                  <a:gd name="T4" fmla="*/ 0 w 9"/>
                  <a:gd name="T5" fmla="*/ 3225 h 9"/>
                  <a:gd name="T6" fmla="*/ 0 w 9"/>
                  <a:gd name="T7" fmla="*/ 2417 h 9"/>
                  <a:gd name="T8" fmla="*/ 2417 w 9"/>
                  <a:gd name="T9" fmla="*/ 0 h 9"/>
                  <a:gd name="T10" fmla="*/ 5642 w 9"/>
                  <a:gd name="T11" fmla="*/ 3225 h 9"/>
                  <a:gd name="T12" fmla="*/ 3225 w 9"/>
                  <a:gd name="T13" fmla="*/ 5642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4" y="9"/>
                      <a:pt x="4" y="9"/>
                      <a:pt x="4" y="9"/>
                    </a:cubicBez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5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596" name="Freeform 311"/>
              <p:cNvSpPr>
                <a:spLocks noChangeArrowheads="1"/>
              </p:cNvSpPr>
              <p:nvPr/>
            </p:nvSpPr>
            <p:spPr bwMode="auto">
              <a:xfrm>
                <a:off x="5476" y="304"/>
                <a:ext cx="12" cy="13"/>
              </a:xfrm>
              <a:custGeom>
                <a:avLst/>
                <a:gdLst>
                  <a:gd name="T0" fmla="*/ 1495 w 9"/>
                  <a:gd name="T1" fmla="*/ 5642 h 9"/>
                  <a:gd name="T2" fmla="*/ 0 w 9"/>
                  <a:gd name="T3" fmla="*/ 2417 h 9"/>
                  <a:gd name="T4" fmla="*/ 0 w 9"/>
                  <a:gd name="T5" fmla="*/ 2417 h 9"/>
                  <a:gd name="T6" fmla="*/ 1495 w 9"/>
                  <a:gd name="T7" fmla="*/ 0 h 9"/>
                  <a:gd name="T8" fmla="*/ 3489 w 9"/>
                  <a:gd name="T9" fmla="*/ 2417 h 9"/>
                  <a:gd name="T10" fmla="*/ 1495 w 9"/>
                  <a:gd name="T11" fmla="*/ 5642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2" y="9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597" name="Freeform 312"/>
              <p:cNvSpPr>
                <a:spLocks noChangeArrowheads="1"/>
              </p:cNvSpPr>
              <p:nvPr/>
            </p:nvSpPr>
            <p:spPr bwMode="auto">
              <a:xfrm>
                <a:off x="5435" y="304"/>
                <a:ext cx="11" cy="13"/>
              </a:xfrm>
              <a:custGeom>
                <a:avLst/>
                <a:gdLst>
                  <a:gd name="T0" fmla="*/ 2164 w 8"/>
                  <a:gd name="T1" fmla="*/ 5642 h 9"/>
                  <a:gd name="T2" fmla="*/ 0 w 8"/>
                  <a:gd name="T3" fmla="*/ 2417 h 9"/>
                  <a:gd name="T4" fmla="*/ 0 w 8"/>
                  <a:gd name="T5" fmla="*/ 2417 h 9"/>
                  <a:gd name="T6" fmla="*/ 2164 w 8"/>
                  <a:gd name="T7" fmla="*/ 0 h 9"/>
                  <a:gd name="T8" fmla="*/ 4077 w 8"/>
                  <a:gd name="T9" fmla="*/ 2417 h 9"/>
                  <a:gd name="T10" fmla="*/ 2164 w 8"/>
                  <a:gd name="T11" fmla="*/ 5642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2" y="9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598" name="Freeform 313"/>
              <p:cNvSpPr>
                <a:spLocks noChangeArrowheads="1"/>
              </p:cNvSpPr>
              <p:nvPr/>
            </p:nvSpPr>
            <p:spPr bwMode="auto">
              <a:xfrm>
                <a:off x="5415" y="290"/>
                <a:ext cx="13" cy="12"/>
              </a:xfrm>
              <a:custGeom>
                <a:avLst/>
                <a:gdLst>
                  <a:gd name="T0" fmla="*/ 2417 w 9"/>
                  <a:gd name="T1" fmla="*/ 3489 h 9"/>
                  <a:gd name="T2" fmla="*/ 0 w 9"/>
                  <a:gd name="T3" fmla="*/ 1993 h 9"/>
                  <a:gd name="T4" fmla="*/ 0 w 9"/>
                  <a:gd name="T5" fmla="*/ 1495 h 9"/>
                  <a:gd name="T6" fmla="*/ 2417 w 9"/>
                  <a:gd name="T7" fmla="*/ 0 h 9"/>
                  <a:gd name="T8" fmla="*/ 5642 w 9"/>
                  <a:gd name="T9" fmla="*/ 1495 h 9"/>
                  <a:gd name="T10" fmla="*/ 2417 w 9"/>
                  <a:gd name="T11" fmla="*/ 3489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599" name="Freeform 314"/>
              <p:cNvSpPr>
                <a:spLocks noChangeArrowheads="1"/>
              </p:cNvSpPr>
              <p:nvPr/>
            </p:nvSpPr>
            <p:spPr bwMode="auto">
              <a:xfrm>
                <a:off x="5044" y="290"/>
                <a:ext cx="11" cy="12"/>
              </a:xfrm>
              <a:custGeom>
                <a:avLst/>
                <a:gdLst>
                  <a:gd name="T0" fmla="*/ 2164 w 8"/>
                  <a:gd name="T1" fmla="*/ 3489 h 9"/>
                  <a:gd name="T2" fmla="*/ 0 w 8"/>
                  <a:gd name="T3" fmla="*/ 1993 h 9"/>
                  <a:gd name="T4" fmla="*/ 0 w 8"/>
                  <a:gd name="T5" fmla="*/ 1495 h 9"/>
                  <a:gd name="T6" fmla="*/ 2164 w 8"/>
                  <a:gd name="T7" fmla="*/ 0 h 9"/>
                  <a:gd name="T8" fmla="*/ 4077 w 8"/>
                  <a:gd name="T9" fmla="*/ 1495 h 9"/>
                  <a:gd name="T10" fmla="*/ 2164 w 8"/>
                  <a:gd name="T11" fmla="*/ 3489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600" name="Oval 315"/>
              <p:cNvSpPr>
                <a:spLocks noChangeArrowheads="1"/>
              </p:cNvSpPr>
              <p:nvPr/>
            </p:nvSpPr>
            <p:spPr bwMode="auto">
              <a:xfrm>
                <a:off x="5601" y="304"/>
                <a:ext cx="12" cy="13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US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601" name="Freeform 316"/>
              <p:cNvSpPr>
                <a:spLocks noChangeArrowheads="1"/>
              </p:cNvSpPr>
              <p:nvPr/>
            </p:nvSpPr>
            <p:spPr bwMode="auto">
              <a:xfrm>
                <a:off x="5581" y="290"/>
                <a:ext cx="10" cy="12"/>
              </a:xfrm>
              <a:custGeom>
                <a:avLst/>
                <a:gdLst>
                  <a:gd name="T0" fmla="*/ 868 w 8"/>
                  <a:gd name="T1" fmla="*/ 3489 h 9"/>
                  <a:gd name="T2" fmla="*/ 0 w 8"/>
                  <a:gd name="T3" fmla="*/ 1993 h 9"/>
                  <a:gd name="T4" fmla="*/ 0 w 8"/>
                  <a:gd name="T5" fmla="*/ 1495 h 9"/>
                  <a:gd name="T6" fmla="*/ 868 w 8"/>
                  <a:gd name="T7" fmla="*/ 0 h 9"/>
                  <a:gd name="T8" fmla="*/ 1780 w 8"/>
                  <a:gd name="T9" fmla="*/ 1495 h 9"/>
                  <a:gd name="T10" fmla="*/ 868 w 8"/>
                  <a:gd name="T11" fmla="*/ 3489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602" name="Freeform 317"/>
              <p:cNvSpPr>
                <a:spLocks noChangeArrowheads="1"/>
              </p:cNvSpPr>
              <p:nvPr/>
            </p:nvSpPr>
            <p:spPr bwMode="auto">
              <a:xfrm>
                <a:off x="5559" y="304"/>
                <a:ext cx="13" cy="13"/>
              </a:xfrm>
              <a:custGeom>
                <a:avLst/>
                <a:gdLst>
                  <a:gd name="T0" fmla="*/ 3194 w 9"/>
                  <a:gd name="T1" fmla="*/ 5642 h 9"/>
                  <a:gd name="T2" fmla="*/ 0 w 9"/>
                  <a:gd name="T3" fmla="*/ 2417 h 9"/>
                  <a:gd name="T4" fmla="*/ 0 w 9"/>
                  <a:gd name="T5" fmla="*/ 2417 h 9"/>
                  <a:gd name="T6" fmla="*/ 3194 w 9"/>
                  <a:gd name="T7" fmla="*/ 0 h 9"/>
                  <a:gd name="T8" fmla="*/ 7173 w 9"/>
                  <a:gd name="T9" fmla="*/ 2417 h 9"/>
                  <a:gd name="T10" fmla="*/ 3194 w 9"/>
                  <a:gd name="T11" fmla="*/ 5642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2" y="9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603" name="Freeform 318"/>
              <p:cNvSpPr>
                <a:spLocks noChangeArrowheads="1"/>
              </p:cNvSpPr>
              <p:nvPr/>
            </p:nvSpPr>
            <p:spPr bwMode="auto">
              <a:xfrm>
                <a:off x="5538" y="290"/>
                <a:ext cx="12" cy="12"/>
              </a:xfrm>
              <a:custGeom>
                <a:avLst/>
                <a:gdLst>
                  <a:gd name="T0" fmla="*/ 1993 w 9"/>
                  <a:gd name="T1" fmla="*/ 3489 h 9"/>
                  <a:gd name="T2" fmla="*/ 0 w 9"/>
                  <a:gd name="T3" fmla="*/ 1993 h 9"/>
                  <a:gd name="T4" fmla="*/ 0 w 9"/>
                  <a:gd name="T5" fmla="*/ 1495 h 9"/>
                  <a:gd name="T6" fmla="*/ 1993 w 9"/>
                  <a:gd name="T7" fmla="*/ 0 h 9"/>
                  <a:gd name="T8" fmla="*/ 3489 w 9"/>
                  <a:gd name="T9" fmla="*/ 1495 h 9"/>
                  <a:gd name="T10" fmla="*/ 1993 w 9"/>
                  <a:gd name="T11" fmla="*/ 3489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604" name="Freeform 319"/>
              <p:cNvSpPr>
                <a:spLocks noChangeArrowheads="1"/>
              </p:cNvSpPr>
              <p:nvPr/>
            </p:nvSpPr>
            <p:spPr bwMode="auto">
              <a:xfrm>
                <a:off x="5518" y="304"/>
                <a:ext cx="11" cy="13"/>
              </a:xfrm>
              <a:custGeom>
                <a:avLst/>
                <a:gdLst>
                  <a:gd name="T0" fmla="*/ 2164 w 8"/>
                  <a:gd name="T1" fmla="*/ 5642 h 9"/>
                  <a:gd name="T2" fmla="*/ 0 w 8"/>
                  <a:gd name="T3" fmla="*/ 2417 h 9"/>
                  <a:gd name="T4" fmla="*/ 0 w 8"/>
                  <a:gd name="T5" fmla="*/ 2417 h 9"/>
                  <a:gd name="T6" fmla="*/ 2164 w 8"/>
                  <a:gd name="T7" fmla="*/ 0 h 9"/>
                  <a:gd name="T8" fmla="*/ 4077 w 8"/>
                  <a:gd name="T9" fmla="*/ 2417 h 9"/>
                  <a:gd name="T10" fmla="*/ 2164 w 8"/>
                  <a:gd name="T11" fmla="*/ 5642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2" y="9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605" name="Freeform 320"/>
              <p:cNvSpPr>
                <a:spLocks noChangeArrowheads="1"/>
              </p:cNvSpPr>
              <p:nvPr/>
            </p:nvSpPr>
            <p:spPr bwMode="auto">
              <a:xfrm>
                <a:off x="5498" y="290"/>
                <a:ext cx="12" cy="12"/>
              </a:xfrm>
              <a:custGeom>
                <a:avLst/>
                <a:gdLst>
                  <a:gd name="T0" fmla="*/ 1495 w 9"/>
                  <a:gd name="T1" fmla="*/ 3489 h 9"/>
                  <a:gd name="T2" fmla="*/ 0 w 9"/>
                  <a:gd name="T3" fmla="*/ 1993 h 9"/>
                  <a:gd name="T4" fmla="*/ 0 w 9"/>
                  <a:gd name="T5" fmla="*/ 1495 h 9"/>
                  <a:gd name="T6" fmla="*/ 1495 w 9"/>
                  <a:gd name="T7" fmla="*/ 0 h 9"/>
                  <a:gd name="T8" fmla="*/ 3489 w 9"/>
                  <a:gd name="T9" fmla="*/ 1495 h 9"/>
                  <a:gd name="T10" fmla="*/ 1495 w 9"/>
                  <a:gd name="T11" fmla="*/ 3489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606" name="Oval 321"/>
              <p:cNvSpPr>
                <a:spLocks noChangeArrowheads="1"/>
              </p:cNvSpPr>
              <p:nvPr/>
            </p:nvSpPr>
            <p:spPr bwMode="auto">
              <a:xfrm>
                <a:off x="5455" y="290"/>
                <a:ext cx="13" cy="12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US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607" name="Oval 322"/>
              <p:cNvSpPr>
                <a:spLocks noChangeArrowheads="1"/>
              </p:cNvSpPr>
              <p:nvPr/>
            </p:nvSpPr>
            <p:spPr bwMode="auto">
              <a:xfrm>
                <a:off x="5744" y="290"/>
                <a:ext cx="13" cy="12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US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608" name="Freeform 323"/>
              <p:cNvSpPr>
                <a:spLocks noChangeArrowheads="1"/>
              </p:cNvSpPr>
              <p:nvPr/>
            </p:nvSpPr>
            <p:spPr bwMode="auto">
              <a:xfrm>
                <a:off x="5723" y="304"/>
                <a:ext cx="13" cy="13"/>
              </a:xfrm>
              <a:custGeom>
                <a:avLst/>
                <a:gdLst>
                  <a:gd name="T0" fmla="*/ 3225 w 9"/>
                  <a:gd name="T1" fmla="*/ 5642 h 9"/>
                  <a:gd name="T2" fmla="*/ 0 w 9"/>
                  <a:gd name="T3" fmla="*/ 2417 h 9"/>
                  <a:gd name="T4" fmla="*/ 0 w 9"/>
                  <a:gd name="T5" fmla="*/ 2417 h 9"/>
                  <a:gd name="T6" fmla="*/ 3225 w 9"/>
                  <a:gd name="T7" fmla="*/ 0 h 9"/>
                  <a:gd name="T8" fmla="*/ 5642 w 9"/>
                  <a:gd name="T9" fmla="*/ 2417 h 9"/>
                  <a:gd name="T10" fmla="*/ 3225 w 9"/>
                  <a:gd name="T11" fmla="*/ 5642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2" y="9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609" name="Freeform 324"/>
              <p:cNvSpPr>
                <a:spLocks noChangeArrowheads="1"/>
              </p:cNvSpPr>
              <p:nvPr/>
            </p:nvSpPr>
            <p:spPr bwMode="auto">
              <a:xfrm>
                <a:off x="5704" y="290"/>
                <a:ext cx="11" cy="12"/>
              </a:xfrm>
              <a:custGeom>
                <a:avLst/>
                <a:gdLst>
                  <a:gd name="T0" fmla="*/ 2164 w 8"/>
                  <a:gd name="T1" fmla="*/ 3489 h 9"/>
                  <a:gd name="T2" fmla="*/ 0 w 8"/>
                  <a:gd name="T3" fmla="*/ 1993 h 9"/>
                  <a:gd name="T4" fmla="*/ 0 w 8"/>
                  <a:gd name="T5" fmla="*/ 1495 h 9"/>
                  <a:gd name="T6" fmla="*/ 2164 w 8"/>
                  <a:gd name="T7" fmla="*/ 0 h 9"/>
                  <a:gd name="T8" fmla="*/ 4077 w 8"/>
                  <a:gd name="T9" fmla="*/ 1495 h 9"/>
                  <a:gd name="T10" fmla="*/ 2164 w 8"/>
                  <a:gd name="T11" fmla="*/ 3489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610" name="Oval 325"/>
              <p:cNvSpPr>
                <a:spLocks noChangeArrowheads="1"/>
              </p:cNvSpPr>
              <p:nvPr/>
            </p:nvSpPr>
            <p:spPr bwMode="auto">
              <a:xfrm>
                <a:off x="5683" y="304"/>
                <a:ext cx="13" cy="13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US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611" name="Freeform 326"/>
              <p:cNvSpPr>
                <a:spLocks noChangeArrowheads="1"/>
              </p:cNvSpPr>
              <p:nvPr/>
            </p:nvSpPr>
            <p:spPr bwMode="auto">
              <a:xfrm>
                <a:off x="5662" y="290"/>
                <a:ext cx="13" cy="12"/>
              </a:xfrm>
              <a:custGeom>
                <a:avLst/>
                <a:gdLst>
                  <a:gd name="T0" fmla="*/ 3860 w 9"/>
                  <a:gd name="T1" fmla="*/ 3489 h 9"/>
                  <a:gd name="T2" fmla="*/ 0 w 9"/>
                  <a:gd name="T3" fmla="*/ 1993 h 9"/>
                  <a:gd name="T4" fmla="*/ 0 w 9"/>
                  <a:gd name="T5" fmla="*/ 1495 h 9"/>
                  <a:gd name="T6" fmla="*/ 3860 w 9"/>
                  <a:gd name="T7" fmla="*/ 0 h 9"/>
                  <a:gd name="T8" fmla="*/ 7173 w 9"/>
                  <a:gd name="T9" fmla="*/ 1495 h 9"/>
                  <a:gd name="T10" fmla="*/ 3860 w 9"/>
                  <a:gd name="T11" fmla="*/ 3489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612" name="Freeform 327"/>
              <p:cNvSpPr>
                <a:spLocks noChangeArrowheads="1"/>
              </p:cNvSpPr>
              <p:nvPr/>
            </p:nvSpPr>
            <p:spPr bwMode="auto">
              <a:xfrm>
                <a:off x="5642" y="304"/>
                <a:ext cx="11" cy="13"/>
              </a:xfrm>
              <a:custGeom>
                <a:avLst/>
                <a:gdLst>
                  <a:gd name="T0" fmla="*/ 2164 w 8"/>
                  <a:gd name="T1" fmla="*/ 5642 h 9"/>
                  <a:gd name="T2" fmla="*/ 0 w 8"/>
                  <a:gd name="T3" fmla="*/ 2417 h 9"/>
                  <a:gd name="T4" fmla="*/ 0 w 8"/>
                  <a:gd name="T5" fmla="*/ 2417 h 9"/>
                  <a:gd name="T6" fmla="*/ 2164 w 8"/>
                  <a:gd name="T7" fmla="*/ 0 h 9"/>
                  <a:gd name="T8" fmla="*/ 4077 w 8"/>
                  <a:gd name="T9" fmla="*/ 2417 h 9"/>
                  <a:gd name="T10" fmla="*/ 4077 w 8"/>
                  <a:gd name="T11" fmla="*/ 2417 h 9"/>
                  <a:gd name="T12" fmla="*/ 2164 w 8"/>
                  <a:gd name="T13" fmla="*/ 5642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2" y="9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613" name="Oval 328"/>
              <p:cNvSpPr>
                <a:spLocks noChangeArrowheads="1"/>
              </p:cNvSpPr>
              <p:nvPr/>
            </p:nvSpPr>
            <p:spPr bwMode="auto">
              <a:xfrm>
                <a:off x="5621" y="290"/>
                <a:ext cx="13" cy="12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US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614" name="Freeform 329"/>
              <p:cNvSpPr>
                <a:spLocks noChangeArrowheads="1"/>
              </p:cNvSpPr>
              <p:nvPr/>
            </p:nvSpPr>
            <p:spPr bwMode="auto">
              <a:xfrm>
                <a:off x="5393" y="304"/>
                <a:ext cx="13" cy="13"/>
              </a:xfrm>
              <a:custGeom>
                <a:avLst/>
                <a:gdLst>
                  <a:gd name="T0" fmla="*/ 3225 w 9"/>
                  <a:gd name="T1" fmla="*/ 5642 h 9"/>
                  <a:gd name="T2" fmla="*/ 0 w 9"/>
                  <a:gd name="T3" fmla="*/ 2417 h 9"/>
                  <a:gd name="T4" fmla="*/ 0 w 9"/>
                  <a:gd name="T5" fmla="*/ 2417 h 9"/>
                  <a:gd name="T6" fmla="*/ 3225 w 9"/>
                  <a:gd name="T7" fmla="*/ 0 h 9"/>
                  <a:gd name="T8" fmla="*/ 5642 w 9"/>
                  <a:gd name="T9" fmla="*/ 2417 h 9"/>
                  <a:gd name="T10" fmla="*/ 3225 w 9"/>
                  <a:gd name="T11" fmla="*/ 5642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2" y="9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615" name="Freeform 330"/>
              <p:cNvSpPr>
                <a:spLocks noChangeArrowheads="1"/>
              </p:cNvSpPr>
              <p:nvPr/>
            </p:nvSpPr>
            <p:spPr bwMode="auto">
              <a:xfrm>
                <a:off x="5106" y="304"/>
                <a:ext cx="11" cy="13"/>
              </a:xfrm>
              <a:custGeom>
                <a:avLst/>
                <a:gdLst>
                  <a:gd name="T0" fmla="*/ 2164 w 8"/>
                  <a:gd name="T1" fmla="*/ 5642 h 9"/>
                  <a:gd name="T2" fmla="*/ 0 w 8"/>
                  <a:gd name="T3" fmla="*/ 2417 h 9"/>
                  <a:gd name="T4" fmla="*/ 0 w 8"/>
                  <a:gd name="T5" fmla="*/ 2417 h 9"/>
                  <a:gd name="T6" fmla="*/ 2164 w 8"/>
                  <a:gd name="T7" fmla="*/ 0 h 9"/>
                  <a:gd name="T8" fmla="*/ 4077 w 8"/>
                  <a:gd name="T9" fmla="*/ 2417 h 9"/>
                  <a:gd name="T10" fmla="*/ 2164 w 8"/>
                  <a:gd name="T11" fmla="*/ 5642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2" y="9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616" name="Freeform 331"/>
              <p:cNvSpPr>
                <a:spLocks noChangeArrowheads="1"/>
              </p:cNvSpPr>
              <p:nvPr/>
            </p:nvSpPr>
            <p:spPr bwMode="auto">
              <a:xfrm>
                <a:off x="5023" y="304"/>
                <a:ext cx="13" cy="13"/>
              </a:xfrm>
              <a:custGeom>
                <a:avLst/>
                <a:gdLst>
                  <a:gd name="T0" fmla="*/ 2417 w 9"/>
                  <a:gd name="T1" fmla="*/ 5642 h 9"/>
                  <a:gd name="T2" fmla="*/ 0 w 9"/>
                  <a:gd name="T3" fmla="*/ 2417 h 9"/>
                  <a:gd name="T4" fmla="*/ 0 w 9"/>
                  <a:gd name="T5" fmla="*/ 2417 h 9"/>
                  <a:gd name="T6" fmla="*/ 2417 w 9"/>
                  <a:gd name="T7" fmla="*/ 0 h 9"/>
                  <a:gd name="T8" fmla="*/ 5642 w 9"/>
                  <a:gd name="T9" fmla="*/ 2417 h 9"/>
                  <a:gd name="T10" fmla="*/ 2417 w 9"/>
                  <a:gd name="T11" fmla="*/ 5642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2" y="9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617" name="Freeform 332"/>
              <p:cNvSpPr>
                <a:spLocks noChangeArrowheads="1"/>
              </p:cNvSpPr>
              <p:nvPr/>
            </p:nvSpPr>
            <p:spPr bwMode="auto">
              <a:xfrm>
                <a:off x="5373" y="290"/>
                <a:ext cx="11" cy="12"/>
              </a:xfrm>
              <a:custGeom>
                <a:avLst/>
                <a:gdLst>
                  <a:gd name="T0" fmla="*/ 2164 w 8"/>
                  <a:gd name="T1" fmla="*/ 3489 h 9"/>
                  <a:gd name="T2" fmla="*/ 0 w 8"/>
                  <a:gd name="T3" fmla="*/ 1993 h 9"/>
                  <a:gd name="T4" fmla="*/ 0 w 8"/>
                  <a:gd name="T5" fmla="*/ 1495 h 9"/>
                  <a:gd name="T6" fmla="*/ 2164 w 8"/>
                  <a:gd name="T7" fmla="*/ 0 h 9"/>
                  <a:gd name="T8" fmla="*/ 4077 w 8"/>
                  <a:gd name="T9" fmla="*/ 1495 h 9"/>
                  <a:gd name="T10" fmla="*/ 2164 w 8"/>
                  <a:gd name="T11" fmla="*/ 3489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618" name="Freeform 333"/>
              <p:cNvSpPr>
                <a:spLocks noChangeArrowheads="1"/>
              </p:cNvSpPr>
              <p:nvPr/>
            </p:nvSpPr>
            <p:spPr bwMode="auto">
              <a:xfrm>
                <a:off x="5291" y="290"/>
                <a:ext cx="13" cy="12"/>
              </a:xfrm>
              <a:custGeom>
                <a:avLst/>
                <a:gdLst>
                  <a:gd name="T0" fmla="*/ 2417 w 9"/>
                  <a:gd name="T1" fmla="*/ 3489 h 9"/>
                  <a:gd name="T2" fmla="*/ 0 w 9"/>
                  <a:gd name="T3" fmla="*/ 1993 h 9"/>
                  <a:gd name="T4" fmla="*/ 0 w 9"/>
                  <a:gd name="T5" fmla="*/ 1495 h 9"/>
                  <a:gd name="T6" fmla="*/ 2417 w 9"/>
                  <a:gd name="T7" fmla="*/ 0 h 9"/>
                  <a:gd name="T8" fmla="*/ 5642 w 9"/>
                  <a:gd name="T9" fmla="*/ 1495 h 9"/>
                  <a:gd name="T10" fmla="*/ 2417 w 9"/>
                  <a:gd name="T11" fmla="*/ 3489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619" name="Freeform 334"/>
              <p:cNvSpPr>
                <a:spLocks noChangeArrowheads="1"/>
              </p:cNvSpPr>
              <p:nvPr/>
            </p:nvSpPr>
            <p:spPr bwMode="auto">
              <a:xfrm>
                <a:off x="5250" y="290"/>
                <a:ext cx="11" cy="12"/>
              </a:xfrm>
              <a:custGeom>
                <a:avLst/>
                <a:gdLst>
                  <a:gd name="T0" fmla="*/ 2164 w 8"/>
                  <a:gd name="T1" fmla="*/ 3489 h 9"/>
                  <a:gd name="T2" fmla="*/ 0 w 8"/>
                  <a:gd name="T3" fmla="*/ 1993 h 9"/>
                  <a:gd name="T4" fmla="*/ 0 w 8"/>
                  <a:gd name="T5" fmla="*/ 1495 h 9"/>
                  <a:gd name="T6" fmla="*/ 2164 w 8"/>
                  <a:gd name="T7" fmla="*/ 0 h 9"/>
                  <a:gd name="T8" fmla="*/ 4077 w 8"/>
                  <a:gd name="T9" fmla="*/ 1495 h 9"/>
                  <a:gd name="T10" fmla="*/ 2164 w 8"/>
                  <a:gd name="T11" fmla="*/ 3489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620" name="Oval 335"/>
              <p:cNvSpPr>
                <a:spLocks noChangeArrowheads="1"/>
              </p:cNvSpPr>
              <p:nvPr/>
            </p:nvSpPr>
            <p:spPr bwMode="auto">
              <a:xfrm>
                <a:off x="5229" y="304"/>
                <a:ext cx="13" cy="13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US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621" name="Freeform 336"/>
              <p:cNvSpPr>
                <a:spLocks noChangeArrowheads="1"/>
              </p:cNvSpPr>
              <p:nvPr/>
            </p:nvSpPr>
            <p:spPr bwMode="auto">
              <a:xfrm>
                <a:off x="5085" y="290"/>
                <a:ext cx="13" cy="12"/>
              </a:xfrm>
              <a:custGeom>
                <a:avLst/>
                <a:gdLst>
                  <a:gd name="T0" fmla="*/ 2417 w 9"/>
                  <a:gd name="T1" fmla="*/ 3489 h 9"/>
                  <a:gd name="T2" fmla="*/ 0 w 9"/>
                  <a:gd name="T3" fmla="*/ 1993 h 9"/>
                  <a:gd name="T4" fmla="*/ 0 w 9"/>
                  <a:gd name="T5" fmla="*/ 1495 h 9"/>
                  <a:gd name="T6" fmla="*/ 2417 w 9"/>
                  <a:gd name="T7" fmla="*/ 0 h 9"/>
                  <a:gd name="T8" fmla="*/ 5642 w 9"/>
                  <a:gd name="T9" fmla="*/ 1495 h 9"/>
                  <a:gd name="T10" fmla="*/ 2417 w 9"/>
                  <a:gd name="T11" fmla="*/ 3489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622" name="Freeform 337"/>
              <p:cNvSpPr>
                <a:spLocks noChangeArrowheads="1"/>
              </p:cNvSpPr>
              <p:nvPr/>
            </p:nvSpPr>
            <p:spPr bwMode="auto">
              <a:xfrm>
                <a:off x="5312" y="304"/>
                <a:ext cx="11" cy="13"/>
              </a:xfrm>
              <a:custGeom>
                <a:avLst/>
                <a:gdLst>
                  <a:gd name="T0" fmla="*/ 2164 w 8"/>
                  <a:gd name="T1" fmla="*/ 5642 h 9"/>
                  <a:gd name="T2" fmla="*/ 0 w 8"/>
                  <a:gd name="T3" fmla="*/ 2417 h 9"/>
                  <a:gd name="T4" fmla="*/ 0 w 8"/>
                  <a:gd name="T5" fmla="*/ 2417 h 9"/>
                  <a:gd name="T6" fmla="*/ 2164 w 8"/>
                  <a:gd name="T7" fmla="*/ 0 h 9"/>
                  <a:gd name="T8" fmla="*/ 4077 w 8"/>
                  <a:gd name="T9" fmla="*/ 2417 h 9"/>
                  <a:gd name="T10" fmla="*/ 2164 w 8"/>
                  <a:gd name="T11" fmla="*/ 5642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2" y="9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623" name="Freeform 338"/>
              <p:cNvSpPr>
                <a:spLocks noChangeArrowheads="1"/>
              </p:cNvSpPr>
              <p:nvPr/>
            </p:nvSpPr>
            <p:spPr bwMode="auto">
              <a:xfrm>
                <a:off x="5476" y="325"/>
                <a:ext cx="12" cy="11"/>
              </a:xfrm>
              <a:custGeom>
                <a:avLst/>
                <a:gdLst>
                  <a:gd name="T0" fmla="*/ 1495 w 9"/>
                  <a:gd name="T1" fmla="*/ 4077 h 8"/>
                  <a:gd name="T2" fmla="*/ 0 w 9"/>
                  <a:gd name="T3" fmla="*/ 2164 h 8"/>
                  <a:gd name="T4" fmla="*/ 0 w 9"/>
                  <a:gd name="T5" fmla="*/ 2164 h 8"/>
                  <a:gd name="T6" fmla="*/ 1495 w 9"/>
                  <a:gd name="T7" fmla="*/ 0 h 8"/>
                  <a:gd name="T8" fmla="*/ 1993 w 9"/>
                  <a:gd name="T9" fmla="*/ 0 h 8"/>
                  <a:gd name="T10" fmla="*/ 3489 w 9"/>
                  <a:gd name="T11" fmla="*/ 2164 h 8"/>
                  <a:gd name="T12" fmla="*/ 1495 w 9"/>
                  <a:gd name="T13" fmla="*/ 4077 h 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8">
                    <a:moveTo>
                      <a:pt x="4" y="8"/>
                    </a:moveTo>
                    <a:cubicBezTo>
                      <a:pt x="2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6"/>
                      <a:pt x="7" y="8"/>
                      <a:pt x="4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624" name="Freeform 339"/>
              <p:cNvSpPr>
                <a:spLocks noChangeArrowheads="1"/>
              </p:cNvSpPr>
              <p:nvPr/>
            </p:nvSpPr>
            <p:spPr bwMode="auto">
              <a:xfrm>
                <a:off x="5435" y="325"/>
                <a:ext cx="11" cy="11"/>
              </a:xfrm>
              <a:custGeom>
                <a:avLst/>
                <a:gdLst>
                  <a:gd name="T0" fmla="*/ 2164 w 8"/>
                  <a:gd name="T1" fmla="*/ 4077 h 8"/>
                  <a:gd name="T2" fmla="*/ 0 w 8"/>
                  <a:gd name="T3" fmla="*/ 2164 h 8"/>
                  <a:gd name="T4" fmla="*/ 0 w 8"/>
                  <a:gd name="T5" fmla="*/ 2164 h 8"/>
                  <a:gd name="T6" fmla="*/ 2164 w 8"/>
                  <a:gd name="T7" fmla="*/ 0 h 8"/>
                  <a:gd name="T8" fmla="*/ 2164 w 8"/>
                  <a:gd name="T9" fmla="*/ 0 h 8"/>
                  <a:gd name="T10" fmla="*/ 4077 w 8"/>
                  <a:gd name="T11" fmla="*/ 2164 h 8"/>
                  <a:gd name="T12" fmla="*/ 2164 w 8"/>
                  <a:gd name="T13" fmla="*/ 4077 h 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8" h="8">
                    <a:moveTo>
                      <a:pt x="4" y="8"/>
                    </a:moveTo>
                    <a:cubicBezTo>
                      <a:pt x="2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7" y="0"/>
                      <a:pt x="8" y="2"/>
                      <a:pt x="8" y="4"/>
                    </a:cubicBezTo>
                    <a:cubicBezTo>
                      <a:pt x="8" y="6"/>
                      <a:pt x="6" y="8"/>
                      <a:pt x="4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625" name="Freeform 340"/>
              <p:cNvSpPr>
                <a:spLocks noChangeArrowheads="1"/>
              </p:cNvSpPr>
              <p:nvPr/>
            </p:nvSpPr>
            <p:spPr bwMode="auto">
              <a:xfrm>
                <a:off x="5415" y="312"/>
                <a:ext cx="13" cy="13"/>
              </a:xfrm>
              <a:custGeom>
                <a:avLst/>
                <a:gdLst>
                  <a:gd name="T0" fmla="*/ 2417 w 9"/>
                  <a:gd name="T1" fmla="*/ 5642 h 9"/>
                  <a:gd name="T2" fmla="*/ 0 w 9"/>
                  <a:gd name="T3" fmla="*/ 2417 h 9"/>
                  <a:gd name="T4" fmla="*/ 0 w 9"/>
                  <a:gd name="T5" fmla="*/ 2417 h 9"/>
                  <a:gd name="T6" fmla="*/ 2417 w 9"/>
                  <a:gd name="T7" fmla="*/ 0 h 9"/>
                  <a:gd name="T8" fmla="*/ 5642 w 9"/>
                  <a:gd name="T9" fmla="*/ 2417 h 9"/>
                  <a:gd name="T10" fmla="*/ 2417 w 9"/>
                  <a:gd name="T11" fmla="*/ 5642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2" y="9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626" name="Freeform 341"/>
              <p:cNvSpPr>
                <a:spLocks noChangeArrowheads="1"/>
              </p:cNvSpPr>
              <p:nvPr/>
            </p:nvSpPr>
            <p:spPr bwMode="auto">
              <a:xfrm>
                <a:off x="5044" y="312"/>
                <a:ext cx="11" cy="13"/>
              </a:xfrm>
              <a:custGeom>
                <a:avLst/>
                <a:gdLst>
                  <a:gd name="T0" fmla="*/ 2164 w 8"/>
                  <a:gd name="T1" fmla="*/ 5642 h 9"/>
                  <a:gd name="T2" fmla="*/ 0 w 8"/>
                  <a:gd name="T3" fmla="*/ 2417 h 9"/>
                  <a:gd name="T4" fmla="*/ 0 w 8"/>
                  <a:gd name="T5" fmla="*/ 2417 h 9"/>
                  <a:gd name="T6" fmla="*/ 2164 w 8"/>
                  <a:gd name="T7" fmla="*/ 0 h 9"/>
                  <a:gd name="T8" fmla="*/ 4077 w 8"/>
                  <a:gd name="T9" fmla="*/ 2417 h 9"/>
                  <a:gd name="T10" fmla="*/ 2164 w 8"/>
                  <a:gd name="T11" fmla="*/ 5642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2" y="9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627" name="Freeform 342"/>
              <p:cNvSpPr>
                <a:spLocks noChangeArrowheads="1"/>
              </p:cNvSpPr>
              <p:nvPr/>
            </p:nvSpPr>
            <p:spPr bwMode="auto">
              <a:xfrm>
                <a:off x="5601" y="325"/>
                <a:ext cx="12" cy="11"/>
              </a:xfrm>
              <a:custGeom>
                <a:avLst/>
                <a:gdLst>
                  <a:gd name="T0" fmla="*/ 1993 w 9"/>
                  <a:gd name="T1" fmla="*/ 4077 h 8"/>
                  <a:gd name="T2" fmla="*/ 0 w 9"/>
                  <a:gd name="T3" fmla="*/ 2164 h 8"/>
                  <a:gd name="T4" fmla="*/ 1495 w 9"/>
                  <a:gd name="T5" fmla="*/ 0 h 8"/>
                  <a:gd name="T6" fmla="*/ 1993 w 9"/>
                  <a:gd name="T7" fmla="*/ 0 h 8"/>
                  <a:gd name="T8" fmla="*/ 3489 w 9"/>
                  <a:gd name="T9" fmla="*/ 2164 h 8"/>
                  <a:gd name="T10" fmla="*/ 1993 w 9"/>
                  <a:gd name="T11" fmla="*/ 4077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8">
                    <a:moveTo>
                      <a:pt x="5" y="8"/>
                    </a:moveTo>
                    <a:cubicBezTo>
                      <a:pt x="2" y="8"/>
                      <a:pt x="0" y="6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6"/>
                      <a:pt x="7" y="8"/>
                      <a:pt x="5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628" name="Freeform 343"/>
              <p:cNvSpPr>
                <a:spLocks noChangeArrowheads="1"/>
              </p:cNvSpPr>
              <p:nvPr/>
            </p:nvSpPr>
            <p:spPr bwMode="auto">
              <a:xfrm>
                <a:off x="5581" y="312"/>
                <a:ext cx="10" cy="13"/>
              </a:xfrm>
              <a:custGeom>
                <a:avLst/>
                <a:gdLst>
                  <a:gd name="T0" fmla="*/ 868 w 8"/>
                  <a:gd name="T1" fmla="*/ 5642 h 9"/>
                  <a:gd name="T2" fmla="*/ 0 w 8"/>
                  <a:gd name="T3" fmla="*/ 2417 h 9"/>
                  <a:gd name="T4" fmla="*/ 0 w 8"/>
                  <a:gd name="T5" fmla="*/ 2417 h 9"/>
                  <a:gd name="T6" fmla="*/ 868 w 8"/>
                  <a:gd name="T7" fmla="*/ 0 h 9"/>
                  <a:gd name="T8" fmla="*/ 1780 w 8"/>
                  <a:gd name="T9" fmla="*/ 2417 h 9"/>
                  <a:gd name="T10" fmla="*/ 868 w 8"/>
                  <a:gd name="T11" fmla="*/ 5642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2" y="9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629" name="Freeform 344"/>
              <p:cNvSpPr>
                <a:spLocks noChangeArrowheads="1"/>
              </p:cNvSpPr>
              <p:nvPr/>
            </p:nvSpPr>
            <p:spPr bwMode="auto">
              <a:xfrm>
                <a:off x="5559" y="325"/>
                <a:ext cx="13" cy="11"/>
              </a:xfrm>
              <a:custGeom>
                <a:avLst/>
                <a:gdLst>
                  <a:gd name="T0" fmla="*/ 3194 w 9"/>
                  <a:gd name="T1" fmla="*/ 4077 h 8"/>
                  <a:gd name="T2" fmla="*/ 0 w 9"/>
                  <a:gd name="T3" fmla="*/ 2164 h 8"/>
                  <a:gd name="T4" fmla="*/ 0 w 9"/>
                  <a:gd name="T5" fmla="*/ 2164 h 8"/>
                  <a:gd name="T6" fmla="*/ 3194 w 9"/>
                  <a:gd name="T7" fmla="*/ 0 h 8"/>
                  <a:gd name="T8" fmla="*/ 3194 w 9"/>
                  <a:gd name="T9" fmla="*/ 0 h 8"/>
                  <a:gd name="T10" fmla="*/ 7173 w 9"/>
                  <a:gd name="T11" fmla="*/ 2164 h 8"/>
                  <a:gd name="T12" fmla="*/ 3194 w 9"/>
                  <a:gd name="T13" fmla="*/ 4077 h 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8">
                    <a:moveTo>
                      <a:pt x="4" y="8"/>
                    </a:moveTo>
                    <a:cubicBezTo>
                      <a:pt x="2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6"/>
                      <a:pt x="7" y="8"/>
                      <a:pt x="4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630" name="Freeform 345"/>
              <p:cNvSpPr>
                <a:spLocks noChangeArrowheads="1"/>
              </p:cNvSpPr>
              <p:nvPr/>
            </p:nvSpPr>
            <p:spPr bwMode="auto">
              <a:xfrm>
                <a:off x="5538" y="312"/>
                <a:ext cx="12" cy="13"/>
              </a:xfrm>
              <a:custGeom>
                <a:avLst/>
                <a:gdLst>
                  <a:gd name="T0" fmla="*/ 1993 w 9"/>
                  <a:gd name="T1" fmla="*/ 5642 h 9"/>
                  <a:gd name="T2" fmla="*/ 0 w 9"/>
                  <a:gd name="T3" fmla="*/ 2417 h 9"/>
                  <a:gd name="T4" fmla="*/ 0 w 9"/>
                  <a:gd name="T5" fmla="*/ 2417 h 9"/>
                  <a:gd name="T6" fmla="*/ 1993 w 9"/>
                  <a:gd name="T7" fmla="*/ 0 h 9"/>
                  <a:gd name="T8" fmla="*/ 3489 w 9"/>
                  <a:gd name="T9" fmla="*/ 2417 h 9"/>
                  <a:gd name="T10" fmla="*/ 1993 w 9"/>
                  <a:gd name="T11" fmla="*/ 5642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2" y="9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631" name="Freeform 346"/>
              <p:cNvSpPr>
                <a:spLocks noChangeArrowheads="1"/>
              </p:cNvSpPr>
              <p:nvPr/>
            </p:nvSpPr>
            <p:spPr bwMode="auto">
              <a:xfrm>
                <a:off x="5518" y="325"/>
                <a:ext cx="11" cy="11"/>
              </a:xfrm>
              <a:custGeom>
                <a:avLst/>
                <a:gdLst>
                  <a:gd name="T0" fmla="*/ 2164 w 8"/>
                  <a:gd name="T1" fmla="*/ 4077 h 8"/>
                  <a:gd name="T2" fmla="*/ 0 w 8"/>
                  <a:gd name="T3" fmla="*/ 2164 h 8"/>
                  <a:gd name="T4" fmla="*/ 0 w 8"/>
                  <a:gd name="T5" fmla="*/ 2164 h 8"/>
                  <a:gd name="T6" fmla="*/ 2164 w 8"/>
                  <a:gd name="T7" fmla="*/ 0 h 8"/>
                  <a:gd name="T8" fmla="*/ 2164 w 8"/>
                  <a:gd name="T9" fmla="*/ 0 h 8"/>
                  <a:gd name="T10" fmla="*/ 4077 w 8"/>
                  <a:gd name="T11" fmla="*/ 2164 h 8"/>
                  <a:gd name="T12" fmla="*/ 2164 w 8"/>
                  <a:gd name="T13" fmla="*/ 4077 h 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8" h="8">
                    <a:moveTo>
                      <a:pt x="4" y="8"/>
                    </a:moveTo>
                    <a:cubicBezTo>
                      <a:pt x="2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1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6"/>
                      <a:pt x="6" y="8"/>
                      <a:pt x="4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632" name="Freeform 347"/>
              <p:cNvSpPr>
                <a:spLocks noChangeArrowheads="1"/>
              </p:cNvSpPr>
              <p:nvPr/>
            </p:nvSpPr>
            <p:spPr bwMode="auto">
              <a:xfrm>
                <a:off x="5498" y="312"/>
                <a:ext cx="12" cy="13"/>
              </a:xfrm>
              <a:custGeom>
                <a:avLst/>
                <a:gdLst>
                  <a:gd name="T0" fmla="*/ 1495 w 9"/>
                  <a:gd name="T1" fmla="*/ 5642 h 9"/>
                  <a:gd name="T2" fmla="*/ 0 w 9"/>
                  <a:gd name="T3" fmla="*/ 2417 h 9"/>
                  <a:gd name="T4" fmla="*/ 0 w 9"/>
                  <a:gd name="T5" fmla="*/ 2417 h 9"/>
                  <a:gd name="T6" fmla="*/ 1495 w 9"/>
                  <a:gd name="T7" fmla="*/ 0 h 9"/>
                  <a:gd name="T8" fmla="*/ 3489 w 9"/>
                  <a:gd name="T9" fmla="*/ 2417 h 9"/>
                  <a:gd name="T10" fmla="*/ 1495 w 9"/>
                  <a:gd name="T11" fmla="*/ 5642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2" y="9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633" name="Oval 348"/>
              <p:cNvSpPr>
                <a:spLocks noChangeArrowheads="1"/>
              </p:cNvSpPr>
              <p:nvPr/>
            </p:nvSpPr>
            <p:spPr bwMode="auto">
              <a:xfrm>
                <a:off x="5455" y="312"/>
                <a:ext cx="13" cy="13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US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634" name="Oval 349"/>
              <p:cNvSpPr>
                <a:spLocks noChangeArrowheads="1"/>
              </p:cNvSpPr>
              <p:nvPr/>
            </p:nvSpPr>
            <p:spPr bwMode="auto">
              <a:xfrm>
                <a:off x="5744" y="312"/>
                <a:ext cx="13" cy="13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US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635" name="Freeform 350"/>
              <p:cNvSpPr>
                <a:spLocks noChangeArrowheads="1"/>
              </p:cNvSpPr>
              <p:nvPr/>
            </p:nvSpPr>
            <p:spPr bwMode="auto">
              <a:xfrm>
                <a:off x="5723" y="325"/>
                <a:ext cx="13" cy="11"/>
              </a:xfrm>
              <a:custGeom>
                <a:avLst/>
                <a:gdLst>
                  <a:gd name="T0" fmla="*/ 3225 w 9"/>
                  <a:gd name="T1" fmla="*/ 4077 h 8"/>
                  <a:gd name="T2" fmla="*/ 0 w 9"/>
                  <a:gd name="T3" fmla="*/ 2164 h 8"/>
                  <a:gd name="T4" fmla="*/ 0 w 9"/>
                  <a:gd name="T5" fmla="*/ 2164 h 8"/>
                  <a:gd name="T6" fmla="*/ 3225 w 9"/>
                  <a:gd name="T7" fmla="*/ 0 h 8"/>
                  <a:gd name="T8" fmla="*/ 3225 w 9"/>
                  <a:gd name="T9" fmla="*/ 0 h 8"/>
                  <a:gd name="T10" fmla="*/ 5642 w 9"/>
                  <a:gd name="T11" fmla="*/ 2164 h 8"/>
                  <a:gd name="T12" fmla="*/ 3225 w 9"/>
                  <a:gd name="T13" fmla="*/ 4077 h 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8">
                    <a:moveTo>
                      <a:pt x="5" y="8"/>
                    </a:moveTo>
                    <a:cubicBezTo>
                      <a:pt x="2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6"/>
                      <a:pt x="7" y="8"/>
                      <a:pt x="5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636" name="Freeform 351"/>
              <p:cNvSpPr>
                <a:spLocks noChangeArrowheads="1"/>
              </p:cNvSpPr>
              <p:nvPr/>
            </p:nvSpPr>
            <p:spPr bwMode="auto">
              <a:xfrm>
                <a:off x="5704" y="312"/>
                <a:ext cx="11" cy="13"/>
              </a:xfrm>
              <a:custGeom>
                <a:avLst/>
                <a:gdLst>
                  <a:gd name="T0" fmla="*/ 2164 w 8"/>
                  <a:gd name="T1" fmla="*/ 5642 h 9"/>
                  <a:gd name="T2" fmla="*/ 0 w 8"/>
                  <a:gd name="T3" fmla="*/ 2417 h 9"/>
                  <a:gd name="T4" fmla="*/ 0 w 8"/>
                  <a:gd name="T5" fmla="*/ 2417 h 9"/>
                  <a:gd name="T6" fmla="*/ 2164 w 8"/>
                  <a:gd name="T7" fmla="*/ 0 h 9"/>
                  <a:gd name="T8" fmla="*/ 4077 w 8"/>
                  <a:gd name="T9" fmla="*/ 2417 h 9"/>
                  <a:gd name="T10" fmla="*/ 2164 w 8"/>
                  <a:gd name="T11" fmla="*/ 5642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2" y="9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637" name="Freeform 352"/>
              <p:cNvSpPr>
                <a:spLocks noChangeArrowheads="1"/>
              </p:cNvSpPr>
              <p:nvPr/>
            </p:nvSpPr>
            <p:spPr bwMode="auto">
              <a:xfrm>
                <a:off x="5683" y="325"/>
                <a:ext cx="13" cy="11"/>
              </a:xfrm>
              <a:custGeom>
                <a:avLst/>
                <a:gdLst>
                  <a:gd name="T0" fmla="*/ 2417 w 9"/>
                  <a:gd name="T1" fmla="*/ 4077 h 8"/>
                  <a:gd name="T2" fmla="*/ 0 w 9"/>
                  <a:gd name="T3" fmla="*/ 2164 h 8"/>
                  <a:gd name="T4" fmla="*/ 2417 w 9"/>
                  <a:gd name="T5" fmla="*/ 0 h 8"/>
                  <a:gd name="T6" fmla="*/ 2417 w 9"/>
                  <a:gd name="T7" fmla="*/ 0 h 8"/>
                  <a:gd name="T8" fmla="*/ 5642 w 9"/>
                  <a:gd name="T9" fmla="*/ 2164 h 8"/>
                  <a:gd name="T10" fmla="*/ 2417 w 9"/>
                  <a:gd name="T11" fmla="*/ 4077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8">
                    <a:moveTo>
                      <a:pt x="4" y="8"/>
                    </a:moveTo>
                    <a:cubicBezTo>
                      <a:pt x="2" y="8"/>
                      <a:pt x="0" y="6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6"/>
                      <a:pt x="7" y="8"/>
                      <a:pt x="4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638" name="Freeform 353"/>
              <p:cNvSpPr>
                <a:spLocks noChangeArrowheads="1"/>
              </p:cNvSpPr>
              <p:nvPr/>
            </p:nvSpPr>
            <p:spPr bwMode="auto">
              <a:xfrm>
                <a:off x="5662" y="312"/>
                <a:ext cx="13" cy="13"/>
              </a:xfrm>
              <a:custGeom>
                <a:avLst/>
                <a:gdLst>
                  <a:gd name="T0" fmla="*/ 3860 w 9"/>
                  <a:gd name="T1" fmla="*/ 5642 h 9"/>
                  <a:gd name="T2" fmla="*/ 0 w 9"/>
                  <a:gd name="T3" fmla="*/ 2417 h 9"/>
                  <a:gd name="T4" fmla="*/ 0 w 9"/>
                  <a:gd name="T5" fmla="*/ 2417 h 9"/>
                  <a:gd name="T6" fmla="*/ 3860 w 9"/>
                  <a:gd name="T7" fmla="*/ 0 h 9"/>
                  <a:gd name="T8" fmla="*/ 7173 w 9"/>
                  <a:gd name="T9" fmla="*/ 2417 h 9"/>
                  <a:gd name="T10" fmla="*/ 3860 w 9"/>
                  <a:gd name="T11" fmla="*/ 5642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2" y="9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639" name="Freeform 354"/>
              <p:cNvSpPr>
                <a:spLocks noChangeArrowheads="1"/>
              </p:cNvSpPr>
              <p:nvPr/>
            </p:nvSpPr>
            <p:spPr bwMode="auto">
              <a:xfrm>
                <a:off x="5642" y="325"/>
                <a:ext cx="11" cy="11"/>
              </a:xfrm>
              <a:custGeom>
                <a:avLst/>
                <a:gdLst>
                  <a:gd name="T0" fmla="*/ 2164 w 8"/>
                  <a:gd name="T1" fmla="*/ 4077 h 8"/>
                  <a:gd name="T2" fmla="*/ 0 w 8"/>
                  <a:gd name="T3" fmla="*/ 2164 h 8"/>
                  <a:gd name="T4" fmla="*/ 0 w 8"/>
                  <a:gd name="T5" fmla="*/ 2164 h 8"/>
                  <a:gd name="T6" fmla="*/ 2164 w 8"/>
                  <a:gd name="T7" fmla="*/ 0 h 8"/>
                  <a:gd name="T8" fmla="*/ 2164 w 8"/>
                  <a:gd name="T9" fmla="*/ 0 h 8"/>
                  <a:gd name="T10" fmla="*/ 4077 w 8"/>
                  <a:gd name="T11" fmla="*/ 2164 h 8"/>
                  <a:gd name="T12" fmla="*/ 4077 w 8"/>
                  <a:gd name="T13" fmla="*/ 2164 h 8"/>
                  <a:gd name="T14" fmla="*/ 2164 w 8"/>
                  <a:gd name="T15" fmla="*/ 4077 h 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8" h="8">
                    <a:moveTo>
                      <a:pt x="4" y="8"/>
                    </a:moveTo>
                    <a:cubicBezTo>
                      <a:pt x="2" y="8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6"/>
                      <a:pt x="6" y="8"/>
                      <a:pt x="4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640" name="Oval 355"/>
              <p:cNvSpPr>
                <a:spLocks noChangeArrowheads="1"/>
              </p:cNvSpPr>
              <p:nvPr/>
            </p:nvSpPr>
            <p:spPr bwMode="auto">
              <a:xfrm>
                <a:off x="5621" y="312"/>
                <a:ext cx="13" cy="13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US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641" name="Freeform 356"/>
              <p:cNvSpPr>
                <a:spLocks noChangeArrowheads="1"/>
              </p:cNvSpPr>
              <p:nvPr/>
            </p:nvSpPr>
            <p:spPr bwMode="auto">
              <a:xfrm>
                <a:off x="5393" y="325"/>
                <a:ext cx="13" cy="11"/>
              </a:xfrm>
              <a:custGeom>
                <a:avLst/>
                <a:gdLst>
                  <a:gd name="T0" fmla="*/ 3225 w 9"/>
                  <a:gd name="T1" fmla="*/ 4077 h 8"/>
                  <a:gd name="T2" fmla="*/ 0 w 9"/>
                  <a:gd name="T3" fmla="*/ 2164 h 8"/>
                  <a:gd name="T4" fmla="*/ 0 w 9"/>
                  <a:gd name="T5" fmla="*/ 2164 h 8"/>
                  <a:gd name="T6" fmla="*/ 3225 w 9"/>
                  <a:gd name="T7" fmla="*/ 0 h 8"/>
                  <a:gd name="T8" fmla="*/ 3225 w 9"/>
                  <a:gd name="T9" fmla="*/ 0 h 8"/>
                  <a:gd name="T10" fmla="*/ 5642 w 9"/>
                  <a:gd name="T11" fmla="*/ 2164 h 8"/>
                  <a:gd name="T12" fmla="*/ 3225 w 9"/>
                  <a:gd name="T13" fmla="*/ 4077 h 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8">
                    <a:moveTo>
                      <a:pt x="5" y="8"/>
                    </a:moveTo>
                    <a:cubicBezTo>
                      <a:pt x="2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6"/>
                      <a:pt x="7" y="8"/>
                      <a:pt x="5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642" name="Freeform 357"/>
              <p:cNvSpPr>
                <a:spLocks noChangeArrowheads="1"/>
              </p:cNvSpPr>
              <p:nvPr/>
            </p:nvSpPr>
            <p:spPr bwMode="auto">
              <a:xfrm>
                <a:off x="5106" y="325"/>
                <a:ext cx="11" cy="11"/>
              </a:xfrm>
              <a:custGeom>
                <a:avLst/>
                <a:gdLst>
                  <a:gd name="T0" fmla="*/ 2164 w 8"/>
                  <a:gd name="T1" fmla="*/ 4077 h 8"/>
                  <a:gd name="T2" fmla="*/ 0 w 8"/>
                  <a:gd name="T3" fmla="*/ 2164 h 8"/>
                  <a:gd name="T4" fmla="*/ 0 w 8"/>
                  <a:gd name="T5" fmla="*/ 2164 h 8"/>
                  <a:gd name="T6" fmla="*/ 2164 w 8"/>
                  <a:gd name="T7" fmla="*/ 0 h 8"/>
                  <a:gd name="T8" fmla="*/ 2164 w 8"/>
                  <a:gd name="T9" fmla="*/ 0 h 8"/>
                  <a:gd name="T10" fmla="*/ 4077 w 8"/>
                  <a:gd name="T11" fmla="*/ 2164 h 8"/>
                  <a:gd name="T12" fmla="*/ 2164 w 8"/>
                  <a:gd name="T13" fmla="*/ 4077 h 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8" h="8">
                    <a:moveTo>
                      <a:pt x="4" y="8"/>
                    </a:moveTo>
                    <a:cubicBezTo>
                      <a:pt x="2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7" y="0"/>
                      <a:pt x="8" y="2"/>
                      <a:pt x="8" y="4"/>
                    </a:cubicBezTo>
                    <a:cubicBezTo>
                      <a:pt x="8" y="6"/>
                      <a:pt x="6" y="8"/>
                      <a:pt x="4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643" name="Freeform 358"/>
              <p:cNvSpPr>
                <a:spLocks noChangeArrowheads="1"/>
              </p:cNvSpPr>
              <p:nvPr/>
            </p:nvSpPr>
            <p:spPr bwMode="auto">
              <a:xfrm>
                <a:off x="5023" y="325"/>
                <a:ext cx="13" cy="11"/>
              </a:xfrm>
              <a:custGeom>
                <a:avLst/>
                <a:gdLst>
                  <a:gd name="T0" fmla="*/ 2417 w 9"/>
                  <a:gd name="T1" fmla="*/ 4077 h 8"/>
                  <a:gd name="T2" fmla="*/ 0 w 9"/>
                  <a:gd name="T3" fmla="*/ 2164 h 8"/>
                  <a:gd name="T4" fmla="*/ 0 w 9"/>
                  <a:gd name="T5" fmla="*/ 2164 h 8"/>
                  <a:gd name="T6" fmla="*/ 2417 w 9"/>
                  <a:gd name="T7" fmla="*/ 0 h 8"/>
                  <a:gd name="T8" fmla="*/ 2417 w 9"/>
                  <a:gd name="T9" fmla="*/ 0 h 8"/>
                  <a:gd name="T10" fmla="*/ 5642 w 9"/>
                  <a:gd name="T11" fmla="*/ 2164 h 8"/>
                  <a:gd name="T12" fmla="*/ 2417 w 9"/>
                  <a:gd name="T13" fmla="*/ 4077 h 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8">
                    <a:moveTo>
                      <a:pt x="4" y="8"/>
                    </a:moveTo>
                    <a:cubicBezTo>
                      <a:pt x="2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6"/>
                      <a:pt x="7" y="8"/>
                      <a:pt x="4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644" name="Freeform 359"/>
              <p:cNvSpPr>
                <a:spLocks noChangeArrowheads="1"/>
              </p:cNvSpPr>
              <p:nvPr/>
            </p:nvSpPr>
            <p:spPr bwMode="auto">
              <a:xfrm>
                <a:off x="5373" y="312"/>
                <a:ext cx="11" cy="13"/>
              </a:xfrm>
              <a:custGeom>
                <a:avLst/>
                <a:gdLst>
                  <a:gd name="T0" fmla="*/ 2164 w 8"/>
                  <a:gd name="T1" fmla="*/ 5642 h 9"/>
                  <a:gd name="T2" fmla="*/ 0 w 8"/>
                  <a:gd name="T3" fmla="*/ 2417 h 9"/>
                  <a:gd name="T4" fmla="*/ 0 w 8"/>
                  <a:gd name="T5" fmla="*/ 2417 h 9"/>
                  <a:gd name="T6" fmla="*/ 2164 w 8"/>
                  <a:gd name="T7" fmla="*/ 0 h 9"/>
                  <a:gd name="T8" fmla="*/ 4077 w 8"/>
                  <a:gd name="T9" fmla="*/ 2417 h 9"/>
                  <a:gd name="T10" fmla="*/ 2164 w 8"/>
                  <a:gd name="T11" fmla="*/ 5642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2" y="9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645" name="Freeform 360"/>
              <p:cNvSpPr>
                <a:spLocks noChangeArrowheads="1"/>
              </p:cNvSpPr>
              <p:nvPr/>
            </p:nvSpPr>
            <p:spPr bwMode="auto">
              <a:xfrm>
                <a:off x="5291" y="312"/>
                <a:ext cx="13" cy="13"/>
              </a:xfrm>
              <a:custGeom>
                <a:avLst/>
                <a:gdLst>
                  <a:gd name="T0" fmla="*/ 2417 w 9"/>
                  <a:gd name="T1" fmla="*/ 5642 h 9"/>
                  <a:gd name="T2" fmla="*/ 0 w 9"/>
                  <a:gd name="T3" fmla="*/ 2417 h 9"/>
                  <a:gd name="T4" fmla="*/ 0 w 9"/>
                  <a:gd name="T5" fmla="*/ 2417 h 9"/>
                  <a:gd name="T6" fmla="*/ 2417 w 9"/>
                  <a:gd name="T7" fmla="*/ 0 h 9"/>
                  <a:gd name="T8" fmla="*/ 5642 w 9"/>
                  <a:gd name="T9" fmla="*/ 2417 h 9"/>
                  <a:gd name="T10" fmla="*/ 2417 w 9"/>
                  <a:gd name="T11" fmla="*/ 5642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2" y="9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646" name="Freeform 361"/>
              <p:cNvSpPr>
                <a:spLocks noChangeArrowheads="1"/>
              </p:cNvSpPr>
              <p:nvPr/>
            </p:nvSpPr>
            <p:spPr bwMode="auto">
              <a:xfrm>
                <a:off x="5250" y="312"/>
                <a:ext cx="11" cy="13"/>
              </a:xfrm>
              <a:custGeom>
                <a:avLst/>
                <a:gdLst>
                  <a:gd name="T0" fmla="*/ 2164 w 8"/>
                  <a:gd name="T1" fmla="*/ 5642 h 9"/>
                  <a:gd name="T2" fmla="*/ 0 w 8"/>
                  <a:gd name="T3" fmla="*/ 2417 h 9"/>
                  <a:gd name="T4" fmla="*/ 0 w 8"/>
                  <a:gd name="T5" fmla="*/ 2417 h 9"/>
                  <a:gd name="T6" fmla="*/ 2164 w 8"/>
                  <a:gd name="T7" fmla="*/ 0 h 9"/>
                  <a:gd name="T8" fmla="*/ 4077 w 8"/>
                  <a:gd name="T9" fmla="*/ 2417 h 9"/>
                  <a:gd name="T10" fmla="*/ 2164 w 8"/>
                  <a:gd name="T11" fmla="*/ 5642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2" y="9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647" name="Freeform 362"/>
              <p:cNvSpPr>
                <a:spLocks noChangeArrowheads="1"/>
              </p:cNvSpPr>
              <p:nvPr/>
            </p:nvSpPr>
            <p:spPr bwMode="auto">
              <a:xfrm>
                <a:off x="5229" y="325"/>
                <a:ext cx="13" cy="11"/>
              </a:xfrm>
              <a:custGeom>
                <a:avLst/>
                <a:gdLst>
                  <a:gd name="T0" fmla="*/ 3194 w 9"/>
                  <a:gd name="T1" fmla="*/ 4077 h 8"/>
                  <a:gd name="T2" fmla="*/ 0 w 9"/>
                  <a:gd name="T3" fmla="*/ 2164 h 8"/>
                  <a:gd name="T4" fmla="*/ 3194 w 9"/>
                  <a:gd name="T5" fmla="*/ 0 h 8"/>
                  <a:gd name="T6" fmla="*/ 3194 w 9"/>
                  <a:gd name="T7" fmla="*/ 0 h 8"/>
                  <a:gd name="T8" fmla="*/ 7173 w 9"/>
                  <a:gd name="T9" fmla="*/ 2164 h 8"/>
                  <a:gd name="T10" fmla="*/ 3194 w 9"/>
                  <a:gd name="T11" fmla="*/ 4077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8">
                    <a:moveTo>
                      <a:pt x="4" y="8"/>
                    </a:moveTo>
                    <a:cubicBezTo>
                      <a:pt x="2" y="8"/>
                      <a:pt x="0" y="6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6"/>
                      <a:pt x="7" y="8"/>
                      <a:pt x="4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648" name="Freeform 363"/>
              <p:cNvSpPr>
                <a:spLocks noChangeArrowheads="1"/>
              </p:cNvSpPr>
              <p:nvPr/>
            </p:nvSpPr>
            <p:spPr bwMode="auto">
              <a:xfrm>
                <a:off x="5085" y="312"/>
                <a:ext cx="13" cy="13"/>
              </a:xfrm>
              <a:custGeom>
                <a:avLst/>
                <a:gdLst>
                  <a:gd name="T0" fmla="*/ 2417 w 9"/>
                  <a:gd name="T1" fmla="*/ 5642 h 9"/>
                  <a:gd name="T2" fmla="*/ 0 w 9"/>
                  <a:gd name="T3" fmla="*/ 2417 h 9"/>
                  <a:gd name="T4" fmla="*/ 0 w 9"/>
                  <a:gd name="T5" fmla="*/ 2417 h 9"/>
                  <a:gd name="T6" fmla="*/ 2417 w 9"/>
                  <a:gd name="T7" fmla="*/ 0 h 9"/>
                  <a:gd name="T8" fmla="*/ 5642 w 9"/>
                  <a:gd name="T9" fmla="*/ 2417 h 9"/>
                  <a:gd name="T10" fmla="*/ 2417 w 9"/>
                  <a:gd name="T11" fmla="*/ 5642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2" y="9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649" name="Freeform 364"/>
              <p:cNvSpPr>
                <a:spLocks noChangeArrowheads="1"/>
              </p:cNvSpPr>
              <p:nvPr/>
            </p:nvSpPr>
            <p:spPr bwMode="auto">
              <a:xfrm>
                <a:off x="5476" y="347"/>
                <a:ext cx="12" cy="11"/>
              </a:xfrm>
              <a:custGeom>
                <a:avLst/>
                <a:gdLst>
                  <a:gd name="T0" fmla="*/ 1495 w 9"/>
                  <a:gd name="T1" fmla="*/ 4077 h 8"/>
                  <a:gd name="T2" fmla="*/ 0 w 9"/>
                  <a:gd name="T3" fmla="*/ 2164 h 8"/>
                  <a:gd name="T4" fmla="*/ 0 w 9"/>
                  <a:gd name="T5" fmla="*/ 2164 h 8"/>
                  <a:gd name="T6" fmla="*/ 1495 w 9"/>
                  <a:gd name="T7" fmla="*/ 0 h 8"/>
                  <a:gd name="T8" fmla="*/ 3489 w 9"/>
                  <a:gd name="T9" fmla="*/ 2164 h 8"/>
                  <a:gd name="T10" fmla="*/ 1495 w 9"/>
                  <a:gd name="T11" fmla="*/ 4077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8">
                    <a:moveTo>
                      <a:pt x="4" y="8"/>
                    </a:moveTo>
                    <a:cubicBezTo>
                      <a:pt x="2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7" y="0"/>
                      <a:pt x="9" y="1"/>
                      <a:pt x="9" y="4"/>
                    </a:cubicBezTo>
                    <a:cubicBezTo>
                      <a:pt x="9" y="6"/>
                      <a:pt x="7" y="8"/>
                      <a:pt x="4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650" name="Freeform 365"/>
              <p:cNvSpPr>
                <a:spLocks noChangeArrowheads="1"/>
              </p:cNvSpPr>
              <p:nvPr/>
            </p:nvSpPr>
            <p:spPr bwMode="auto">
              <a:xfrm>
                <a:off x="5435" y="347"/>
                <a:ext cx="11" cy="11"/>
              </a:xfrm>
              <a:custGeom>
                <a:avLst/>
                <a:gdLst>
                  <a:gd name="T0" fmla="*/ 2164 w 8"/>
                  <a:gd name="T1" fmla="*/ 4077 h 8"/>
                  <a:gd name="T2" fmla="*/ 0 w 8"/>
                  <a:gd name="T3" fmla="*/ 2164 h 8"/>
                  <a:gd name="T4" fmla="*/ 0 w 8"/>
                  <a:gd name="T5" fmla="*/ 2164 h 8"/>
                  <a:gd name="T6" fmla="*/ 2164 w 8"/>
                  <a:gd name="T7" fmla="*/ 0 h 8"/>
                  <a:gd name="T8" fmla="*/ 4077 w 8"/>
                  <a:gd name="T9" fmla="*/ 2164 h 8"/>
                  <a:gd name="T10" fmla="*/ 2164 w 8"/>
                  <a:gd name="T11" fmla="*/ 4077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8" h="8">
                    <a:moveTo>
                      <a:pt x="4" y="8"/>
                    </a:moveTo>
                    <a:cubicBezTo>
                      <a:pt x="2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6" y="0"/>
                      <a:pt x="8" y="1"/>
                      <a:pt x="8" y="4"/>
                    </a:cubicBezTo>
                    <a:cubicBezTo>
                      <a:pt x="8" y="6"/>
                      <a:pt x="6" y="8"/>
                      <a:pt x="4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651" name="Freeform 366"/>
              <p:cNvSpPr>
                <a:spLocks noChangeArrowheads="1"/>
              </p:cNvSpPr>
              <p:nvPr/>
            </p:nvSpPr>
            <p:spPr bwMode="auto">
              <a:xfrm>
                <a:off x="5415" y="332"/>
                <a:ext cx="13" cy="11"/>
              </a:xfrm>
              <a:custGeom>
                <a:avLst/>
                <a:gdLst>
                  <a:gd name="T0" fmla="*/ 3225 w 9"/>
                  <a:gd name="T1" fmla="*/ 4077 h 8"/>
                  <a:gd name="T2" fmla="*/ 2417 w 9"/>
                  <a:gd name="T3" fmla="*/ 4077 h 8"/>
                  <a:gd name="T4" fmla="*/ 0 w 9"/>
                  <a:gd name="T5" fmla="*/ 2164 h 8"/>
                  <a:gd name="T6" fmla="*/ 0 w 9"/>
                  <a:gd name="T7" fmla="*/ 2164 h 8"/>
                  <a:gd name="T8" fmla="*/ 2417 w 9"/>
                  <a:gd name="T9" fmla="*/ 0 h 8"/>
                  <a:gd name="T10" fmla="*/ 3225 w 9"/>
                  <a:gd name="T11" fmla="*/ 0 h 8"/>
                  <a:gd name="T12" fmla="*/ 5642 w 9"/>
                  <a:gd name="T13" fmla="*/ 2164 h 8"/>
                  <a:gd name="T14" fmla="*/ 3225 w 9"/>
                  <a:gd name="T15" fmla="*/ 4077 h 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9" h="8">
                    <a:moveTo>
                      <a:pt x="5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6"/>
                      <a:pt x="7" y="8"/>
                      <a:pt x="5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652" name="Oval 367"/>
              <p:cNvSpPr>
                <a:spLocks noChangeArrowheads="1"/>
              </p:cNvSpPr>
              <p:nvPr/>
            </p:nvSpPr>
            <p:spPr bwMode="auto">
              <a:xfrm>
                <a:off x="5601" y="347"/>
                <a:ext cx="12" cy="11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US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653" name="Freeform 368"/>
              <p:cNvSpPr>
                <a:spLocks noChangeArrowheads="1"/>
              </p:cNvSpPr>
              <p:nvPr/>
            </p:nvSpPr>
            <p:spPr bwMode="auto">
              <a:xfrm>
                <a:off x="5581" y="332"/>
                <a:ext cx="10" cy="11"/>
              </a:xfrm>
              <a:custGeom>
                <a:avLst/>
                <a:gdLst>
                  <a:gd name="T0" fmla="*/ 868 w 8"/>
                  <a:gd name="T1" fmla="*/ 4077 h 8"/>
                  <a:gd name="T2" fmla="*/ 868 w 8"/>
                  <a:gd name="T3" fmla="*/ 4077 h 8"/>
                  <a:gd name="T4" fmla="*/ 0 w 8"/>
                  <a:gd name="T5" fmla="*/ 2164 h 8"/>
                  <a:gd name="T6" fmla="*/ 0 w 8"/>
                  <a:gd name="T7" fmla="*/ 2164 h 8"/>
                  <a:gd name="T8" fmla="*/ 868 w 8"/>
                  <a:gd name="T9" fmla="*/ 0 h 8"/>
                  <a:gd name="T10" fmla="*/ 868 w 8"/>
                  <a:gd name="T11" fmla="*/ 0 h 8"/>
                  <a:gd name="T12" fmla="*/ 1780 w 8"/>
                  <a:gd name="T13" fmla="*/ 2164 h 8"/>
                  <a:gd name="T14" fmla="*/ 868 w 8"/>
                  <a:gd name="T15" fmla="*/ 4077 h 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8" h="8">
                    <a:moveTo>
                      <a:pt x="4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6"/>
                      <a:pt x="6" y="8"/>
                      <a:pt x="4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654" name="Freeform 369"/>
              <p:cNvSpPr>
                <a:spLocks noChangeArrowheads="1"/>
              </p:cNvSpPr>
              <p:nvPr/>
            </p:nvSpPr>
            <p:spPr bwMode="auto">
              <a:xfrm>
                <a:off x="5559" y="347"/>
                <a:ext cx="13" cy="11"/>
              </a:xfrm>
              <a:custGeom>
                <a:avLst/>
                <a:gdLst>
                  <a:gd name="T0" fmla="*/ 3194 w 9"/>
                  <a:gd name="T1" fmla="*/ 4077 h 8"/>
                  <a:gd name="T2" fmla="*/ 0 w 9"/>
                  <a:gd name="T3" fmla="*/ 2164 h 8"/>
                  <a:gd name="T4" fmla="*/ 0 w 9"/>
                  <a:gd name="T5" fmla="*/ 2164 h 8"/>
                  <a:gd name="T6" fmla="*/ 3194 w 9"/>
                  <a:gd name="T7" fmla="*/ 0 h 8"/>
                  <a:gd name="T8" fmla="*/ 7173 w 9"/>
                  <a:gd name="T9" fmla="*/ 2164 h 8"/>
                  <a:gd name="T10" fmla="*/ 3194 w 9"/>
                  <a:gd name="T11" fmla="*/ 4077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8">
                    <a:moveTo>
                      <a:pt x="4" y="8"/>
                    </a:moveTo>
                    <a:cubicBezTo>
                      <a:pt x="2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7" y="0"/>
                      <a:pt x="9" y="1"/>
                      <a:pt x="9" y="4"/>
                    </a:cubicBezTo>
                    <a:cubicBezTo>
                      <a:pt x="9" y="6"/>
                      <a:pt x="7" y="8"/>
                      <a:pt x="4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655" name="Freeform 370"/>
              <p:cNvSpPr>
                <a:spLocks noChangeArrowheads="1"/>
              </p:cNvSpPr>
              <p:nvPr/>
            </p:nvSpPr>
            <p:spPr bwMode="auto">
              <a:xfrm>
                <a:off x="5538" y="332"/>
                <a:ext cx="12" cy="11"/>
              </a:xfrm>
              <a:custGeom>
                <a:avLst/>
                <a:gdLst>
                  <a:gd name="T0" fmla="*/ 1993 w 9"/>
                  <a:gd name="T1" fmla="*/ 4077 h 8"/>
                  <a:gd name="T2" fmla="*/ 1495 w 9"/>
                  <a:gd name="T3" fmla="*/ 4077 h 8"/>
                  <a:gd name="T4" fmla="*/ 0 w 9"/>
                  <a:gd name="T5" fmla="*/ 2164 h 8"/>
                  <a:gd name="T6" fmla="*/ 0 w 9"/>
                  <a:gd name="T7" fmla="*/ 2164 h 8"/>
                  <a:gd name="T8" fmla="*/ 1495 w 9"/>
                  <a:gd name="T9" fmla="*/ 0 h 8"/>
                  <a:gd name="T10" fmla="*/ 1993 w 9"/>
                  <a:gd name="T11" fmla="*/ 0 h 8"/>
                  <a:gd name="T12" fmla="*/ 3489 w 9"/>
                  <a:gd name="T13" fmla="*/ 2164 h 8"/>
                  <a:gd name="T14" fmla="*/ 1993 w 9"/>
                  <a:gd name="T15" fmla="*/ 4077 h 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9" h="8">
                    <a:moveTo>
                      <a:pt x="5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6"/>
                      <a:pt x="7" y="8"/>
                      <a:pt x="5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656" name="Freeform 371"/>
              <p:cNvSpPr>
                <a:spLocks noChangeArrowheads="1"/>
              </p:cNvSpPr>
              <p:nvPr/>
            </p:nvSpPr>
            <p:spPr bwMode="auto">
              <a:xfrm>
                <a:off x="5518" y="347"/>
                <a:ext cx="11" cy="11"/>
              </a:xfrm>
              <a:custGeom>
                <a:avLst/>
                <a:gdLst>
                  <a:gd name="T0" fmla="*/ 2164 w 8"/>
                  <a:gd name="T1" fmla="*/ 4077 h 8"/>
                  <a:gd name="T2" fmla="*/ 0 w 8"/>
                  <a:gd name="T3" fmla="*/ 2164 h 8"/>
                  <a:gd name="T4" fmla="*/ 0 w 8"/>
                  <a:gd name="T5" fmla="*/ 2164 h 8"/>
                  <a:gd name="T6" fmla="*/ 2164 w 8"/>
                  <a:gd name="T7" fmla="*/ 0 h 8"/>
                  <a:gd name="T8" fmla="*/ 4077 w 8"/>
                  <a:gd name="T9" fmla="*/ 2164 h 8"/>
                  <a:gd name="T10" fmla="*/ 2164 w 8"/>
                  <a:gd name="T11" fmla="*/ 4077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8" h="8">
                    <a:moveTo>
                      <a:pt x="4" y="8"/>
                    </a:moveTo>
                    <a:cubicBezTo>
                      <a:pt x="2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6" y="0"/>
                      <a:pt x="8" y="1"/>
                      <a:pt x="8" y="4"/>
                    </a:cubicBezTo>
                    <a:cubicBezTo>
                      <a:pt x="8" y="6"/>
                      <a:pt x="6" y="8"/>
                      <a:pt x="4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657" name="Freeform 372"/>
              <p:cNvSpPr>
                <a:spLocks noChangeArrowheads="1"/>
              </p:cNvSpPr>
              <p:nvPr/>
            </p:nvSpPr>
            <p:spPr bwMode="auto">
              <a:xfrm>
                <a:off x="5498" y="332"/>
                <a:ext cx="12" cy="11"/>
              </a:xfrm>
              <a:custGeom>
                <a:avLst/>
                <a:gdLst>
                  <a:gd name="T0" fmla="*/ 1495 w 9"/>
                  <a:gd name="T1" fmla="*/ 4077 h 8"/>
                  <a:gd name="T2" fmla="*/ 1495 w 9"/>
                  <a:gd name="T3" fmla="*/ 4077 h 8"/>
                  <a:gd name="T4" fmla="*/ 0 w 9"/>
                  <a:gd name="T5" fmla="*/ 2164 h 8"/>
                  <a:gd name="T6" fmla="*/ 0 w 9"/>
                  <a:gd name="T7" fmla="*/ 2164 h 8"/>
                  <a:gd name="T8" fmla="*/ 1495 w 9"/>
                  <a:gd name="T9" fmla="*/ 0 h 8"/>
                  <a:gd name="T10" fmla="*/ 1495 w 9"/>
                  <a:gd name="T11" fmla="*/ 0 h 8"/>
                  <a:gd name="T12" fmla="*/ 3489 w 9"/>
                  <a:gd name="T13" fmla="*/ 2164 h 8"/>
                  <a:gd name="T14" fmla="*/ 1495 w 9"/>
                  <a:gd name="T15" fmla="*/ 4077 h 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9" h="8">
                    <a:moveTo>
                      <a:pt x="4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6"/>
                      <a:pt x="7" y="8"/>
                      <a:pt x="4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658" name="Freeform 373"/>
              <p:cNvSpPr>
                <a:spLocks noChangeArrowheads="1"/>
              </p:cNvSpPr>
              <p:nvPr/>
            </p:nvSpPr>
            <p:spPr bwMode="auto">
              <a:xfrm>
                <a:off x="5455" y="332"/>
                <a:ext cx="13" cy="11"/>
              </a:xfrm>
              <a:custGeom>
                <a:avLst/>
                <a:gdLst>
                  <a:gd name="T0" fmla="*/ 3225 w 9"/>
                  <a:gd name="T1" fmla="*/ 4077 h 8"/>
                  <a:gd name="T2" fmla="*/ 3225 w 9"/>
                  <a:gd name="T3" fmla="*/ 4077 h 8"/>
                  <a:gd name="T4" fmla="*/ 0 w 9"/>
                  <a:gd name="T5" fmla="*/ 2164 h 8"/>
                  <a:gd name="T6" fmla="*/ 3225 w 9"/>
                  <a:gd name="T7" fmla="*/ 0 h 8"/>
                  <a:gd name="T8" fmla="*/ 3225 w 9"/>
                  <a:gd name="T9" fmla="*/ 0 h 8"/>
                  <a:gd name="T10" fmla="*/ 5642 w 9"/>
                  <a:gd name="T11" fmla="*/ 2164 h 8"/>
                  <a:gd name="T12" fmla="*/ 3225 w 9"/>
                  <a:gd name="T13" fmla="*/ 4077 h 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8">
                    <a:moveTo>
                      <a:pt x="5" y="8"/>
                    </a:moveTo>
                    <a:cubicBezTo>
                      <a:pt x="5" y="8"/>
                      <a:pt x="5" y="8"/>
                      <a:pt x="5" y="8"/>
                    </a:cubicBezTo>
                    <a:cubicBezTo>
                      <a:pt x="2" y="8"/>
                      <a:pt x="0" y="6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6"/>
                      <a:pt x="7" y="8"/>
                      <a:pt x="5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659" name="Freeform 374"/>
              <p:cNvSpPr>
                <a:spLocks noChangeArrowheads="1"/>
              </p:cNvSpPr>
              <p:nvPr/>
            </p:nvSpPr>
            <p:spPr bwMode="auto">
              <a:xfrm>
                <a:off x="5744" y="332"/>
                <a:ext cx="13" cy="11"/>
              </a:xfrm>
              <a:custGeom>
                <a:avLst/>
                <a:gdLst>
                  <a:gd name="T0" fmla="*/ 3860 w 9"/>
                  <a:gd name="T1" fmla="*/ 4077 h 8"/>
                  <a:gd name="T2" fmla="*/ 3194 w 9"/>
                  <a:gd name="T3" fmla="*/ 4077 h 8"/>
                  <a:gd name="T4" fmla="*/ 0 w 9"/>
                  <a:gd name="T5" fmla="*/ 2164 h 8"/>
                  <a:gd name="T6" fmla="*/ 3194 w 9"/>
                  <a:gd name="T7" fmla="*/ 0 h 8"/>
                  <a:gd name="T8" fmla="*/ 3860 w 9"/>
                  <a:gd name="T9" fmla="*/ 0 h 8"/>
                  <a:gd name="T10" fmla="*/ 7173 w 9"/>
                  <a:gd name="T11" fmla="*/ 2164 h 8"/>
                  <a:gd name="T12" fmla="*/ 3860 w 9"/>
                  <a:gd name="T13" fmla="*/ 4077 h 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8">
                    <a:moveTo>
                      <a:pt x="5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0" y="6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6"/>
                      <a:pt x="7" y="8"/>
                      <a:pt x="5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660" name="Freeform 375"/>
              <p:cNvSpPr>
                <a:spLocks noChangeArrowheads="1"/>
              </p:cNvSpPr>
              <p:nvPr/>
            </p:nvSpPr>
            <p:spPr bwMode="auto">
              <a:xfrm>
                <a:off x="5723" y="347"/>
                <a:ext cx="13" cy="11"/>
              </a:xfrm>
              <a:custGeom>
                <a:avLst/>
                <a:gdLst>
                  <a:gd name="T0" fmla="*/ 3225 w 9"/>
                  <a:gd name="T1" fmla="*/ 4077 h 8"/>
                  <a:gd name="T2" fmla="*/ 0 w 9"/>
                  <a:gd name="T3" fmla="*/ 2164 h 8"/>
                  <a:gd name="T4" fmla="*/ 0 w 9"/>
                  <a:gd name="T5" fmla="*/ 2164 h 8"/>
                  <a:gd name="T6" fmla="*/ 3225 w 9"/>
                  <a:gd name="T7" fmla="*/ 0 h 8"/>
                  <a:gd name="T8" fmla="*/ 5642 w 9"/>
                  <a:gd name="T9" fmla="*/ 2164 h 8"/>
                  <a:gd name="T10" fmla="*/ 3225 w 9"/>
                  <a:gd name="T11" fmla="*/ 4077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8">
                    <a:moveTo>
                      <a:pt x="5" y="8"/>
                    </a:moveTo>
                    <a:cubicBezTo>
                      <a:pt x="2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1"/>
                      <a:pt x="2" y="0"/>
                      <a:pt x="5" y="0"/>
                    </a:cubicBezTo>
                    <a:cubicBezTo>
                      <a:pt x="7" y="0"/>
                      <a:pt x="9" y="1"/>
                      <a:pt x="9" y="4"/>
                    </a:cubicBezTo>
                    <a:cubicBezTo>
                      <a:pt x="9" y="6"/>
                      <a:pt x="7" y="8"/>
                      <a:pt x="5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661" name="Freeform 376"/>
              <p:cNvSpPr>
                <a:spLocks noChangeArrowheads="1"/>
              </p:cNvSpPr>
              <p:nvPr/>
            </p:nvSpPr>
            <p:spPr bwMode="auto">
              <a:xfrm>
                <a:off x="5704" y="332"/>
                <a:ext cx="11" cy="11"/>
              </a:xfrm>
              <a:custGeom>
                <a:avLst/>
                <a:gdLst>
                  <a:gd name="T0" fmla="*/ 2164 w 8"/>
                  <a:gd name="T1" fmla="*/ 4077 h 8"/>
                  <a:gd name="T2" fmla="*/ 2164 w 8"/>
                  <a:gd name="T3" fmla="*/ 4077 h 8"/>
                  <a:gd name="T4" fmla="*/ 0 w 8"/>
                  <a:gd name="T5" fmla="*/ 2164 h 8"/>
                  <a:gd name="T6" fmla="*/ 0 w 8"/>
                  <a:gd name="T7" fmla="*/ 2164 h 8"/>
                  <a:gd name="T8" fmla="*/ 2164 w 8"/>
                  <a:gd name="T9" fmla="*/ 0 h 8"/>
                  <a:gd name="T10" fmla="*/ 2164 w 8"/>
                  <a:gd name="T11" fmla="*/ 0 h 8"/>
                  <a:gd name="T12" fmla="*/ 4077 w 8"/>
                  <a:gd name="T13" fmla="*/ 2164 h 8"/>
                  <a:gd name="T14" fmla="*/ 2164 w 8"/>
                  <a:gd name="T15" fmla="*/ 4077 h 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8" h="8">
                    <a:moveTo>
                      <a:pt x="4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7" y="0"/>
                      <a:pt x="8" y="2"/>
                      <a:pt x="8" y="4"/>
                    </a:cubicBezTo>
                    <a:cubicBezTo>
                      <a:pt x="8" y="6"/>
                      <a:pt x="7" y="8"/>
                      <a:pt x="4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662" name="Oval 377"/>
              <p:cNvSpPr>
                <a:spLocks noChangeArrowheads="1"/>
              </p:cNvSpPr>
              <p:nvPr/>
            </p:nvSpPr>
            <p:spPr bwMode="auto">
              <a:xfrm>
                <a:off x="5683" y="347"/>
                <a:ext cx="13" cy="11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US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663" name="Freeform 378"/>
              <p:cNvSpPr>
                <a:spLocks noChangeArrowheads="1"/>
              </p:cNvSpPr>
              <p:nvPr/>
            </p:nvSpPr>
            <p:spPr bwMode="auto">
              <a:xfrm>
                <a:off x="5662" y="332"/>
                <a:ext cx="13" cy="11"/>
              </a:xfrm>
              <a:custGeom>
                <a:avLst/>
                <a:gdLst>
                  <a:gd name="T0" fmla="*/ 3860 w 9"/>
                  <a:gd name="T1" fmla="*/ 4077 h 8"/>
                  <a:gd name="T2" fmla="*/ 3860 w 9"/>
                  <a:gd name="T3" fmla="*/ 4077 h 8"/>
                  <a:gd name="T4" fmla="*/ 0 w 9"/>
                  <a:gd name="T5" fmla="*/ 2164 h 8"/>
                  <a:gd name="T6" fmla="*/ 0 w 9"/>
                  <a:gd name="T7" fmla="*/ 2164 h 8"/>
                  <a:gd name="T8" fmla="*/ 3860 w 9"/>
                  <a:gd name="T9" fmla="*/ 0 h 8"/>
                  <a:gd name="T10" fmla="*/ 3860 w 9"/>
                  <a:gd name="T11" fmla="*/ 0 h 8"/>
                  <a:gd name="T12" fmla="*/ 7173 w 9"/>
                  <a:gd name="T13" fmla="*/ 2164 h 8"/>
                  <a:gd name="T14" fmla="*/ 3860 w 9"/>
                  <a:gd name="T15" fmla="*/ 4077 h 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9" h="8">
                    <a:moveTo>
                      <a:pt x="5" y="8"/>
                    </a:moveTo>
                    <a:cubicBezTo>
                      <a:pt x="5" y="8"/>
                      <a:pt x="5" y="8"/>
                      <a:pt x="5" y="8"/>
                    </a:cubicBezTo>
                    <a:cubicBezTo>
                      <a:pt x="2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6"/>
                      <a:pt x="7" y="8"/>
                      <a:pt x="5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664" name="Freeform 379"/>
              <p:cNvSpPr>
                <a:spLocks noChangeArrowheads="1"/>
              </p:cNvSpPr>
              <p:nvPr/>
            </p:nvSpPr>
            <p:spPr bwMode="auto">
              <a:xfrm>
                <a:off x="5642" y="347"/>
                <a:ext cx="11" cy="11"/>
              </a:xfrm>
              <a:custGeom>
                <a:avLst/>
                <a:gdLst>
                  <a:gd name="T0" fmla="*/ 2164 w 8"/>
                  <a:gd name="T1" fmla="*/ 4077 h 8"/>
                  <a:gd name="T2" fmla="*/ 0 w 8"/>
                  <a:gd name="T3" fmla="*/ 2164 h 8"/>
                  <a:gd name="T4" fmla="*/ 0 w 8"/>
                  <a:gd name="T5" fmla="*/ 2164 h 8"/>
                  <a:gd name="T6" fmla="*/ 2164 w 8"/>
                  <a:gd name="T7" fmla="*/ 0 h 8"/>
                  <a:gd name="T8" fmla="*/ 4077 w 8"/>
                  <a:gd name="T9" fmla="*/ 2164 h 8"/>
                  <a:gd name="T10" fmla="*/ 4077 w 8"/>
                  <a:gd name="T11" fmla="*/ 2164 h 8"/>
                  <a:gd name="T12" fmla="*/ 2164 w 8"/>
                  <a:gd name="T13" fmla="*/ 4077 h 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8" h="8">
                    <a:moveTo>
                      <a:pt x="4" y="8"/>
                    </a:moveTo>
                    <a:cubicBezTo>
                      <a:pt x="2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6" y="0"/>
                      <a:pt x="8" y="1"/>
                      <a:pt x="8" y="4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6"/>
                      <a:pt x="6" y="8"/>
                      <a:pt x="4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665" name="Freeform 380"/>
              <p:cNvSpPr>
                <a:spLocks noChangeArrowheads="1"/>
              </p:cNvSpPr>
              <p:nvPr/>
            </p:nvSpPr>
            <p:spPr bwMode="auto">
              <a:xfrm>
                <a:off x="5621" y="332"/>
                <a:ext cx="13" cy="11"/>
              </a:xfrm>
              <a:custGeom>
                <a:avLst/>
                <a:gdLst>
                  <a:gd name="T0" fmla="*/ 2417 w 9"/>
                  <a:gd name="T1" fmla="*/ 4077 h 8"/>
                  <a:gd name="T2" fmla="*/ 2417 w 9"/>
                  <a:gd name="T3" fmla="*/ 4077 h 8"/>
                  <a:gd name="T4" fmla="*/ 0 w 9"/>
                  <a:gd name="T5" fmla="*/ 2164 h 8"/>
                  <a:gd name="T6" fmla="*/ 2417 w 9"/>
                  <a:gd name="T7" fmla="*/ 0 h 8"/>
                  <a:gd name="T8" fmla="*/ 2417 w 9"/>
                  <a:gd name="T9" fmla="*/ 0 h 8"/>
                  <a:gd name="T10" fmla="*/ 5642 w 9"/>
                  <a:gd name="T11" fmla="*/ 2164 h 8"/>
                  <a:gd name="T12" fmla="*/ 2417 w 9"/>
                  <a:gd name="T13" fmla="*/ 4077 h 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8">
                    <a:moveTo>
                      <a:pt x="4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0" y="6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6"/>
                      <a:pt x="7" y="8"/>
                      <a:pt x="4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666" name="Freeform 381"/>
              <p:cNvSpPr>
                <a:spLocks noChangeArrowheads="1"/>
              </p:cNvSpPr>
              <p:nvPr/>
            </p:nvSpPr>
            <p:spPr bwMode="auto">
              <a:xfrm>
                <a:off x="5393" y="347"/>
                <a:ext cx="13" cy="11"/>
              </a:xfrm>
              <a:custGeom>
                <a:avLst/>
                <a:gdLst>
                  <a:gd name="T0" fmla="*/ 3225 w 9"/>
                  <a:gd name="T1" fmla="*/ 4077 h 8"/>
                  <a:gd name="T2" fmla="*/ 0 w 9"/>
                  <a:gd name="T3" fmla="*/ 2164 h 8"/>
                  <a:gd name="T4" fmla="*/ 0 w 9"/>
                  <a:gd name="T5" fmla="*/ 2164 h 8"/>
                  <a:gd name="T6" fmla="*/ 3225 w 9"/>
                  <a:gd name="T7" fmla="*/ 0 h 8"/>
                  <a:gd name="T8" fmla="*/ 5642 w 9"/>
                  <a:gd name="T9" fmla="*/ 2164 h 8"/>
                  <a:gd name="T10" fmla="*/ 3225 w 9"/>
                  <a:gd name="T11" fmla="*/ 4077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8">
                    <a:moveTo>
                      <a:pt x="5" y="8"/>
                    </a:moveTo>
                    <a:cubicBezTo>
                      <a:pt x="2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1"/>
                      <a:pt x="2" y="0"/>
                      <a:pt x="5" y="0"/>
                    </a:cubicBezTo>
                    <a:cubicBezTo>
                      <a:pt x="7" y="0"/>
                      <a:pt x="9" y="1"/>
                      <a:pt x="9" y="4"/>
                    </a:cubicBezTo>
                    <a:cubicBezTo>
                      <a:pt x="9" y="6"/>
                      <a:pt x="7" y="8"/>
                      <a:pt x="5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667" name="Freeform 382"/>
              <p:cNvSpPr>
                <a:spLocks noChangeArrowheads="1"/>
              </p:cNvSpPr>
              <p:nvPr/>
            </p:nvSpPr>
            <p:spPr bwMode="auto">
              <a:xfrm>
                <a:off x="5106" y="347"/>
                <a:ext cx="11" cy="11"/>
              </a:xfrm>
              <a:custGeom>
                <a:avLst/>
                <a:gdLst>
                  <a:gd name="T0" fmla="*/ 2164 w 8"/>
                  <a:gd name="T1" fmla="*/ 4077 h 8"/>
                  <a:gd name="T2" fmla="*/ 0 w 8"/>
                  <a:gd name="T3" fmla="*/ 2164 h 8"/>
                  <a:gd name="T4" fmla="*/ 0 w 8"/>
                  <a:gd name="T5" fmla="*/ 2164 h 8"/>
                  <a:gd name="T6" fmla="*/ 2164 w 8"/>
                  <a:gd name="T7" fmla="*/ 0 h 8"/>
                  <a:gd name="T8" fmla="*/ 4077 w 8"/>
                  <a:gd name="T9" fmla="*/ 2164 h 8"/>
                  <a:gd name="T10" fmla="*/ 2164 w 8"/>
                  <a:gd name="T11" fmla="*/ 4077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8" h="8">
                    <a:moveTo>
                      <a:pt x="4" y="8"/>
                    </a:moveTo>
                    <a:cubicBezTo>
                      <a:pt x="2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6" y="0"/>
                      <a:pt x="8" y="1"/>
                      <a:pt x="8" y="4"/>
                    </a:cubicBezTo>
                    <a:cubicBezTo>
                      <a:pt x="8" y="6"/>
                      <a:pt x="6" y="8"/>
                      <a:pt x="4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668" name="Freeform 383"/>
              <p:cNvSpPr>
                <a:spLocks noChangeArrowheads="1"/>
              </p:cNvSpPr>
              <p:nvPr/>
            </p:nvSpPr>
            <p:spPr bwMode="auto">
              <a:xfrm>
                <a:off x="5373" y="332"/>
                <a:ext cx="11" cy="11"/>
              </a:xfrm>
              <a:custGeom>
                <a:avLst/>
                <a:gdLst>
                  <a:gd name="T0" fmla="*/ 2164 w 8"/>
                  <a:gd name="T1" fmla="*/ 4077 h 8"/>
                  <a:gd name="T2" fmla="*/ 2164 w 8"/>
                  <a:gd name="T3" fmla="*/ 4077 h 8"/>
                  <a:gd name="T4" fmla="*/ 0 w 8"/>
                  <a:gd name="T5" fmla="*/ 2164 h 8"/>
                  <a:gd name="T6" fmla="*/ 0 w 8"/>
                  <a:gd name="T7" fmla="*/ 2164 h 8"/>
                  <a:gd name="T8" fmla="*/ 2164 w 8"/>
                  <a:gd name="T9" fmla="*/ 0 h 8"/>
                  <a:gd name="T10" fmla="*/ 2164 w 8"/>
                  <a:gd name="T11" fmla="*/ 0 h 8"/>
                  <a:gd name="T12" fmla="*/ 4077 w 8"/>
                  <a:gd name="T13" fmla="*/ 2164 h 8"/>
                  <a:gd name="T14" fmla="*/ 2164 w 8"/>
                  <a:gd name="T15" fmla="*/ 4077 h 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8" h="8">
                    <a:moveTo>
                      <a:pt x="4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6"/>
                      <a:pt x="6" y="8"/>
                      <a:pt x="4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669" name="Oval 384"/>
              <p:cNvSpPr>
                <a:spLocks noChangeArrowheads="1"/>
              </p:cNvSpPr>
              <p:nvPr/>
            </p:nvSpPr>
            <p:spPr bwMode="auto">
              <a:xfrm>
                <a:off x="5229" y="347"/>
                <a:ext cx="13" cy="11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US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670" name="Freeform 385"/>
              <p:cNvSpPr>
                <a:spLocks noChangeArrowheads="1"/>
              </p:cNvSpPr>
              <p:nvPr/>
            </p:nvSpPr>
            <p:spPr bwMode="auto">
              <a:xfrm>
                <a:off x="5312" y="347"/>
                <a:ext cx="11" cy="11"/>
              </a:xfrm>
              <a:custGeom>
                <a:avLst/>
                <a:gdLst>
                  <a:gd name="T0" fmla="*/ 2164 w 8"/>
                  <a:gd name="T1" fmla="*/ 4077 h 8"/>
                  <a:gd name="T2" fmla="*/ 0 w 8"/>
                  <a:gd name="T3" fmla="*/ 2164 h 8"/>
                  <a:gd name="T4" fmla="*/ 0 w 8"/>
                  <a:gd name="T5" fmla="*/ 2164 h 8"/>
                  <a:gd name="T6" fmla="*/ 2164 w 8"/>
                  <a:gd name="T7" fmla="*/ 0 h 8"/>
                  <a:gd name="T8" fmla="*/ 4077 w 8"/>
                  <a:gd name="T9" fmla="*/ 2164 h 8"/>
                  <a:gd name="T10" fmla="*/ 2164 w 8"/>
                  <a:gd name="T11" fmla="*/ 4077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8" h="8">
                    <a:moveTo>
                      <a:pt x="4" y="8"/>
                    </a:moveTo>
                    <a:cubicBezTo>
                      <a:pt x="2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6" y="0"/>
                      <a:pt x="8" y="1"/>
                      <a:pt x="8" y="4"/>
                    </a:cubicBezTo>
                    <a:cubicBezTo>
                      <a:pt x="8" y="6"/>
                      <a:pt x="6" y="8"/>
                      <a:pt x="4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671" name="Freeform 386"/>
              <p:cNvSpPr>
                <a:spLocks noChangeArrowheads="1"/>
              </p:cNvSpPr>
              <p:nvPr/>
            </p:nvSpPr>
            <p:spPr bwMode="auto">
              <a:xfrm>
                <a:off x="5085" y="332"/>
                <a:ext cx="13" cy="11"/>
              </a:xfrm>
              <a:custGeom>
                <a:avLst/>
                <a:gdLst>
                  <a:gd name="T0" fmla="*/ 3225 w 9"/>
                  <a:gd name="T1" fmla="*/ 4077 h 8"/>
                  <a:gd name="T2" fmla="*/ 2417 w 9"/>
                  <a:gd name="T3" fmla="*/ 4077 h 8"/>
                  <a:gd name="T4" fmla="*/ 0 w 9"/>
                  <a:gd name="T5" fmla="*/ 2164 h 8"/>
                  <a:gd name="T6" fmla="*/ 0 w 9"/>
                  <a:gd name="T7" fmla="*/ 2164 h 8"/>
                  <a:gd name="T8" fmla="*/ 2417 w 9"/>
                  <a:gd name="T9" fmla="*/ 0 h 8"/>
                  <a:gd name="T10" fmla="*/ 3225 w 9"/>
                  <a:gd name="T11" fmla="*/ 0 h 8"/>
                  <a:gd name="T12" fmla="*/ 5642 w 9"/>
                  <a:gd name="T13" fmla="*/ 2164 h 8"/>
                  <a:gd name="T14" fmla="*/ 3225 w 9"/>
                  <a:gd name="T15" fmla="*/ 4077 h 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9" h="8">
                    <a:moveTo>
                      <a:pt x="5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6"/>
                      <a:pt x="7" y="8"/>
                      <a:pt x="5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672" name="Freeform 387"/>
              <p:cNvSpPr>
                <a:spLocks noChangeArrowheads="1"/>
              </p:cNvSpPr>
              <p:nvPr/>
            </p:nvSpPr>
            <p:spPr bwMode="auto">
              <a:xfrm>
                <a:off x="5002" y="332"/>
                <a:ext cx="12" cy="11"/>
              </a:xfrm>
              <a:custGeom>
                <a:avLst/>
                <a:gdLst>
                  <a:gd name="T0" fmla="*/ 1993 w 9"/>
                  <a:gd name="T1" fmla="*/ 4077 h 8"/>
                  <a:gd name="T2" fmla="*/ 1993 w 9"/>
                  <a:gd name="T3" fmla="*/ 4077 h 8"/>
                  <a:gd name="T4" fmla="*/ 0 w 9"/>
                  <a:gd name="T5" fmla="*/ 2164 h 8"/>
                  <a:gd name="T6" fmla="*/ 0 w 9"/>
                  <a:gd name="T7" fmla="*/ 2164 h 8"/>
                  <a:gd name="T8" fmla="*/ 1993 w 9"/>
                  <a:gd name="T9" fmla="*/ 0 h 8"/>
                  <a:gd name="T10" fmla="*/ 1993 w 9"/>
                  <a:gd name="T11" fmla="*/ 0 h 8"/>
                  <a:gd name="T12" fmla="*/ 3489 w 9"/>
                  <a:gd name="T13" fmla="*/ 2164 h 8"/>
                  <a:gd name="T14" fmla="*/ 1993 w 9"/>
                  <a:gd name="T15" fmla="*/ 4077 h 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9" h="8">
                    <a:moveTo>
                      <a:pt x="5" y="8"/>
                    </a:moveTo>
                    <a:cubicBezTo>
                      <a:pt x="5" y="8"/>
                      <a:pt x="5" y="8"/>
                      <a:pt x="5" y="8"/>
                    </a:cubicBezTo>
                    <a:cubicBezTo>
                      <a:pt x="2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6"/>
                      <a:pt x="7" y="8"/>
                      <a:pt x="5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673" name="Freeform 388"/>
              <p:cNvSpPr>
                <a:spLocks noChangeArrowheads="1"/>
              </p:cNvSpPr>
              <p:nvPr/>
            </p:nvSpPr>
            <p:spPr bwMode="auto">
              <a:xfrm>
                <a:off x="5063" y="347"/>
                <a:ext cx="13" cy="11"/>
              </a:xfrm>
              <a:custGeom>
                <a:avLst/>
                <a:gdLst>
                  <a:gd name="T0" fmla="*/ 3860 w 9"/>
                  <a:gd name="T1" fmla="*/ 4077 h 8"/>
                  <a:gd name="T2" fmla="*/ 0 w 9"/>
                  <a:gd name="T3" fmla="*/ 2164 h 8"/>
                  <a:gd name="T4" fmla="*/ 0 w 9"/>
                  <a:gd name="T5" fmla="*/ 2164 h 8"/>
                  <a:gd name="T6" fmla="*/ 3860 w 9"/>
                  <a:gd name="T7" fmla="*/ 0 h 8"/>
                  <a:gd name="T8" fmla="*/ 7173 w 9"/>
                  <a:gd name="T9" fmla="*/ 2164 h 8"/>
                  <a:gd name="T10" fmla="*/ 3860 w 9"/>
                  <a:gd name="T11" fmla="*/ 4077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8">
                    <a:moveTo>
                      <a:pt x="5" y="8"/>
                    </a:moveTo>
                    <a:cubicBezTo>
                      <a:pt x="2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1"/>
                      <a:pt x="2" y="0"/>
                      <a:pt x="5" y="0"/>
                    </a:cubicBezTo>
                    <a:cubicBezTo>
                      <a:pt x="7" y="0"/>
                      <a:pt x="9" y="1"/>
                      <a:pt x="9" y="4"/>
                    </a:cubicBezTo>
                    <a:cubicBezTo>
                      <a:pt x="9" y="6"/>
                      <a:pt x="7" y="8"/>
                      <a:pt x="5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674" name="Freeform 389"/>
              <p:cNvSpPr>
                <a:spLocks noChangeArrowheads="1"/>
              </p:cNvSpPr>
              <p:nvPr/>
            </p:nvSpPr>
            <p:spPr bwMode="auto">
              <a:xfrm>
                <a:off x="5476" y="366"/>
                <a:ext cx="12" cy="13"/>
              </a:xfrm>
              <a:custGeom>
                <a:avLst/>
                <a:gdLst>
                  <a:gd name="T0" fmla="*/ 1495 w 9"/>
                  <a:gd name="T1" fmla="*/ 5642 h 9"/>
                  <a:gd name="T2" fmla="*/ 0 w 9"/>
                  <a:gd name="T3" fmla="*/ 3225 h 9"/>
                  <a:gd name="T4" fmla="*/ 0 w 9"/>
                  <a:gd name="T5" fmla="*/ 3225 h 9"/>
                  <a:gd name="T6" fmla="*/ 1495 w 9"/>
                  <a:gd name="T7" fmla="*/ 0 h 9"/>
                  <a:gd name="T8" fmla="*/ 3489 w 9"/>
                  <a:gd name="T9" fmla="*/ 3225 h 9"/>
                  <a:gd name="T10" fmla="*/ 1495 w 9"/>
                  <a:gd name="T11" fmla="*/ 5642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5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675" name="Freeform 390"/>
              <p:cNvSpPr>
                <a:spLocks noChangeArrowheads="1"/>
              </p:cNvSpPr>
              <p:nvPr/>
            </p:nvSpPr>
            <p:spPr bwMode="auto">
              <a:xfrm>
                <a:off x="5435" y="366"/>
                <a:ext cx="11" cy="13"/>
              </a:xfrm>
              <a:custGeom>
                <a:avLst/>
                <a:gdLst>
                  <a:gd name="T0" fmla="*/ 2164 w 8"/>
                  <a:gd name="T1" fmla="*/ 5642 h 9"/>
                  <a:gd name="T2" fmla="*/ 0 w 8"/>
                  <a:gd name="T3" fmla="*/ 3225 h 9"/>
                  <a:gd name="T4" fmla="*/ 0 w 8"/>
                  <a:gd name="T5" fmla="*/ 3225 h 9"/>
                  <a:gd name="T6" fmla="*/ 2164 w 8"/>
                  <a:gd name="T7" fmla="*/ 0 h 9"/>
                  <a:gd name="T8" fmla="*/ 4077 w 8"/>
                  <a:gd name="T9" fmla="*/ 3225 h 9"/>
                  <a:gd name="T10" fmla="*/ 2164 w 8"/>
                  <a:gd name="T11" fmla="*/ 5642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5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676" name="Freeform 391"/>
              <p:cNvSpPr>
                <a:spLocks noChangeArrowheads="1"/>
              </p:cNvSpPr>
              <p:nvPr/>
            </p:nvSpPr>
            <p:spPr bwMode="auto">
              <a:xfrm>
                <a:off x="5415" y="352"/>
                <a:ext cx="13" cy="12"/>
              </a:xfrm>
              <a:custGeom>
                <a:avLst/>
                <a:gdLst>
                  <a:gd name="T0" fmla="*/ 2417 w 9"/>
                  <a:gd name="T1" fmla="*/ 3489 h 9"/>
                  <a:gd name="T2" fmla="*/ 0 w 9"/>
                  <a:gd name="T3" fmla="*/ 1993 h 9"/>
                  <a:gd name="T4" fmla="*/ 0 w 9"/>
                  <a:gd name="T5" fmla="*/ 1993 h 9"/>
                  <a:gd name="T6" fmla="*/ 2417 w 9"/>
                  <a:gd name="T7" fmla="*/ 0 h 9"/>
                  <a:gd name="T8" fmla="*/ 5642 w 9"/>
                  <a:gd name="T9" fmla="*/ 1993 h 9"/>
                  <a:gd name="T10" fmla="*/ 2417 w 9"/>
                  <a:gd name="T11" fmla="*/ 3489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5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677" name="Freeform 392"/>
              <p:cNvSpPr>
                <a:spLocks noChangeArrowheads="1"/>
              </p:cNvSpPr>
              <p:nvPr/>
            </p:nvSpPr>
            <p:spPr bwMode="auto">
              <a:xfrm>
                <a:off x="5331" y="352"/>
                <a:ext cx="13" cy="12"/>
              </a:xfrm>
              <a:custGeom>
                <a:avLst/>
                <a:gdLst>
                  <a:gd name="T0" fmla="*/ 3860 w 9"/>
                  <a:gd name="T1" fmla="*/ 3489 h 9"/>
                  <a:gd name="T2" fmla="*/ 0 w 9"/>
                  <a:gd name="T3" fmla="*/ 1993 h 9"/>
                  <a:gd name="T4" fmla="*/ 0 w 9"/>
                  <a:gd name="T5" fmla="*/ 1993 h 9"/>
                  <a:gd name="T6" fmla="*/ 3860 w 9"/>
                  <a:gd name="T7" fmla="*/ 0 h 9"/>
                  <a:gd name="T8" fmla="*/ 7173 w 9"/>
                  <a:gd name="T9" fmla="*/ 1993 h 9"/>
                  <a:gd name="T10" fmla="*/ 3860 w 9"/>
                  <a:gd name="T11" fmla="*/ 3489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5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678" name="Freeform 393"/>
              <p:cNvSpPr>
                <a:spLocks noChangeArrowheads="1"/>
              </p:cNvSpPr>
              <p:nvPr/>
            </p:nvSpPr>
            <p:spPr bwMode="auto">
              <a:xfrm>
                <a:off x="5188" y="366"/>
                <a:ext cx="11" cy="13"/>
              </a:xfrm>
              <a:custGeom>
                <a:avLst/>
                <a:gdLst>
                  <a:gd name="T0" fmla="*/ 2164 w 8"/>
                  <a:gd name="T1" fmla="*/ 5642 h 9"/>
                  <a:gd name="T2" fmla="*/ 0 w 8"/>
                  <a:gd name="T3" fmla="*/ 3225 h 9"/>
                  <a:gd name="T4" fmla="*/ 0 w 8"/>
                  <a:gd name="T5" fmla="*/ 3225 h 9"/>
                  <a:gd name="T6" fmla="*/ 2164 w 8"/>
                  <a:gd name="T7" fmla="*/ 0 h 9"/>
                  <a:gd name="T8" fmla="*/ 4077 w 8"/>
                  <a:gd name="T9" fmla="*/ 3225 h 9"/>
                  <a:gd name="T10" fmla="*/ 2164 w 8"/>
                  <a:gd name="T11" fmla="*/ 5642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1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1" y="0"/>
                      <a:pt x="4" y="0"/>
                    </a:cubicBezTo>
                    <a:cubicBezTo>
                      <a:pt x="6" y="0"/>
                      <a:pt x="8" y="2"/>
                      <a:pt x="8" y="5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679" name="Oval 394"/>
              <p:cNvSpPr>
                <a:spLocks noChangeArrowheads="1"/>
              </p:cNvSpPr>
              <p:nvPr/>
            </p:nvSpPr>
            <p:spPr bwMode="auto">
              <a:xfrm>
                <a:off x="5601" y="366"/>
                <a:ext cx="12" cy="13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US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680" name="Freeform 395"/>
              <p:cNvSpPr>
                <a:spLocks noChangeArrowheads="1"/>
              </p:cNvSpPr>
              <p:nvPr/>
            </p:nvSpPr>
            <p:spPr bwMode="auto">
              <a:xfrm>
                <a:off x="5581" y="352"/>
                <a:ext cx="10" cy="12"/>
              </a:xfrm>
              <a:custGeom>
                <a:avLst/>
                <a:gdLst>
                  <a:gd name="T0" fmla="*/ 868 w 8"/>
                  <a:gd name="T1" fmla="*/ 3489 h 9"/>
                  <a:gd name="T2" fmla="*/ 0 w 8"/>
                  <a:gd name="T3" fmla="*/ 1993 h 9"/>
                  <a:gd name="T4" fmla="*/ 0 w 8"/>
                  <a:gd name="T5" fmla="*/ 1993 h 9"/>
                  <a:gd name="T6" fmla="*/ 868 w 8"/>
                  <a:gd name="T7" fmla="*/ 0 h 9"/>
                  <a:gd name="T8" fmla="*/ 1780 w 8"/>
                  <a:gd name="T9" fmla="*/ 1993 h 9"/>
                  <a:gd name="T10" fmla="*/ 868 w 8"/>
                  <a:gd name="T11" fmla="*/ 3489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5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681" name="Freeform 396"/>
              <p:cNvSpPr>
                <a:spLocks noChangeArrowheads="1"/>
              </p:cNvSpPr>
              <p:nvPr/>
            </p:nvSpPr>
            <p:spPr bwMode="auto">
              <a:xfrm>
                <a:off x="5559" y="366"/>
                <a:ext cx="13" cy="13"/>
              </a:xfrm>
              <a:custGeom>
                <a:avLst/>
                <a:gdLst>
                  <a:gd name="T0" fmla="*/ 3194 w 9"/>
                  <a:gd name="T1" fmla="*/ 5642 h 9"/>
                  <a:gd name="T2" fmla="*/ 0 w 9"/>
                  <a:gd name="T3" fmla="*/ 3225 h 9"/>
                  <a:gd name="T4" fmla="*/ 0 w 9"/>
                  <a:gd name="T5" fmla="*/ 3225 h 9"/>
                  <a:gd name="T6" fmla="*/ 3194 w 9"/>
                  <a:gd name="T7" fmla="*/ 0 h 9"/>
                  <a:gd name="T8" fmla="*/ 7173 w 9"/>
                  <a:gd name="T9" fmla="*/ 3225 h 9"/>
                  <a:gd name="T10" fmla="*/ 3194 w 9"/>
                  <a:gd name="T11" fmla="*/ 5642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5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682" name="Freeform 397"/>
              <p:cNvSpPr>
                <a:spLocks noChangeArrowheads="1"/>
              </p:cNvSpPr>
              <p:nvPr/>
            </p:nvSpPr>
            <p:spPr bwMode="auto">
              <a:xfrm>
                <a:off x="5538" y="352"/>
                <a:ext cx="12" cy="12"/>
              </a:xfrm>
              <a:custGeom>
                <a:avLst/>
                <a:gdLst>
                  <a:gd name="T0" fmla="*/ 1993 w 9"/>
                  <a:gd name="T1" fmla="*/ 3489 h 9"/>
                  <a:gd name="T2" fmla="*/ 0 w 9"/>
                  <a:gd name="T3" fmla="*/ 1993 h 9"/>
                  <a:gd name="T4" fmla="*/ 0 w 9"/>
                  <a:gd name="T5" fmla="*/ 1993 h 9"/>
                  <a:gd name="T6" fmla="*/ 1993 w 9"/>
                  <a:gd name="T7" fmla="*/ 0 h 9"/>
                  <a:gd name="T8" fmla="*/ 3489 w 9"/>
                  <a:gd name="T9" fmla="*/ 1993 h 9"/>
                  <a:gd name="T10" fmla="*/ 1993 w 9"/>
                  <a:gd name="T11" fmla="*/ 3489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5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683" name="Freeform 398"/>
              <p:cNvSpPr>
                <a:spLocks noChangeArrowheads="1"/>
              </p:cNvSpPr>
              <p:nvPr/>
            </p:nvSpPr>
            <p:spPr bwMode="auto">
              <a:xfrm>
                <a:off x="5518" y="366"/>
                <a:ext cx="11" cy="13"/>
              </a:xfrm>
              <a:custGeom>
                <a:avLst/>
                <a:gdLst>
                  <a:gd name="T0" fmla="*/ 2164 w 8"/>
                  <a:gd name="T1" fmla="*/ 5642 h 9"/>
                  <a:gd name="T2" fmla="*/ 0 w 8"/>
                  <a:gd name="T3" fmla="*/ 3225 h 9"/>
                  <a:gd name="T4" fmla="*/ 0 w 8"/>
                  <a:gd name="T5" fmla="*/ 3225 h 9"/>
                  <a:gd name="T6" fmla="*/ 2164 w 8"/>
                  <a:gd name="T7" fmla="*/ 0 h 9"/>
                  <a:gd name="T8" fmla="*/ 4077 w 8"/>
                  <a:gd name="T9" fmla="*/ 3225 h 9"/>
                  <a:gd name="T10" fmla="*/ 2164 w 8"/>
                  <a:gd name="T11" fmla="*/ 5642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5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684" name="Freeform 399"/>
              <p:cNvSpPr>
                <a:spLocks noChangeArrowheads="1"/>
              </p:cNvSpPr>
              <p:nvPr/>
            </p:nvSpPr>
            <p:spPr bwMode="auto">
              <a:xfrm>
                <a:off x="5498" y="352"/>
                <a:ext cx="12" cy="12"/>
              </a:xfrm>
              <a:custGeom>
                <a:avLst/>
                <a:gdLst>
                  <a:gd name="T0" fmla="*/ 1495 w 9"/>
                  <a:gd name="T1" fmla="*/ 3489 h 9"/>
                  <a:gd name="T2" fmla="*/ 0 w 9"/>
                  <a:gd name="T3" fmla="*/ 1993 h 9"/>
                  <a:gd name="T4" fmla="*/ 0 w 9"/>
                  <a:gd name="T5" fmla="*/ 1993 h 9"/>
                  <a:gd name="T6" fmla="*/ 1495 w 9"/>
                  <a:gd name="T7" fmla="*/ 0 h 9"/>
                  <a:gd name="T8" fmla="*/ 3489 w 9"/>
                  <a:gd name="T9" fmla="*/ 1993 h 9"/>
                  <a:gd name="T10" fmla="*/ 1495 w 9"/>
                  <a:gd name="T11" fmla="*/ 3489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5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685" name="Oval 400"/>
              <p:cNvSpPr>
                <a:spLocks noChangeArrowheads="1"/>
              </p:cNvSpPr>
              <p:nvPr/>
            </p:nvSpPr>
            <p:spPr bwMode="auto">
              <a:xfrm>
                <a:off x="5455" y="352"/>
                <a:ext cx="13" cy="12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US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686" name="Oval 401"/>
              <p:cNvSpPr>
                <a:spLocks noChangeArrowheads="1"/>
              </p:cNvSpPr>
              <p:nvPr/>
            </p:nvSpPr>
            <p:spPr bwMode="auto">
              <a:xfrm>
                <a:off x="5744" y="352"/>
                <a:ext cx="13" cy="12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US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687" name="Freeform 402"/>
              <p:cNvSpPr>
                <a:spLocks noChangeArrowheads="1"/>
              </p:cNvSpPr>
              <p:nvPr/>
            </p:nvSpPr>
            <p:spPr bwMode="auto">
              <a:xfrm>
                <a:off x="5723" y="366"/>
                <a:ext cx="13" cy="13"/>
              </a:xfrm>
              <a:custGeom>
                <a:avLst/>
                <a:gdLst>
                  <a:gd name="T0" fmla="*/ 3225 w 9"/>
                  <a:gd name="T1" fmla="*/ 5642 h 9"/>
                  <a:gd name="T2" fmla="*/ 0 w 9"/>
                  <a:gd name="T3" fmla="*/ 3225 h 9"/>
                  <a:gd name="T4" fmla="*/ 0 w 9"/>
                  <a:gd name="T5" fmla="*/ 3225 h 9"/>
                  <a:gd name="T6" fmla="*/ 3225 w 9"/>
                  <a:gd name="T7" fmla="*/ 0 h 9"/>
                  <a:gd name="T8" fmla="*/ 5642 w 9"/>
                  <a:gd name="T9" fmla="*/ 3225 h 9"/>
                  <a:gd name="T10" fmla="*/ 3225 w 9"/>
                  <a:gd name="T11" fmla="*/ 5642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5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688" name="Freeform 403"/>
              <p:cNvSpPr>
                <a:spLocks noChangeArrowheads="1"/>
              </p:cNvSpPr>
              <p:nvPr/>
            </p:nvSpPr>
            <p:spPr bwMode="auto">
              <a:xfrm>
                <a:off x="5704" y="352"/>
                <a:ext cx="11" cy="12"/>
              </a:xfrm>
              <a:custGeom>
                <a:avLst/>
                <a:gdLst>
                  <a:gd name="T0" fmla="*/ 2164 w 8"/>
                  <a:gd name="T1" fmla="*/ 3489 h 9"/>
                  <a:gd name="T2" fmla="*/ 0 w 8"/>
                  <a:gd name="T3" fmla="*/ 1993 h 9"/>
                  <a:gd name="T4" fmla="*/ 0 w 8"/>
                  <a:gd name="T5" fmla="*/ 1993 h 9"/>
                  <a:gd name="T6" fmla="*/ 2164 w 8"/>
                  <a:gd name="T7" fmla="*/ 0 h 9"/>
                  <a:gd name="T8" fmla="*/ 4077 w 8"/>
                  <a:gd name="T9" fmla="*/ 1993 h 9"/>
                  <a:gd name="T10" fmla="*/ 2164 w 8"/>
                  <a:gd name="T11" fmla="*/ 3489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5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689" name="Oval 404"/>
              <p:cNvSpPr>
                <a:spLocks noChangeArrowheads="1"/>
              </p:cNvSpPr>
              <p:nvPr/>
            </p:nvSpPr>
            <p:spPr bwMode="auto">
              <a:xfrm>
                <a:off x="5683" y="366"/>
                <a:ext cx="13" cy="13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US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690" name="Freeform 405"/>
              <p:cNvSpPr>
                <a:spLocks noChangeArrowheads="1"/>
              </p:cNvSpPr>
              <p:nvPr/>
            </p:nvSpPr>
            <p:spPr bwMode="auto">
              <a:xfrm>
                <a:off x="5662" y="352"/>
                <a:ext cx="13" cy="12"/>
              </a:xfrm>
              <a:custGeom>
                <a:avLst/>
                <a:gdLst>
                  <a:gd name="T0" fmla="*/ 3860 w 9"/>
                  <a:gd name="T1" fmla="*/ 3489 h 9"/>
                  <a:gd name="T2" fmla="*/ 0 w 9"/>
                  <a:gd name="T3" fmla="*/ 1993 h 9"/>
                  <a:gd name="T4" fmla="*/ 0 w 9"/>
                  <a:gd name="T5" fmla="*/ 1993 h 9"/>
                  <a:gd name="T6" fmla="*/ 3860 w 9"/>
                  <a:gd name="T7" fmla="*/ 0 h 9"/>
                  <a:gd name="T8" fmla="*/ 7173 w 9"/>
                  <a:gd name="T9" fmla="*/ 1993 h 9"/>
                  <a:gd name="T10" fmla="*/ 3860 w 9"/>
                  <a:gd name="T11" fmla="*/ 3489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5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691" name="Freeform 406"/>
              <p:cNvSpPr>
                <a:spLocks noChangeArrowheads="1"/>
              </p:cNvSpPr>
              <p:nvPr/>
            </p:nvSpPr>
            <p:spPr bwMode="auto">
              <a:xfrm>
                <a:off x="5642" y="366"/>
                <a:ext cx="11" cy="13"/>
              </a:xfrm>
              <a:custGeom>
                <a:avLst/>
                <a:gdLst>
                  <a:gd name="T0" fmla="*/ 2164 w 8"/>
                  <a:gd name="T1" fmla="*/ 5642 h 9"/>
                  <a:gd name="T2" fmla="*/ 0 w 8"/>
                  <a:gd name="T3" fmla="*/ 3225 h 9"/>
                  <a:gd name="T4" fmla="*/ 0 w 8"/>
                  <a:gd name="T5" fmla="*/ 2417 h 9"/>
                  <a:gd name="T6" fmla="*/ 2164 w 8"/>
                  <a:gd name="T7" fmla="*/ 0 h 9"/>
                  <a:gd name="T8" fmla="*/ 4077 w 8"/>
                  <a:gd name="T9" fmla="*/ 3225 h 9"/>
                  <a:gd name="T10" fmla="*/ 4077 w 8"/>
                  <a:gd name="T11" fmla="*/ 3225 h 9"/>
                  <a:gd name="T12" fmla="*/ 2164 w 8"/>
                  <a:gd name="T13" fmla="*/ 5642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5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692" name="Oval 407"/>
              <p:cNvSpPr>
                <a:spLocks noChangeArrowheads="1"/>
              </p:cNvSpPr>
              <p:nvPr/>
            </p:nvSpPr>
            <p:spPr bwMode="auto">
              <a:xfrm>
                <a:off x="5621" y="352"/>
                <a:ext cx="13" cy="12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US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693" name="Freeform 408"/>
              <p:cNvSpPr>
                <a:spLocks noChangeArrowheads="1"/>
              </p:cNvSpPr>
              <p:nvPr/>
            </p:nvSpPr>
            <p:spPr bwMode="auto">
              <a:xfrm>
                <a:off x="5393" y="366"/>
                <a:ext cx="13" cy="13"/>
              </a:xfrm>
              <a:custGeom>
                <a:avLst/>
                <a:gdLst>
                  <a:gd name="T0" fmla="*/ 3225 w 9"/>
                  <a:gd name="T1" fmla="*/ 5642 h 9"/>
                  <a:gd name="T2" fmla="*/ 0 w 9"/>
                  <a:gd name="T3" fmla="*/ 3225 h 9"/>
                  <a:gd name="T4" fmla="*/ 0 w 9"/>
                  <a:gd name="T5" fmla="*/ 3225 h 9"/>
                  <a:gd name="T6" fmla="*/ 3225 w 9"/>
                  <a:gd name="T7" fmla="*/ 0 h 9"/>
                  <a:gd name="T8" fmla="*/ 5642 w 9"/>
                  <a:gd name="T9" fmla="*/ 3225 h 9"/>
                  <a:gd name="T10" fmla="*/ 3225 w 9"/>
                  <a:gd name="T11" fmla="*/ 5642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5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694" name="Freeform 409"/>
              <p:cNvSpPr>
                <a:spLocks noChangeArrowheads="1"/>
              </p:cNvSpPr>
              <p:nvPr/>
            </p:nvSpPr>
            <p:spPr bwMode="auto">
              <a:xfrm>
                <a:off x="5312" y="366"/>
                <a:ext cx="11" cy="13"/>
              </a:xfrm>
              <a:custGeom>
                <a:avLst/>
                <a:gdLst>
                  <a:gd name="T0" fmla="*/ 2164 w 8"/>
                  <a:gd name="T1" fmla="*/ 5642 h 9"/>
                  <a:gd name="T2" fmla="*/ 0 w 8"/>
                  <a:gd name="T3" fmla="*/ 3225 h 9"/>
                  <a:gd name="T4" fmla="*/ 0 w 8"/>
                  <a:gd name="T5" fmla="*/ 3225 h 9"/>
                  <a:gd name="T6" fmla="*/ 2164 w 8"/>
                  <a:gd name="T7" fmla="*/ 0 h 9"/>
                  <a:gd name="T8" fmla="*/ 4077 w 8"/>
                  <a:gd name="T9" fmla="*/ 3225 h 9"/>
                  <a:gd name="T10" fmla="*/ 2164 w 8"/>
                  <a:gd name="T11" fmla="*/ 5642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5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695" name="Freeform 410"/>
              <p:cNvSpPr>
                <a:spLocks noChangeArrowheads="1"/>
              </p:cNvSpPr>
              <p:nvPr/>
            </p:nvSpPr>
            <p:spPr bwMode="auto">
              <a:xfrm>
                <a:off x="5250" y="352"/>
                <a:ext cx="11" cy="12"/>
              </a:xfrm>
              <a:custGeom>
                <a:avLst/>
                <a:gdLst>
                  <a:gd name="T0" fmla="*/ 2164 w 8"/>
                  <a:gd name="T1" fmla="*/ 3489 h 9"/>
                  <a:gd name="T2" fmla="*/ 0 w 8"/>
                  <a:gd name="T3" fmla="*/ 1993 h 9"/>
                  <a:gd name="T4" fmla="*/ 0 w 8"/>
                  <a:gd name="T5" fmla="*/ 1993 h 9"/>
                  <a:gd name="T6" fmla="*/ 2164 w 8"/>
                  <a:gd name="T7" fmla="*/ 0 h 9"/>
                  <a:gd name="T8" fmla="*/ 4077 w 8"/>
                  <a:gd name="T9" fmla="*/ 1993 h 9"/>
                  <a:gd name="T10" fmla="*/ 2164 w 8"/>
                  <a:gd name="T11" fmla="*/ 3489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5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696" name="Freeform 411"/>
              <p:cNvSpPr>
                <a:spLocks noChangeArrowheads="1"/>
              </p:cNvSpPr>
              <p:nvPr/>
            </p:nvSpPr>
            <p:spPr bwMode="auto">
              <a:xfrm>
                <a:off x="5106" y="366"/>
                <a:ext cx="11" cy="13"/>
              </a:xfrm>
              <a:custGeom>
                <a:avLst/>
                <a:gdLst>
                  <a:gd name="T0" fmla="*/ 2164 w 8"/>
                  <a:gd name="T1" fmla="*/ 5642 h 9"/>
                  <a:gd name="T2" fmla="*/ 0 w 8"/>
                  <a:gd name="T3" fmla="*/ 3225 h 9"/>
                  <a:gd name="T4" fmla="*/ 0 w 8"/>
                  <a:gd name="T5" fmla="*/ 3225 h 9"/>
                  <a:gd name="T6" fmla="*/ 2164 w 8"/>
                  <a:gd name="T7" fmla="*/ 0 h 9"/>
                  <a:gd name="T8" fmla="*/ 4077 w 8"/>
                  <a:gd name="T9" fmla="*/ 3225 h 9"/>
                  <a:gd name="T10" fmla="*/ 2164 w 8"/>
                  <a:gd name="T11" fmla="*/ 5642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5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697" name="Freeform 412"/>
              <p:cNvSpPr>
                <a:spLocks noChangeArrowheads="1"/>
              </p:cNvSpPr>
              <p:nvPr/>
            </p:nvSpPr>
            <p:spPr bwMode="auto">
              <a:xfrm>
                <a:off x="5373" y="352"/>
                <a:ext cx="11" cy="12"/>
              </a:xfrm>
              <a:custGeom>
                <a:avLst/>
                <a:gdLst>
                  <a:gd name="T0" fmla="*/ 2164 w 8"/>
                  <a:gd name="T1" fmla="*/ 3489 h 9"/>
                  <a:gd name="T2" fmla="*/ 0 w 8"/>
                  <a:gd name="T3" fmla="*/ 1993 h 9"/>
                  <a:gd name="T4" fmla="*/ 0 w 8"/>
                  <a:gd name="T5" fmla="*/ 1993 h 9"/>
                  <a:gd name="T6" fmla="*/ 2164 w 8"/>
                  <a:gd name="T7" fmla="*/ 0 h 9"/>
                  <a:gd name="T8" fmla="*/ 4077 w 8"/>
                  <a:gd name="T9" fmla="*/ 1993 h 9"/>
                  <a:gd name="T10" fmla="*/ 2164 w 8"/>
                  <a:gd name="T11" fmla="*/ 3489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5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698" name="Freeform 413"/>
              <p:cNvSpPr>
                <a:spLocks noChangeArrowheads="1"/>
              </p:cNvSpPr>
              <p:nvPr/>
            </p:nvSpPr>
            <p:spPr bwMode="auto">
              <a:xfrm>
                <a:off x="5291" y="352"/>
                <a:ext cx="13" cy="12"/>
              </a:xfrm>
              <a:custGeom>
                <a:avLst/>
                <a:gdLst>
                  <a:gd name="T0" fmla="*/ 2417 w 9"/>
                  <a:gd name="T1" fmla="*/ 3489 h 9"/>
                  <a:gd name="T2" fmla="*/ 0 w 9"/>
                  <a:gd name="T3" fmla="*/ 1993 h 9"/>
                  <a:gd name="T4" fmla="*/ 0 w 9"/>
                  <a:gd name="T5" fmla="*/ 1993 h 9"/>
                  <a:gd name="T6" fmla="*/ 2417 w 9"/>
                  <a:gd name="T7" fmla="*/ 0 h 9"/>
                  <a:gd name="T8" fmla="*/ 5642 w 9"/>
                  <a:gd name="T9" fmla="*/ 1993 h 9"/>
                  <a:gd name="T10" fmla="*/ 2417 w 9"/>
                  <a:gd name="T11" fmla="*/ 3489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5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699" name="Oval 414"/>
              <p:cNvSpPr>
                <a:spLocks noChangeArrowheads="1"/>
              </p:cNvSpPr>
              <p:nvPr/>
            </p:nvSpPr>
            <p:spPr bwMode="auto">
              <a:xfrm>
                <a:off x="5229" y="366"/>
                <a:ext cx="13" cy="13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US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700" name="Freeform 415"/>
              <p:cNvSpPr>
                <a:spLocks noChangeArrowheads="1"/>
              </p:cNvSpPr>
              <p:nvPr/>
            </p:nvSpPr>
            <p:spPr bwMode="auto">
              <a:xfrm>
                <a:off x="5085" y="352"/>
                <a:ext cx="13" cy="12"/>
              </a:xfrm>
              <a:custGeom>
                <a:avLst/>
                <a:gdLst>
                  <a:gd name="T0" fmla="*/ 2417 w 9"/>
                  <a:gd name="T1" fmla="*/ 3489 h 9"/>
                  <a:gd name="T2" fmla="*/ 0 w 9"/>
                  <a:gd name="T3" fmla="*/ 1993 h 9"/>
                  <a:gd name="T4" fmla="*/ 0 w 9"/>
                  <a:gd name="T5" fmla="*/ 1993 h 9"/>
                  <a:gd name="T6" fmla="*/ 2417 w 9"/>
                  <a:gd name="T7" fmla="*/ 0 h 9"/>
                  <a:gd name="T8" fmla="*/ 5642 w 9"/>
                  <a:gd name="T9" fmla="*/ 1993 h 9"/>
                  <a:gd name="T10" fmla="*/ 2417 w 9"/>
                  <a:gd name="T11" fmla="*/ 3489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5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701" name="Freeform 416"/>
              <p:cNvSpPr>
                <a:spLocks noChangeArrowheads="1"/>
              </p:cNvSpPr>
              <p:nvPr/>
            </p:nvSpPr>
            <p:spPr bwMode="auto">
              <a:xfrm>
                <a:off x="5354" y="366"/>
                <a:ext cx="13" cy="13"/>
              </a:xfrm>
              <a:custGeom>
                <a:avLst/>
                <a:gdLst>
                  <a:gd name="T0" fmla="*/ 2417 w 9"/>
                  <a:gd name="T1" fmla="*/ 5642 h 9"/>
                  <a:gd name="T2" fmla="*/ 0 w 9"/>
                  <a:gd name="T3" fmla="*/ 3225 h 9"/>
                  <a:gd name="T4" fmla="*/ 0 w 9"/>
                  <a:gd name="T5" fmla="*/ 3225 h 9"/>
                  <a:gd name="T6" fmla="*/ 2417 w 9"/>
                  <a:gd name="T7" fmla="*/ 0 h 9"/>
                  <a:gd name="T8" fmla="*/ 5642 w 9"/>
                  <a:gd name="T9" fmla="*/ 3225 h 9"/>
                  <a:gd name="T10" fmla="*/ 2417 w 9"/>
                  <a:gd name="T11" fmla="*/ 5642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5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702" name="Freeform 417"/>
              <p:cNvSpPr>
                <a:spLocks noChangeArrowheads="1"/>
              </p:cNvSpPr>
              <p:nvPr/>
            </p:nvSpPr>
            <p:spPr bwMode="auto">
              <a:xfrm>
                <a:off x="5270" y="366"/>
                <a:ext cx="12" cy="13"/>
              </a:xfrm>
              <a:custGeom>
                <a:avLst/>
                <a:gdLst>
                  <a:gd name="T0" fmla="*/ 1993 w 9"/>
                  <a:gd name="T1" fmla="*/ 5642 h 9"/>
                  <a:gd name="T2" fmla="*/ 0 w 9"/>
                  <a:gd name="T3" fmla="*/ 3225 h 9"/>
                  <a:gd name="T4" fmla="*/ 0 w 9"/>
                  <a:gd name="T5" fmla="*/ 3225 h 9"/>
                  <a:gd name="T6" fmla="*/ 1993 w 9"/>
                  <a:gd name="T7" fmla="*/ 0 h 9"/>
                  <a:gd name="T8" fmla="*/ 3489 w 9"/>
                  <a:gd name="T9" fmla="*/ 3225 h 9"/>
                  <a:gd name="T10" fmla="*/ 1993 w 9"/>
                  <a:gd name="T11" fmla="*/ 5642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5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703" name="Freeform 418"/>
              <p:cNvSpPr>
                <a:spLocks noChangeArrowheads="1"/>
              </p:cNvSpPr>
              <p:nvPr/>
            </p:nvSpPr>
            <p:spPr bwMode="auto">
              <a:xfrm>
                <a:off x="5208" y="352"/>
                <a:ext cx="12" cy="12"/>
              </a:xfrm>
              <a:custGeom>
                <a:avLst/>
                <a:gdLst>
                  <a:gd name="T0" fmla="*/ 1993 w 9"/>
                  <a:gd name="T1" fmla="*/ 3489 h 9"/>
                  <a:gd name="T2" fmla="*/ 0 w 9"/>
                  <a:gd name="T3" fmla="*/ 1993 h 9"/>
                  <a:gd name="T4" fmla="*/ 0 w 9"/>
                  <a:gd name="T5" fmla="*/ 1993 h 9"/>
                  <a:gd name="T6" fmla="*/ 1993 w 9"/>
                  <a:gd name="T7" fmla="*/ 0 h 9"/>
                  <a:gd name="T8" fmla="*/ 3489 w 9"/>
                  <a:gd name="T9" fmla="*/ 1993 h 9"/>
                  <a:gd name="T10" fmla="*/ 1993 w 9"/>
                  <a:gd name="T11" fmla="*/ 3489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5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704" name="Oval 419"/>
              <p:cNvSpPr>
                <a:spLocks noChangeArrowheads="1"/>
              </p:cNvSpPr>
              <p:nvPr/>
            </p:nvSpPr>
            <p:spPr bwMode="auto">
              <a:xfrm>
                <a:off x="5125" y="352"/>
                <a:ext cx="13" cy="12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US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705" name="Freeform 420"/>
              <p:cNvSpPr>
                <a:spLocks noChangeArrowheads="1"/>
              </p:cNvSpPr>
              <p:nvPr/>
            </p:nvSpPr>
            <p:spPr bwMode="auto">
              <a:xfrm>
                <a:off x="5063" y="366"/>
                <a:ext cx="13" cy="13"/>
              </a:xfrm>
              <a:custGeom>
                <a:avLst/>
                <a:gdLst>
                  <a:gd name="T0" fmla="*/ 3860 w 9"/>
                  <a:gd name="T1" fmla="*/ 5642 h 9"/>
                  <a:gd name="T2" fmla="*/ 0 w 9"/>
                  <a:gd name="T3" fmla="*/ 3225 h 9"/>
                  <a:gd name="T4" fmla="*/ 0 w 9"/>
                  <a:gd name="T5" fmla="*/ 3225 h 9"/>
                  <a:gd name="T6" fmla="*/ 3860 w 9"/>
                  <a:gd name="T7" fmla="*/ 0 h 9"/>
                  <a:gd name="T8" fmla="*/ 7173 w 9"/>
                  <a:gd name="T9" fmla="*/ 3225 h 9"/>
                  <a:gd name="T10" fmla="*/ 3860 w 9"/>
                  <a:gd name="T11" fmla="*/ 5642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5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706" name="Freeform 421"/>
              <p:cNvSpPr>
                <a:spLocks noChangeArrowheads="1"/>
              </p:cNvSpPr>
              <p:nvPr/>
            </p:nvSpPr>
            <p:spPr bwMode="auto">
              <a:xfrm>
                <a:off x="5476" y="387"/>
                <a:ext cx="12" cy="12"/>
              </a:xfrm>
              <a:custGeom>
                <a:avLst/>
                <a:gdLst>
                  <a:gd name="T0" fmla="*/ 1495 w 9"/>
                  <a:gd name="T1" fmla="*/ 3489 h 9"/>
                  <a:gd name="T2" fmla="*/ 0 w 9"/>
                  <a:gd name="T3" fmla="*/ 1993 h 9"/>
                  <a:gd name="T4" fmla="*/ 0 w 9"/>
                  <a:gd name="T5" fmla="*/ 1495 h 9"/>
                  <a:gd name="T6" fmla="*/ 1495 w 9"/>
                  <a:gd name="T7" fmla="*/ 0 h 9"/>
                  <a:gd name="T8" fmla="*/ 3489 w 9"/>
                  <a:gd name="T9" fmla="*/ 1495 h 9"/>
                  <a:gd name="T10" fmla="*/ 1495 w 9"/>
                  <a:gd name="T11" fmla="*/ 3489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707" name="Freeform 422"/>
              <p:cNvSpPr>
                <a:spLocks noChangeArrowheads="1"/>
              </p:cNvSpPr>
              <p:nvPr/>
            </p:nvSpPr>
            <p:spPr bwMode="auto">
              <a:xfrm>
                <a:off x="5435" y="387"/>
                <a:ext cx="11" cy="12"/>
              </a:xfrm>
              <a:custGeom>
                <a:avLst/>
                <a:gdLst>
                  <a:gd name="T0" fmla="*/ 2164 w 8"/>
                  <a:gd name="T1" fmla="*/ 3489 h 9"/>
                  <a:gd name="T2" fmla="*/ 0 w 8"/>
                  <a:gd name="T3" fmla="*/ 1993 h 9"/>
                  <a:gd name="T4" fmla="*/ 0 w 8"/>
                  <a:gd name="T5" fmla="*/ 1495 h 9"/>
                  <a:gd name="T6" fmla="*/ 2164 w 8"/>
                  <a:gd name="T7" fmla="*/ 0 h 9"/>
                  <a:gd name="T8" fmla="*/ 4077 w 8"/>
                  <a:gd name="T9" fmla="*/ 1495 h 9"/>
                  <a:gd name="T10" fmla="*/ 2164 w 8"/>
                  <a:gd name="T11" fmla="*/ 3489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708" name="Freeform 423"/>
              <p:cNvSpPr>
                <a:spLocks noChangeArrowheads="1"/>
              </p:cNvSpPr>
              <p:nvPr/>
            </p:nvSpPr>
            <p:spPr bwMode="auto">
              <a:xfrm>
                <a:off x="5415" y="373"/>
                <a:ext cx="13" cy="13"/>
              </a:xfrm>
              <a:custGeom>
                <a:avLst/>
                <a:gdLst>
                  <a:gd name="T0" fmla="*/ 2417 w 9"/>
                  <a:gd name="T1" fmla="*/ 5642 h 9"/>
                  <a:gd name="T2" fmla="*/ 0 w 9"/>
                  <a:gd name="T3" fmla="*/ 3225 h 9"/>
                  <a:gd name="T4" fmla="*/ 0 w 9"/>
                  <a:gd name="T5" fmla="*/ 2417 h 9"/>
                  <a:gd name="T6" fmla="*/ 2417 w 9"/>
                  <a:gd name="T7" fmla="*/ 0 h 9"/>
                  <a:gd name="T8" fmla="*/ 5642 w 9"/>
                  <a:gd name="T9" fmla="*/ 3225 h 9"/>
                  <a:gd name="T10" fmla="*/ 2417 w 9"/>
                  <a:gd name="T11" fmla="*/ 5642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5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709" name="Freeform 424"/>
              <p:cNvSpPr>
                <a:spLocks noChangeArrowheads="1"/>
              </p:cNvSpPr>
              <p:nvPr/>
            </p:nvSpPr>
            <p:spPr bwMode="auto">
              <a:xfrm>
                <a:off x="5331" y="373"/>
                <a:ext cx="13" cy="13"/>
              </a:xfrm>
              <a:custGeom>
                <a:avLst/>
                <a:gdLst>
                  <a:gd name="T0" fmla="*/ 3860 w 9"/>
                  <a:gd name="T1" fmla="*/ 5642 h 9"/>
                  <a:gd name="T2" fmla="*/ 0 w 9"/>
                  <a:gd name="T3" fmla="*/ 3225 h 9"/>
                  <a:gd name="T4" fmla="*/ 0 w 9"/>
                  <a:gd name="T5" fmla="*/ 2417 h 9"/>
                  <a:gd name="T6" fmla="*/ 3860 w 9"/>
                  <a:gd name="T7" fmla="*/ 0 h 9"/>
                  <a:gd name="T8" fmla="*/ 7173 w 9"/>
                  <a:gd name="T9" fmla="*/ 3225 h 9"/>
                  <a:gd name="T10" fmla="*/ 3860 w 9"/>
                  <a:gd name="T11" fmla="*/ 5642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5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710" name="Freeform 425"/>
              <p:cNvSpPr>
                <a:spLocks noChangeArrowheads="1"/>
              </p:cNvSpPr>
              <p:nvPr/>
            </p:nvSpPr>
            <p:spPr bwMode="auto">
              <a:xfrm>
                <a:off x="5188" y="387"/>
                <a:ext cx="11" cy="12"/>
              </a:xfrm>
              <a:custGeom>
                <a:avLst/>
                <a:gdLst>
                  <a:gd name="T0" fmla="*/ 2164 w 8"/>
                  <a:gd name="T1" fmla="*/ 3489 h 9"/>
                  <a:gd name="T2" fmla="*/ 0 w 8"/>
                  <a:gd name="T3" fmla="*/ 1993 h 9"/>
                  <a:gd name="T4" fmla="*/ 0 w 8"/>
                  <a:gd name="T5" fmla="*/ 1495 h 9"/>
                  <a:gd name="T6" fmla="*/ 2164 w 8"/>
                  <a:gd name="T7" fmla="*/ 0 h 9"/>
                  <a:gd name="T8" fmla="*/ 4077 w 8"/>
                  <a:gd name="T9" fmla="*/ 1495 h 9"/>
                  <a:gd name="T10" fmla="*/ 2164 w 8"/>
                  <a:gd name="T11" fmla="*/ 3489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1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1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711" name="Freeform 426"/>
              <p:cNvSpPr>
                <a:spLocks noChangeArrowheads="1"/>
              </p:cNvSpPr>
              <p:nvPr/>
            </p:nvSpPr>
            <p:spPr bwMode="auto">
              <a:xfrm>
                <a:off x="5146" y="387"/>
                <a:ext cx="13" cy="12"/>
              </a:xfrm>
              <a:custGeom>
                <a:avLst/>
                <a:gdLst>
                  <a:gd name="T0" fmla="*/ 3194 w 9"/>
                  <a:gd name="T1" fmla="*/ 3489 h 9"/>
                  <a:gd name="T2" fmla="*/ 0 w 9"/>
                  <a:gd name="T3" fmla="*/ 1993 h 9"/>
                  <a:gd name="T4" fmla="*/ 0 w 9"/>
                  <a:gd name="T5" fmla="*/ 1495 h 9"/>
                  <a:gd name="T6" fmla="*/ 3194 w 9"/>
                  <a:gd name="T7" fmla="*/ 0 h 9"/>
                  <a:gd name="T8" fmla="*/ 7173 w 9"/>
                  <a:gd name="T9" fmla="*/ 1495 h 9"/>
                  <a:gd name="T10" fmla="*/ 3194 w 9"/>
                  <a:gd name="T11" fmla="*/ 3489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712" name="Freeform 427"/>
              <p:cNvSpPr>
                <a:spLocks noChangeArrowheads="1"/>
              </p:cNvSpPr>
              <p:nvPr/>
            </p:nvSpPr>
            <p:spPr bwMode="auto">
              <a:xfrm>
                <a:off x="5044" y="373"/>
                <a:ext cx="11" cy="13"/>
              </a:xfrm>
              <a:custGeom>
                <a:avLst/>
                <a:gdLst>
                  <a:gd name="T0" fmla="*/ 2164 w 8"/>
                  <a:gd name="T1" fmla="*/ 5642 h 9"/>
                  <a:gd name="T2" fmla="*/ 0 w 8"/>
                  <a:gd name="T3" fmla="*/ 3225 h 9"/>
                  <a:gd name="T4" fmla="*/ 0 w 8"/>
                  <a:gd name="T5" fmla="*/ 2417 h 9"/>
                  <a:gd name="T6" fmla="*/ 2164 w 8"/>
                  <a:gd name="T7" fmla="*/ 0 h 9"/>
                  <a:gd name="T8" fmla="*/ 4077 w 8"/>
                  <a:gd name="T9" fmla="*/ 3225 h 9"/>
                  <a:gd name="T10" fmla="*/ 2164 w 8"/>
                  <a:gd name="T11" fmla="*/ 5642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5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713" name="Oval 428"/>
              <p:cNvSpPr>
                <a:spLocks noChangeArrowheads="1"/>
              </p:cNvSpPr>
              <p:nvPr/>
            </p:nvSpPr>
            <p:spPr bwMode="auto">
              <a:xfrm>
                <a:off x="5601" y="387"/>
                <a:ext cx="12" cy="12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US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714" name="Freeform 429"/>
              <p:cNvSpPr>
                <a:spLocks noChangeArrowheads="1"/>
              </p:cNvSpPr>
              <p:nvPr/>
            </p:nvSpPr>
            <p:spPr bwMode="auto">
              <a:xfrm>
                <a:off x="5581" y="373"/>
                <a:ext cx="10" cy="13"/>
              </a:xfrm>
              <a:custGeom>
                <a:avLst/>
                <a:gdLst>
                  <a:gd name="T0" fmla="*/ 868 w 8"/>
                  <a:gd name="T1" fmla="*/ 5642 h 9"/>
                  <a:gd name="T2" fmla="*/ 0 w 8"/>
                  <a:gd name="T3" fmla="*/ 3225 h 9"/>
                  <a:gd name="T4" fmla="*/ 0 w 8"/>
                  <a:gd name="T5" fmla="*/ 2417 h 9"/>
                  <a:gd name="T6" fmla="*/ 868 w 8"/>
                  <a:gd name="T7" fmla="*/ 0 h 9"/>
                  <a:gd name="T8" fmla="*/ 1780 w 8"/>
                  <a:gd name="T9" fmla="*/ 3225 h 9"/>
                  <a:gd name="T10" fmla="*/ 868 w 8"/>
                  <a:gd name="T11" fmla="*/ 5642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5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715" name="Freeform 430"/>
              <p:cNvSpPr>
                <a:spLocks noChangeArrowheads="1"/>
              </p:cNvSpPr>
              <p:nvPr/>
            </p:nvSpPr>
            <p:spPr bwMode="auto">
              <a:xfrm>
                <a:off x="5559" y="387"/>
                <a:ext cx="13" cy="12"/>
              </a:xfrm>
              <a:custGeom>
                <a:avLst/>
                <a:gdLst>
                  <a:gd name="T0" fmla="*/ 3194 w 9"/>
                  <a:gd name="T1" fmla="*/ 3489 h 9"/>
                  <a:gd name="T2" fmla="*/ 0 w 9"/>
                  <a:gd name="T3" fmla="*/ 1993 h 9"/>
                  <a:gd name="T4" fmla="*/ 0 w 9"/>
                  <a:gd name="T5" fmla="*/ 1495 h 9"/>
                  <a:gd name="T6" fmla="*/ 3194 w 9"/>
                  <a:gd name="T7" fmla="*/ 0 h 9"/>
                  <a:gd name="T8" fmla="*/ 7173 w 9"/>
                  <a:gd name="T9" fmla="*/ 1495 h 9"/>
                  <a:gd name="T10" fmla="*/ 3194 w 9"/>
                  <a:gd name="T11" fmla="*/ 3489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716" name="Freeform 431"/>
              <p:cNvSpPr>
                <a:spLocks noChangeArrowheads="1"/>
              </p:cNvSpPr>
              <p:nvPr/>
            </p:nvSpPr>
            <p:spPr bwMode="auto">
              <a:xfrm>
                <a:off x="5538" y="373"/>
                <a:ext cx="12" cy="13"/>
              </a:xfrm>
              <a:custGeom>
                <a:avLst/>
                <a:gdLst>
                  <a:gd name="T0" fmla="*/ 1993 w 9"/>
                  <a:gd name="T1" fmla="*/ 5642 h 9"/>
                  <a:gd name="T2" fmla="*/ 0 w 9"/>
                  <a:gd name="T3" fmla="*/ 3225 h 9"/>
                  <a:gd name="T4" fmla="*/ 0 w 9"/>
                  <a:gd name="T5" fmla="*/ 2417 h 9"/>
                  <a:gd name="T6" fmla="*/ 1993 w 9"/>
                  <a:gd name="T7" fmla="*/ 0 h 9"/>
                  <a:gd name="T8" fmla="*/ 3489 w 9"/>
                  <a:gd name="T9" fmla="*/ 3225 h 9"/>
                  <a:gd name="T10" fmla="*/ 1993 w 9"/>
                  <a:gd name="T11" fmla="*/ 5642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5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717" name="Freeform 432"/>
              <p:cNvSpPr>
                <a:spLocks noChangeArrowheads="1"/>
              </p:cNvSpPr>
              <p:nvPr/>
            </p:nvSpPr>
            <p:spPr bwMode="auto">
              <a:xfrm>
                <a:off x="5518" y="387"/>
                <a:ext cx="11" cy="12"/>
              </a:xfrm>
              <a:custGeom>
                <a:avLst/>
                <a:gdLst>
                  <a:gd name="T0" fmla="*/ 2164 w 8"/>
                  <a:gd name="T1" fmla="*/ 3489 h 9"/>
                  <a:gd name="T2" fmla="*/ 0 w 8"/>
                  <a:gd name="T3" fmla="*/ 1993 h 9"/>
                  <a:gd name="T4" fmla="*/ 0 w 8"/>
                  <a:gd name="T5" fmla="*/ 1495 h 9"/>
                  <a:gd name="T6" fmla="*/ 2164 w 8"/>
                  <a:gd name="T7" fmla="*/ 0 h 9"/>
                  <a:gd name="T8" fmla="*/ 4077 w 8"/>
                  <a:gd name="T9" fmla="*/ 1495 h 9"/>
                  <a:gd name="T10" fmla="*/ 2164 w 8"/>
                  <a:gd name="T11" fmla="*/ 3489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718" name="Freeform 433"/>
              <p:cNvSpPr>
                <a:spLocks noChangeArrowheads="1"/>
              </p:cNvSpPr>
              <p:nvPr/>
            </p:nvSpPr>
            <p:spPr bwMode="auto">
              <a:xfrm>
                <a:off x="5498" y="373"/>
                <a:ext cx="12" cy="13"/>
              </a:xfrm>
              <a:custGeom>
                <a:avLst/>
                <a:gdLst>
                  <a:gd name="T0" fmla="*/ 1495 w 9"/>
                  <a:gd name="T1" fmla="*/ 5642 h 9"/>
                  <a:gd name="T2" fmla="*/ 0 w 9"/>
                  <a:gd name="T3" fmla="*/ 3225 h 9"/>
                  <a:gd name="T4" fmla="*/ 0 w 9"/>
                  <a:gd name="T5" fmla="*/ 2417 h 9"/>
                  <a:gd name="T6" fmla="*/ 1495 w 9"/>
                  <a:gd name="T7" fmla="*/ 0 h 9"/>
                  <a:gd name="T8" fmla="*/ 3489 w 9"/>
                  <a:gd name="T9" fmla="*/ 3225 h 9"/>
                  <a:gd name="T10" fmla="*/ 1495 w 9"/>
                  <a:gd name="T11" fmla="*/ 5642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5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719" name="Oval 434"/>
              <p:cNvSpPr>
                <a:spLocks noChangeArrowheads="1"/>
              </p:cNvSpPr>
              <p:nvPr/>
            </p:nvSpPr>
            <p:spPr bwMode="auto">
              <a:xfrm>
                <a:off x="5455" y="373"/>
                <a:ext cx="13" cy="13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US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720" name="Oval 435"/>
              <p:cNvSpPr>
                <a:spLocks noChangeArrowheads="1"/>
              </p:cNvSpPr>
              <p:nvPr/>
            </p:nvSpPr>
            <p:spPr bwMode="auto">
              <a:xfrm>
                <a:off x="5744" y="373"/>
                <a:ext cx="13" cy="13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US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721" name="Freeform 436"/>
              <p:cNvSpPr>
                <a:spLocks noChangeArrowheads="1"/>
              </p:cNvSpPr>
              <p:nvPr/>
            </p:nvSpPr>
            <p:spPr bwMode="auto">
              <a:xfrm>
                <a:off x="5723" y="387"/>
                <a:ext cx="13" cy="12"/>
              </a:xfrm>
              <a:custGeom>
                <a:avLst/>
                <a:gdLst>
                  <a:gd name="T0" fmla="*/ 3225 w 9"/>
                  <a:gd name="T1" fmla="*/ 3489 h 9"/>
                  <a:gd name="T2" fmla="*/ 0 w 9"/>
                  <a:gd name="T3" fmla="*/ 1993 h 9"/>
                  <a:gd name="T4" fmla="*/ 0 w 9"/>
                  <a:gd name="T5" fmla="*/ 1495 h 9"/>
                  <a:gd name="T6" fmla="*/ 3225 w 9"/>
                  <a:gd name="T7" fmla="*/ 0 h 9"/>
                  <a:gd name="T8" fmla="*/ 5642 w 9"/>
                  <a:gd name="T9" fmla="*/ 1495 h 9"/>
                  <a:gd name="T10" fmla="*/ 3225 w 9"/>
                  <a:gd name="T11" fmla="*/ 3489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722" name="Freeform 437"/>
              <p:cNvSpPr>
                <a:spLocks noChangeArrowheads="1"/>
              </p:cNvSpPr>
              <p:nvPr/>
            </p:nvSpPr>
            <p:spPr bwMode="auto">
              <a:xfrm>
                <a:off x="5704" y="373"/>
                <a:ext cx="11" cy="13"/>
              </a:xfrm>
              <a:custGeom>
                <a:avLst/>
                <a:gdLst>
                  <a:gd name="T0" fmla="*/ 2164 w 8"/>
                  <a:gd name="T1" fmla="*/ 5642 h 9"/>
                  <a:gd name="T2" fmla="*/ 0 w 8"/>
                  <a:gd name="T3" fmla="*/ 3225 h 9"/>
                  <a:gd name="T4" fmla="*/ 0 w 8"/>
                  <a:gd name="T5" fmla="*/ 2417 h 9"/>
                  <a:gd name="T6" fmla="*/ 2164 w 8"/>
                  <a:gd name="T7" fmla="*/ 0 h 9"/>
                  <a:gd name="T8" fmla="*/ 4077 w 8"/>
                  <a:gd name="T9" fmla="*/ 3225 h 9"/>
                  <a:gd name="T10" fmla="*/ 2164 w 8"/>
                  <a:gd name="T11" fmla="*/ 5642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5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723" name="Oval 438"/>
              <p:cNvSpPr>
                <a:spLocks noChangeArrowheads="1"/>
              </p:cNvSpPr>
              <p:nvPr/>
            </p:nvSpPr>
            <p:spPr bwMode="auto">
              <a:xfrm>
                <a:off x="5683" y="387"/>
                <a:ext cx="13" cy="12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US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724" name="Freeform 439"/>
              <p:cNvSpPr>
                <a:spLocks noChangeArrowheads="1"/>
              </p:cNvSpPr>
              <p:nvPr/>
            </p:nvSpPr>
            <p:spPr bwMode="auto">
              <a:xfrm>
                <a:off x="5662" y="373"/>
                <a:ext cx="13" cy="13"/>
              </a:xfrm>
              <a:custGeom>
                <a:avLst/>
                <a:gdLst>
                  <a:gd name="T0" fmla="*/ 3860 w 9"/>
                  <a:gd name="T1" fmla="*/ 5642 h 9"/>
                  <a:gd name="T2" fmla="*/ 0 w 9"/>
                  <a:gd name="T3" fmla="*/ 3225 h 9"/>
                  <a:gd name="T4" fmla="*/ 0 w 9"/>
                  <a:gd name="T5" fmla="*/ 2417 h 9"/>
                  <a:gd name="T6" fmla="*/ 3860 w 9"/>
                  <a:gd name="T7" fmla="*/ 0 h 9"/>
                  <a:gd name="T8" fmla="*/ 7173 w 9"/>
                  <a:gd name="T9" fmla="*/ 3225 h 9"/>
                  <a:gd name="T10" fmla="*/ 3860 w 9"/>
                  <a:gd name="T11" fmla="*/ 5642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5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725" name="Freeform 440"/>
              <p:cNvSpPr>
                <a:spLocks noChangeArrowheads="1"/>
              </p:cNvSpPr>
              <p:nvPr/>
            </p:nvSpPr>
            <p:spPr bwMode="auto">
              <a:xfrm>
                <a:off x="5642" y="387"/>
                <a:ext cx="11" cy="12"/>
              </a:xfrm>
              <a:custGeom>
                <a:avLst/>
                <a:gdLst>
                  <a:gd name="T0" fmla="*/ 2164 w 8"/>
                  <a:gd name="T1" fmla="*/ 3489 h 9"/>
                  <a:gd name="T2" fmla="*/ 0 w 8"/>
                  <a:gd name="T3" fmla="*/ 1993 h 9"/>
                  <a:gd name="T4" fmla="*/ 0 w 8"/>
                  <a:gd name="T5" fmla="*/ 1495 h 9"/>
                  <a:gd name="T6" fmla="*/ 2164 w 8"/>
                  <a:gd name="T7" fmla="*/ 0 h 9"/>
                  <a:gd name="T8" fmla="*/ 4077 w 8"/>
                  <a:gd name="T9" fmla="*/ 1495 h 9"/>
                  <a:gd name="T10" fmla="*/ 4077 w 8"/>
                  <a:gd name="T11" fmla="*/ 1993 h 9"/>
                  <a:gd name="T12" fmla="*/ 2164 w 8"/>
                  <a:gd name="T13" fmla="*/ 3489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726" name="Oval 441"/>
              <p:cNvSpPr>
                <a:spLocks noChangeArrowheads="1"/>
              </p:cNvSpPr>
              <p:nvPr/>
            </p:nvSpPr>
            <p:spPr bwMode="auto">
              <a:xfrm>
                <a:off x="5621" y="373"/>
                <a:ext cx="13" cy="13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US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727" name="Freeform 442"/>
              <p:cNvSpPr>
                <a:spLocks noChangeArrowheads="1"/>
              </p:cNvSpPr>
              <p:nvPr/>
            </p:nvSpPr>
            <p:spPr bwMode="auto">
              <a:xfrm>
                <a:off x="5393" y="387"/>
                <a:ext cx="13" cy="12"/>
              </a:xfrm>
              <a:custGeom>
                <a:avLst/>
                <a:gdLst>
                  <a:gd name="T0" fmla="*/ 3225 w 9"/>
                  <a:gd name="T1" fmla="*/ 3489 h 9"/>
                  <a:gd name="T2" fmla="*/ 0 w 9"/>
                  <a:gd name="T3" fmla="*/ 1993 h 9"/>
                  <a:gd name="T4" fmla="*/ 0 w 9"/>
                  <a:gd name="T5" fmla="*/ 1495 h 9"/>
                  <a:gd name="T6" fmla="*/ 3225 w 9"/>
                  <a:gd name="T7" fmla="*/ 0 h 9"/>
                  <a:gd name="T8" fmla="*/ 5642 w 9"/>
                  <a:gd name="T9" fmla="*/ 1495 h 9"/>
                  <a:gd name="T10" fmla="*/ 3225 w 9"/>
                  <a:gd name="T11" fmla="*/ 3489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728" name="Freeform 443"/>
              <p:cNvSpPr>
                <a:spLocks noChangeArrowheads="1"/>
              </p:cNvSpPr>
              <p:nvPr/>
            </p:nvSpPr>
            <p:spPr bwMode="auto">
              <a:xfrm>
                <a:off x="5312" y="387"/>
                <a:ext cx="11" cy="12"/>
              </a:xfrm>
              <a:custGeom>
                <a:avLst/>
                <a:gdLst>
                  <a:gd name="T0" fmla="*/ 2164 w 8"/>
                  <a:gd name="T1" fmla="*/ 3489 h 9"/>
                  <a:gd name="T2" fmla="*/ 0 w 8"/>
                  <a:gd name="T3" fmla="*/ 1993 h 9"/>
                  <a:gd name="T4" fmla="*/ 0 w 8"/>
                  <a:gd name="T5" fmla="*/ 1495 h 9"/>
                  <a:gd name="T6" fmla="*/ 2164 w 8"/>
                  <a:gd name="T7" fmla="*/ 0 h 9"/>
                  <a:gd name="T8" fmla="*/ 4077 w 8"/>
                  <a:gd name="T9" fmla="*/ 1495 h 9"/>
                  <a:gd name="T10" fmla="*/ 2164 w 8"/>
                  <a:gd name="T11" fmla="*/ 3489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729" name="Freeform 444"/>
              <p:cNvSpPr>
                <a:spLocks noChangeArrowheads="1"/>
              </p:cNvSpPr>
              <p:nvPr/>
            </p:nvSpPr>
            <p:spPr bwMode="auto">
              <a:xfrm>
                <a:off x="5250" y="373"/>
                <a:ext cx="11" cy="13"/>
              </a:xfrm>
              <a:custGeom>
                <a:avLst/>
                <a:gdLst>
                  <a:gd name="T0" fmla="*/ 2164 w 8"/>
                  <a:gd name="T1" fmla="*/ 5642 h 9"/>
                  <a:gd name="T2" fmla="*/ 0 w 8"/>
                  <a:gd name="T3" fmla="*/ 3225 h 9"/>
                  <a:gd name="T4" fmla="*/ 0 w 8"/>
                  <a:gd name="T5" fmla="*/ 2417 h 9"/>
                  <a:gd name="T6" fmla="*/ 2164 w 8"/>
                  <a:gd name="T7" fmla="*/ 0 h 9"/>
                  <a:gd name="T8" fmla="*/ 4077 w 8"/>
                  <a:gd name="T9" fmla="*/ 3225 h 9"/>
                  <a:gd name="T10" fmla="*/ 2164 w 8"/>
                  <a:gd name="T11" fmla="*/ 5642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5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730" name="Freeform 445"/>
              <p:cNvSpPr>
                <a:spLocks noChangeArrowheads="1"/>
              </p:cNvSpPr>
              <p:nvPr/>
            </p:nvSpPr>
            <p:spPr bwMode="auto">
              <a:xfrm>
                <a:off x="5168" y="373"/>
                <a:ext cx="11" cy="13"/>
              </a:xfrm>
              <a:custGeom>
                <a:avLst/>
                <a:gdLst>
                  <a:gd name="T0" fmla="*/ 2164 w 8"/>
                  <a:gd name="T1" fmla="*/ 5642 h 9"/>
                  <a:gd name="T2" fmla="*/ 0 w 8"/>
                  <a:gd name="T3" fmla="*/ 3225 h 9"/>
                  <a:gd name="T4" fmla="*/ 0 w 8"/>
                  <a:gd name="T5" fmla="*/ 2417 h 9"/>
                  <a:gd name="T6" fmla="*/ 2164 w 8"/>
                  <a:gd name="T7" fmla="*/ 0 h 9"/>
                  <a:gd name="T8" fmla="*/ 4077 w 8"/>
                  <a:gd name="T9" fmla="*/ 3225 h 9"/>
                  <a:gd name="T10" fmla="*/ 2164 w 8"/>
                  <a:gd name="T11" fmla="*/ 5642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8" y="2"/>
                      <a:pt x="8" y="5"/>
                    </a:cubicBezTo>
                    <a:cubicBezTo>
                      <a:pt x="8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731" name="Freeform 446"/>
              <p:cNvSpPr>
                <a:spLocks noChangeArrowheads="1"/>
              </p:cNvSpPr>
              <p:nvPr/>
            </p:nvSpPr>
            <p:spPr bwMode="auto">
              <a:xfrm>
                <a:off x="5373" y="373"/>
                <a:ext cx="11" cy="13"/>
              </a:xfrm>
              <a:custGeom>
                <a:avLst/>
                <a:gdLst>
                  <a:gd name="T0" fmla="*/ 2164 w 8"/>
                  <a:gd name="T1" fmla="*/ 5642 h 9"/>
                  <a:gd name="T2" fmla="*/ 0 w 8"/>
                  <a:gd name="T3" fmla="*/ 3225 h 9"/>
                  <a:gd name="T4" fmla="*/ 0 w 8"/>
                  <a:gd name="T5" fmla="*/ 2417 h 9"/>
                  <a:gd name="T6" fmla="*/ 2164 w 8"/>
                  <a:gd name="T7" fmla="*/ 0 h 9"/>
                  <a:gd name="T8" fmla="*/ 4077 w 8"/>
                  <a:gd name="T9" fmla="*/ 3225 h 9"/>
                  <a:gd name="T10" fmla="*/ 2164 w 8"/>
                  <a:gd name="T11" fmla="*/ 5642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5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732" name="Freeform 447"/>
              <p:cNvSpPr>
                <a:spLocks noChangeArrowheads="1"/>
              </p:cNvSpPr>
              <p:nvPr/>
            </p:nvSpPr>
            <p:spPr bwMode="auto">
              <a:xfrm>
                <a:off x="5291" y="373"/>
                <a:ext cx="13" cy="13"/>
              </a:xfrm>
              <a:custGeom>
                <a:avLst/>
                <a:gdLst>
                  <a:gd name="T0" fmla="*/ 2417 w 9"/>
                  <a:gd name="T1" fmla="*/ 5642 h 9"/>
                  <a:gd name="T2" fmla="*/ 0 w 9"/>
                  <a:gd name="T3" fmla="*/ 3225 h 9"/>
                  <a:gd name="T4" fmla="*/ 0 w 9"/>
                  <a:gd name="T5" fmla="*/ 2417 h 9"/>
                  <a:gd name="T6" fmla="*/ 2417 w 9"/>
                  <a:gd name="T7" fmla="*/ 0 h 9"/>
                  <a:gd name="T8" fmla="*/ 5642 w 9"/>
                  <a:gd name="T9" fmla="*/ 3225 h 9"/>
                  <a:gd name="T10" fmla="*/ 2417 w 9"/>
                  <a:gd name="T11" fmla="*/ 5642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5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733" name="Oval 448"/>
              <p:cNvSpPr>
                <a:spLocks noChangeArrowheads="1"/>
              </p:cNvSpPr>
              <p:nvPr/>
            </p:nvSpPr>
            <p:spPr bwMode="auto">
              <a:xfrm>
                <a:off x="5229" y="387"/>
                <a:ext cx="13" cy="12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US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734" name="Freeform 449"/>
              <p:cNvSpPr>
                <a:spLocks noChangeArrowheads="1"/>
              </p:cNvSpPr>
              <p:nvPr/>
            </p:nvSpPr>
            <p:spPr bwMode="auto">
              <a:xfrm>
                <a:off x="5085" y="373"/>
                <a:ext cx="13" cy="13"/>
              </a:xfrm>
              <a:custGeom>
                <a:avLst/>
                <a:gdLst>
                  <a:gd name="T0" fmla="*/ 2417 w 9"/>
                  <a:gd name="T1" fmla="*/ 5642 h 9"/>
                  <a:gd name="T2" fmla="*/ 0 w 9"/>
                  <a:gd name="T3" fmla="*/ 3225 h 9"/>
                  <a:gd name="T4" fmla="*/ 0 w 9"/>
                  <a:gd name="T5" fmla="*/ 2417 h 9"/>
                  <a:gd name="T6" fmla="*/ 2417 w 9"/>
                  <a:gd name="T7" fmla="*/ 0 h 9"/>
                  <a:gd name="T8" fmla="*/ 5642 w 9"/>
                  <a:gd name="T9" fmla="*/ 3225 h 9"/>
                  <a:gd name="T10" fmla="*/ 2417 w 9"/>
                  <a:gd name="T11" fmla="*/ 5642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5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735" name="Freeform 450"/>
              <p:cNvSpPr>
                <a:spLocks noChangeArrowheads="1"/>
              </p:cNvSpPr>
              <p:nvPr/>
            </p:nvSpPr>
            <p:spPr bwMode="auto">
              <a:xfrm>
                <a:off x="5354" y="387"/>
                <a:ext cx="13" cy="12"/>
              </a:xfrm>
              <a:custGeom>
                <a:avLst/>
                <a:gdLst>
                  <a:gd name="T0" fmla="*/ 2417 w 9"/>
                  <a:gd name="T1" fmla="*/ 3489 h 9"/>
                  <a:gd name="T2" fmla="*/ 0 w 9"/>
                  <a:gd name="T3" fmla="*/ 1993 h 9"/>
                  <a:gd name="T4" fmla="*/ 0 w 9"/>
                  <a:gd name="T5" fmla="*/ 1495 h 9"/>
                  <a:gd name="T6" fmla="*/ 2417 w 9"/>
                  <a:gd name="T7" fmla="*/ 0 h 9"/>
                  <a:gd name="T8" fmla="*/ 5642 w 9"/>
                  <a:gd name="T9" fmla="*/ 1495 h 9"/>
                  <a:gd name="T10" fmla="*/ 2417 w 9"/>
                  <a:gd name="T11" fmla="*/ 3489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736" name="Freeform 451"/>
              <p:cNvSpPr>
                <a:spLocks noChangeArrowheads="1"/>
              </p:cNvSpPr>
              <p:nvPr/>
            </p:nvSpPr>
            <p:spPr bwMode="auto">
              <a:xfrm>
                <a:off x="5270" y="387"/>
                <a:ext cx="12" cy="12"/>
              </a:xfrm>
              <a:custGeom>
                <a:avLst/>
                <a:gdLst>
                  <a:gd name="T0" fmla="*/ 1993 w 9"/>
                  <a:gd name="T1" fmla="*/ 3489 h 9"/>
                  <a:gd name="T2" fmla="*/ 0 w 9"/>
                  <a:gd name="T3" fmla="*/ 1993 h 9"/>
                  <a:gd name="T4" fmla="*/ 0 w 9"/>
                  <a:gd name="T5" fmla="*/ 1495 h 9"/>
                  <a:gd name="T6" fmla="*/ 1993 w 9"/>
                  <a:gd name="T7" fmla="*/ 0 h 9"/>
                  <a:gd name="T8" fmla="*/ 3489 w 9"/>
                  <a:gd name="T9" fmla="*/ 1495 h 9"/>
                  <a:gd name="T10" fmla="*/ 1993 w 9"/>
                  <a:gd name="T11" fmla="*/ 3489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737" name="Freeform 452"/>
              <p:cNvSpPr>
                <a:spLocks noChangeArrowheads="1"/>
              </p:cNvSpPr>
              <p:nvPr/>
            </p:nvSpPr>
            <p:spPr bwMode="auto">
              <a:xfrm>
                <a:off x="5208" y="373"/>
                <a:ext cx="12" cy="13"/>
              </a:xfrm>
              <a:custGeom>
                <a:avLst/>
                <a:gdLst>
                  <a:gd name="T0" fmla="*/ 1993 w 9"/>
                  <a:gd name="T1" fmla="*/ 5642 h 9"/>
                  <a:gd name="T2" fmla="*/ 0 w 9"/>
                  <a:gd name="T3" fmla="*/ 3225 h 9"/>
                  <a:gd name="T4" fmla="*/ 0 w 9"/>
                  <a:gd name="T5" fmla="*/ 2417 h 9"/>
                  <a:gd name="T6" fmla="*/ 1993 w 9"/>
                  <a:gd name="T7" fmla="*/ 0 h 9"/>
                  <a:gd name="T8" fmla="*/ 3489 w 9"/>
                  <a:gd name="T9" fmla="*/ 3225 h 9"/>
                  <a:gd name="T10" fmla="*/ 1993 w 9"/>
                  <a:gd name="T11" fmla="*/ 5642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5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738" name="Freeform 453"/>
              <p:cNvSpPr>
                <a:spLocks noChangeArrowheads="1"/>
              </p:cNvSpPr>
              <p:nvPr/>
            </p:nvSpPr>
            <p:spPr bwMode="auto">
              <a:xfrm>
                <a:off x="5476" y="408"/>
                <a:ext cx="12" cy="13"/>
              </a:xfrm>
              <a:custGeom>
                <a:avLst/>
                <a:gdLst>
                  <a:gd name="T0" fmla="*/ 1495 w 9"/>
                  <a:gd name="T1" fmla="*/ 7173 h 9"/>
                  <a:gd name="T2" fmla="*/ 0 w 9"/>
                  <a:gd name="T3" fmla="*/ 3194 h 9"/>
                  <a:gd name="T4" fmla="*/ 0 w 9"/>
                  <a:gd name="T5" fmla="*/ 3194 h 9"/>
                  <a:gd name="T6" fmla="*/ 1495 w 9"/>
                  <a:gd name="T7" fmla="*/ 0 h 9"/>
                  <a:gd name="T8" fmla="*/ 3489 w 9"/>
                  <a:gd name="T9" fmla="*/ 3194 h 9"/>
                  <a:gd name="T10" fmla="*/ 1495 w 9"/>
                  <a:gd name="T11" fmla="*/ 7173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2" y="9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739" name="Freeform 454"/>
              <p:cNvSpPr>
                <a:spLocks noChangeArrowheads="1"/>
              </p:cNvSpPr>
              <p:nvPr/>
            </p:nvSpPr>
            <p:spPr bwMode="auto">
              <a:xfrm>
                <a:off x="5435" y="408"/>
                <a:ext cx="11" cy="13"/>
              </a:xfrm>
              <a:custGeom>
                <a:avLst/>
                <a:gdLst>
                  <a:gd name="T0" fmla="*/ 2164 w 8"/>
                  <a:gd name="T1" fmla="*/ 7173 h 9"/>
                  <a:gd name="T2" fmla="*/ 0 w 8"/>
                  <a:gd name="T3" fmla="*/ 3194 h 9"/>
                  <a:gd name="T4" fmla="*/ 0 w 8"/>
                  <a:gd name="T5" fmla="*/ 3194 h 9"/>
                  <a:gd name="T6" fmla="*/ 2164 w 8"/>
                  <a:gd name="T7" fmla="*/ 0 h 9"/>
                  <a:gd name="T8" fmla="*/ 4077 w 8"/>
                  <a:gd name="T9" fmla="*/ 3194 h 9"/>
                  <a:gd name="T10" fmla="*/ 2164 w 8"/>
                  <a:gd name="T11" fmla="*/ 7173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2" y="9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740" name="Freeform 455"/>
              <p:cNvSpPr>
                <a:spLocks noChangeArrowheads="1"/>
              </p:cNvSpPr>
              <p:nvPr/>
            </p:nvSpPr>
            <p:spPr bwMode="auto">
              <a:xfrm>
                <a:off x="5415" y="394"/>
                <a:ext cx="13" cy="13"/>
              </a:xfrm>
              <a:custGeom>
                <a:avLst/>
                <a:gdLst>
                  <a:gd name="T0" fmla="*/ 3225 w 9"/>
                  <a:gd name="T1" fmla="*/ 5642 h 9"/>
                  <a:gd name="T2" fmla="*/ 2417 w 9"/>
                  <a:gd name="T3" fmla="*/ 5642 h 9"/>
                  <a:gd name="T4" fmla="*/ 0 w 9"/>
                  <a:gd name="T5" fmla="*/ 3225 h 9"/>
                  <a:gd name="T6" fmla="*/ 0 w 9"/>
                  <a:gd name="T7" fmla="*/ 2417 h 9"/>
                  <a:gd name="T8" fmla="*/ 2417 w 9"/>
                  <a:gd name="T9" fmla="*/ 0 h 9"/>
                  <a:gd name="T10" fmla="*/ 5642 w 9"/>
                  <a:gd name="T11" fmla="*/ 2417 h 9"/>
                  <a:gd name="T12" fmla="*/ 3225 w 9"/>
                  <a:gd name="T13" fmla="*/ 5642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4" y="9"/>
                      <a:pt x="4" y="9"/>
                      <a:pt x="4" y="9"/>
                    </a:cubicBez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741" name="Freeform 456"/>
              <p:cNvSpPr>
                <a:spLocks noChangeArrowheads="1"/>
              </p:cNvSpPr>
              <p:nvPr/>
            </p:nvSpPr>
            <p:spPr bwMode="auto">
              <a:xfrm>
                <a:off x="5331" y="394"/>
                <a:ext cx="13" cy="13"/>
              </a:xfrm>
              <a:custGeom>
                <a:avLst/>
                <a:gdLst>
                  <a:gd name="T0" fmla="*/ 3860 w 9"/>
                  <a:gd name="T1" fmla="*/ 5642 h 9"/>
                  <a:gd name="T2" fmla="*/ 3860 w 9"/>
                  <a:gd name="T3" fmla="*/ 5642 h 9"/>
                  <a:gd name="T4" fmla="*/ 0 w 9"/>
                  <a:gd name="T5" fmla="*/ 3225 h 9"/>
                  <a:gd name="T6" fmla="*/ 0 w 9"/>
                  <a:gd name="T7" fmla="*/ 2417 h 9"/>
                  <a:gd name="T8" fmla="*/ 3860 w 9"/>
                  <a:gd name="T9" fmla="*/ 0 h 9"/>
                  <a:gd name="T10" fmla="*/ 7173 w 9"/>
                  <a:gd name="T11" fmla="*/ 2417 h 9"/>
                  <a:gd name="T12" fmla="*/ 3860 w 9"/>
                  <a:gd name="T13" fmla="*/ 5642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742" name="Freeform 457"/>
              <p:cNvSpPr>
                <a:spLocks noChangeArrowheads="1"/>
              </p:cNvSpPr>
              <p:nvPr/>
            </p:nvSpPr>
            <p:spPr bwMode="auto">
              <a:xfrm>
                <a:off x="5188" y="408"/>
                <a:ext cx="11" cy="13"/>
              </a:xfrm>
              <a:custGeom>
                <a:avLst/>
                <a:gdLst>
                  <a:gd name="T0" fmla="*/ 2164 w 8"/>
                  <a:gd name="T1" fmla="*/ 7173 h 9"/>
                  <a:gd name="T2" fmla="*/ 0 w 8"/>
                  <a:gd name="T3" fmla="*/ 3194 h 9"/>
                  <a:gd name="T4" fmla="*/ 0 w 8"/>
                  <a:gd name="T5" fmla="*/ 3194 h 9"/>
                  <a:gd name="T6" fmla="*/ 2164 w 8"/>
                  <a:gd name="T7" fmla="*/ 0 h 9"/>
                  <a:gd name="T8" fmla="*/ 4077 w 8"/>
                  <a:gd name="T9" fmla="*/ 3194 h 9"/>
                  <a:gd name="T10" fmla="*/ 2164 w 8"/>
                  <a:gd name="T11" fmla="*/ 7173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1" y="9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1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743" name="Oval 458"/>
              <p:cNvSpPr>
                <a:spLocks noChangeArrowheads="1"/>
              </p:cNvSpPr>
              <p:nvPr/>
            </p:nvSpPr>
            <p:spPr bwMode="auto">
              <a:xfrm>
                <a:off x="5601" y="408"/>
                <a:ext cx="12" cy="13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US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744" name="Freeform 459"/>
              <p:cNvSpPr>
                <a:spLocks noChangeArrowheads="1"/>
              </p:cNvSpPr>
              <p:nvPr/>
            </p:nvSpPr>
            <p:spPr bwMode="auto">
              <a:xfrm>
                <a:off x="5581" y="394"/>
                <a:ext cx="10" cy="13"/>
              </a:xfrm>
              <a:custGeom>
                <a:avLst/>
                <a:gdLst>
                  <a:gd name="T0" fmla="*/ 868 w 8"/>
                  <a:gd name="T1" fmla="*/ 5642 h 9"/>
                  <a:gd name="T2" fmla="*/ 868 w 8"/>
                  <a:gd name="T3" fmla="*/ 5642 h 9"/>
                  <a:gd name="T4" fmla="*/ 0 w 8"/>
                  <a:gd name="T5" fmla="*/ 3225 h 9"/>
                  <a:gd name="T6" fmla="*/ 0 w 8"/>
                  <a:gd name="T7" fmla="*/ 2417 h 9"/>
                  <a:gd name="T8" fmla="*/ 868 w 8"/>
                  <a:gd name="T9" fmla="*/ 0 h 9"/>
                  <a:gd name="T10" fmla="*/ 1780 w 8"/>
                  <a:gd name="T11" fmla="*/ 2417 h 9"/>
                  <a:gd name="T12" fmla="*/ 868 w 8"/>
                  <a:gd name="T13" fmla="*/ 5642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4" y="9"/>
                      <a:pt x="4" y="9"/>
                      <a:pt x="4" y="9"/>
                    </a:cubicBez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745" name="Freeform 460"/>
              <p:cNvSpPr>
                <a:spLocks noChangeArrowheads="1"/>
              </p:cNvSpPr>
              <p:nvPr/>
            </p:nvSpPr>
            <p:spPr bwMode="auto">
              <a:xfrm>
                <a:off x="5559" y="408"/>
                <a:ext cx="13" cy="13"/>
              </a:xfrm>
              <a:custGeom>
                <a:avLst/>
                <a:gdLst>
                  <a:gd name="T0" fmla="*/ 3194 w 9"/>
                  <a:gd name="T1" fmla="*/ 7173 h 9"/>
                  <a:gd name="T2" fmla="*/ 0 w 9"/>
                  <a:gd name="T3" fmla="*/ 3194 h 9"/>
                  <a:gd name="T4" fmla="*/ 0 w 9"/>
                  <a:gd name="T5" fmla="*/ 3194 h 9"/>
                  <a:gd name="T6" fmla="*/ 3194 w 9"/>
                  <a:gd name="T7" fmla="*/ 0 h 9"/>
                  <a:gd name="T8" fmla="*/ 7173 w 9"/>
                  <a:gd name="T9" fmla="*/ 3194 h 9"/>
                  <a:gd name="T10" fmla="*/ 3194 w 9"/>
                  <a:gd name="T11" fmla="*/ 7173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2" y="9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746" name="Freeform 461"/>
              <p:cNvSpPr>
                <a:spLocks noChangeArrowheads="1"/>
              </p:cNvSpPr>
              <p:nvPr/>
            </p:nvSpPr>
            <p:spPr bwMode="auto">
              <a:xfrm>
                <a:off x="5538" y="394"/>
                <a:ext cx="12" cy="13"/>
              </a:xfrm>
              <a:custGeom>
                <a:avLst/>
                <a:gdLst>
                  <a:gd name="T0" fmla="*/ 1993 w 9"/>
                  <a:gd name="T1" fmla="*/ 5642 h 9"/>
                  <a:gd name="T2" fmla="*/ 1495 w 9"/>
                  <a:gd name="T3" fmla="*/ 5642 h 9"/>
                  <a:gd name="T4" fmla="*/ 0 w 9"/>
                  <a:gd name="T5" fmla="*/ 3225 h 9"/>
                  <a:gd name="T6" fmla="*/ 0 w 9"/>
                  <a:gd name="T7" fmla="*/ 2417 h 9"/>
                  <a:gd name="T8" fmla="*/ 1993 w 9"/>
                  <a:gd name="T9" fmla="*/ 0 h 9"/>
                  <a:gd name="T10" fmla="*/ 3489 w 9"/>
                  <a:gd name="T11" fmla="*/ 2417 h 9"/>
                  <a:gd name="T12" fmla="*/ 1993 w 9"/>
                  <a:gd name="T13" fmla="*/ 5642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4" y="9"/>
                      <a:pt x="4" y="9"/>
                      <a:pt x="4" y="9"/>
                    </a:cubicBez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747" name="Freeform 462"/>
              <p:cNvSpPr>
                <a:spLocks noChangeArrowheads="1"/>
              </p:cNvSpPr>
              <p:nvPr/>
            </p:nvSpPr>
            <p:spPr bwMode="auto">
              <a:xfrm>
                <a:off x="5518" y="408"/>
                <a:ext cx="11" cy="13"/>
              </a:xfrm>
              <a:custGeom>
                <a:avLst/>
                <a:gdLst>
                  <a:gd name="T0" fmla="*/ 2164 w 8"/>
                  <a:gd name="T1" fmla="*/ 7173 h 9"/>
                  <a:gd name="T2" fmla="*/ 0 w 8"/>
                  <a:gd name="T3" fmla="*/ 3194 h 9"/>
                  <a:gd name="T4" fmla="*/ 0 w 8"/>
                  <a:gd name="T5" fmla="*/ 3194 h 9"/>
                  <a:gd name="T6" fmla="*/ 2164 w 8"/>
                  <a:gd name="T7" fmla="*/ 0 h 9"/>
                  <a:gd name="T8" fmla="*/ 4077 w 8"/>
                  <a:gd name="T9" fmla="*/ 3194 h 9"/>
                  <a:gd name="T10" fmla="*/ 2164 w 8"/>
                  <a:gd name="T11" fmla="*/ 7173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2" y="9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748" name="Freeform 463"/>
              <p:cNvSpPr>
                <a:spLocks noChangeArrowheads="1"/>
              </p:cNvSpPr>
              <p:nvPr/>
            </p:nvSpPr>
            <p:spPr bwMode="auto">
              <a:xfrm>
                <a:off x="5498" y="394"/>
                <a:ext cx="12" cy="13"/>
              </a:xfrm>
              <a:custGeom>
                <a:avLst/>
                <a:gdLst>
                  <a:gd name="T0" fmla="*/ 1495 w 9"/>
                  <a:gd name="T1" fmla="*/ 5642 h 9"/>
                  <a:gd name="T2" fmla="*/ 1495 w 9"/>
                  <a:gd name="T3" fmla="*/ 5642 h 9"/>
                  <a:gd name="T4" fmla="*/ 0 w 9"/>
                  <a:gd name="T5" fmla="*/ 3225 h 9"/>
                  <a:gd name="T6" fmla="*/ 0 w 9"/>
                  <a:gd name="T7" fmla="*/ 2417 h 9"/>
                  <a:gd name="T8" fmla="*/ 1495 w 9"/>
                  <a:gd name="T9" fmla="*/ 0 h 9"/>
                  <a:gd name="T10" fmla="*/ 3489 w 9"/>
                  <a:gd name="T11" fmla="*/ 2417 h 9"/>
                  <a:gd name="T12" fmla="*/ 1495 w 9"/>
                  <a:gd name="T13" fmla="*/ 5642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4" y="9"/>
                      <a:pt x="4" y="9"/>
                      <a:pt x="4" y="9"/>
                    </a:cubicBez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749" name="Freeform 464"/>
              <p:cNvSpPr>
                <a:spLocks noChangeArrowheads="1"/>
              </p:cNvSpPr>
              <p:nvPr/>
            </p:nvSpPr>
            <p:spPr bwMode="auto">
              <a:xfrm>
                <a:off x="5455" y="394"/>
                <a:ext cx="13" cy="13"/>
              </a:xfrm>
              <a:custGeom>
                <a:avLst/>
                <a:gdLst>
                  <a:gd name="T0" fmla="*/ 3225 w 9"/>
                  <a:gd name="T1" fmla="*/ 5642 h 9"/>
                  <a:gd name="T2" fmla="*/ 3225 w 9"/>
                  <a:gd name="T3" fmla="*/ 5642 h 9"/>
                  <a:gd name="T4" fmla="*/ 0 w 9"/>
                  <a:gd name="T5" fmla="*/ 2417 h 9"/>
                  <a:gd name="T6" fmla="*/ 3225 w 9"/>
                  <a:gd name="T7" fmla="*/ 0 h 9"/>
                  <a:gd name="T8" fmla="*/ 5642 w 9"/>
                  <a:gd name="T9" fmla="*/ 2417 h 9"/>
                  <a:gd name="T10" fmla="*/ 3225 w 9"/>
                  <a:gd name="T11" fmla="*/ 5642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2" y="9"/>
                      <a:pt x="0" y="7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750" name="Freeform 465"/>
              <p:cNvSpPr>
                <a:spLocks noChangeArrowheads="1"/>
              </p:cNvSpPr>
              <p:nvPr/>
            </p:nvSpPr>
            <p:spPr bwMode="auto">
              <a:xfrm>
                <a:off x="5744" y="394"/>
                <a:ext cx="13" cy="13"/>
              </a:xfrm>
              <a:custGeom>
                <a:avLst/>
                <a:gdLst>
                  <a:gd name="T0" fmla="*/ 3860 w 9"/>
                  <a:gd name="T1" fmla="*/ 5642 h 9"/>
                  <a:gd name="T2" fmla="*/ 3194 w 9"/>
                  <a:gd name="T3" fmla="*/ 5642 h 9"/>
                  <a:gd name="T4" fmla="*/ 0 w 9"/>
                  <a:gd name="T5" fmla="*/ 2417 h 9"/>
                  <a:gd name="T6" fmla="*/ 3194 w 9"/>
                  <a:gd name="T7" fmla="*/ 0 h 9"/>
                  <a:gd name="T8" fmla="*/ 7173 w 9"/>
                  <a:gd name="T9" fmla="*/ 2417 h 9"/>
                  <a:gd name="T10" fmla="*/ 3860 w 9"/>
                  <a:gd name="T11" fmla="*/ 5642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4" y="9"/>
                      <a:pt x="4" y="9"/>
                      <a:pt x="4" y="9"/>
                    </a:cubicBezTo>
                    <a:cubicBezTo>
                      <a:pt x="2" y="9"/>
                      <a:pt x="0" y="7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751" name="Freeform 466"/>
              <p:cNvSpPr>
                <a:spLocks noChangeArrowheads="1"/>
              </p:cNvSpPr>
              <p:nvPr/>
            </p:nvSpPr>
            <p:spPr bwMode="auto">
              <a:xfrm>
                <a:off x="5723" y="408"/>
                <a:ext cx="13" cy="13"/>
              </a:xfrm>
              <a:custGeom>
                <a:avLst/>
                <a:gdLst>
                  <a:gd name="T0" fmla="*/ 3225 w 9"/>
                  <a:gd name="T1" fmla="*/ 7173 h 9"/>
                  <a:gd name="T2" fmla="*/ 0 w 9"/>
                  <a:gd name="T3" fmla="*/ 3194 h 9"/>
                  <a:gd name="T4" fmla="*/ 0 w 9"/>
                  <a:gd name="T5" fmla="*/ 3194 h 9"/>
                  <a:gd name="T6" fmla="*/ 3225 w 9"/>
                  <a:gd name="T7" fmla="*/ 0 h 9"/>
                  <a:gd name="T8" fmla="*/ 5642 w 9"/>
                  <a:gd name="T9" fmla="*/ 3194 h 9"/>
                  <a:gd name="T10" fmla="*/ 3225 w 9"/>
                  <a:gd name="T11" fmla="*/ 7173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2" y="9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752" name="Freeform 467"/>
              <p:cNvSpPr>
                <a:spLocks noChangeArrowheads="1"/>
              </p:cNvSpPr>
              <p:nvPr/>
            </p:nvSpPr>
            <p:spPr bwMode="auto">
              <a:xfrm>
                <a:off x="5704" y="394"/>
                <a:ext cx="11" cy="13"/>
              </a:xfrm>
              <a:custGeom>
                <a:avLst/>
                <a:gdLst>
                  <a:gd name="T0" fmla="*/ 2164 w 8"/>
                  <a:gd name="T1" fmla="*/ 5642 h 9"/>
                  <a:gd name="T2" fmla="*/ 2164 w 8"/>
                  <a:gd name="T3" fmla="*/ 5642 h 9"/>
                  <a:gd name="T4" fmla="*/ 0 w 8"/>
                  <a:gd name="T5" fmla="*/ 3225 h 9"/>
                  <a:gd name="T6" fmla="*/ 0 w 8"/>
                  <a:gd name="T7" fmla="*/ 2417 h 9"/>
                  <a:gd name="T8" fmla="*/ 2164 w 8"/>
                  <a:gd name="T9" fmla="*/ 0 h 9"/>
                  <a:gd name="T10" fmla="*/ 4077 w 8"/>
                  <a:gd name="T11" fmla="*/ 2417 h 9"/>
                  <a:gd name="T12" fmla="*/ 2164 w 8"/>
                  <a:gd name="T13" fmla="*/ 5642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4" y="9"/>
                      <a:pt x="4" y="9"/>
                      <a:pt x="4" y="9"/>
                    </a:cubicBez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753" name="Oval 468"/>
              <p:cNvSpPr>
                <a:spLocks noChangeArrowheads="1"/>
              </p:cNvSpPr>
              <p:nvPr/>
            </p:nvSpPr>
            <p:spPr bwMode="auto">
              <a:xfrm>
                <a:off x="5683" y="408"/>
                <a:ext cx="13" cy="13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US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754" name="Freeform 469"/>
              <p:cNvSpPr>
                <a:spLocks noChangeArrowheads="1"/>
              </p:cNvSpPr>
              <p:nvPr/>
            </p:nvSpPr>
            <p:spPr bwMode="auto">
              <a:xfrm>
                <a:off x="5662" y="394"/>
                <a:ext cx="13" cy="13"/>
              </a:xfrm>
              <a:custGeom>
                <a:avLst/>
                <a:gdLst>
                  <a:gd name="T0" fmla="*/ 3860 w 9"/>
                  <a:gd name="T1" fmla="*/ 5642 h 9"/>
                  <a:gd name="T2" fmla="*/ 3860 w 9"/>
                  <a:gd name="T3" fmla="*/ 5642 h 9"/>
                  <a:gd name="T4" fmla="*/ 0 w 9"/>
                  <a:gd name="T5" fmla="*/ 3225 h 9"/>
                  <a:gd name="T6" fmla="*/ 0 w 9"/>
                  <a:gd name="T7" fmla="*/ 2417 h 9"/>
                  <a:gd name="T8" fmla="*/ 3860 w 9"/>
                  <a:gd name="T9" fmla="*/ 0 h 9"/>
                  <a:gd name="T10" fmla="*/ 7173 w 9"/>
                  <a:gd name="T11" fmla="*/ 2417 h 9"/>
                  <a:gd name="T12" fmla="*/ 3860 w 9"/>
                  <a:gd name="T13" fmla="*/ 5642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755" name="Freeform 470"/>
              <p:cNvSpPr>
                <a:spLocks noChangeArrowheads="1"/>
              </p:cNvSpPr>
              <p:nvPr/>
            </p:nvSpPr>
            <p:spPr bwMode="auto">
              <a:xfrm>
                <a:off x="5642" y="408"/>
                <a:ext cx="11" cy="13"/>
              </a:xfrm>
              <a:custGeom>
                <a:avLst/>
                <a:gdLst>
                  <a:gd name="T0" fmla="*/ 2164 w 8"/>
                  <a:gd name="T1" fmla="*/ 7173 h 9"/>
                  <a:gd name="T2" fmla="*/ 0 w 8"/>
                  <a:gd name="T3" fmla="*/ 3194 h 9"/>
                  <a:gd name="T4" fmla="*/ 0 w 8"/>
                  <a:gd name="T5" fmla="*/ 3194 h 9"/>
                  <a:gd name="T6" fmla="*/ 2164 w 8"/>
                  <a:gd name="T7" fmla="*/ 0 h 9"/>
                  <a:gd name="T8" fmla="*/ 4077 w 8"/>
                  <a:gd name="T9" fmla="*/ 3194 h 9"/>
                  <a:gd name="T10" fmla="*/ 4077 w 8"/>
                  <a:gd name="T11" fmla="*/ 3194 h 9"/>
                  <a:gd name="T12" fmla="*/ 2164 w 8"/>
                  <a:gd name="T13" fmla="*/ 7173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2" y="9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756" name="Freeform 471"/>
              <p:cNvSpPr>
                <a:spLocks noChangeArrowheads="1"/>
              </p:cNvSpPr>
              <p:nvPr/>
            </p:nvSpPr>
            <p:spPr bwMode="auto">
              <a:xfrm>
                <a:off x="5621" y="394"/>
                <a:ext cx="13" cy="13"/>
              </a:xfrm>
              <a:custGeom>
                <a:avLst/>
                <a:gdLst>
                  <a:gd name="T0" fmla="*/ 2417 w 9"/>
                  <a:gd name="T1" fmla="*/ 5642 h 9"/>
                  <a:gd name="T2" fmla="*/ 2417 w 9"/>
                  <a:gd name="T3" fmla="*/ 5642 h 9"/>
                  <a:gd name="T4" fmla="*/ 0 w 9"/>
                  <a:gd name="T5" fmla="*/ 2417 h 9"/>
                  <a:gd name="T6" fmla="*/ 2417 w 9"/>
                  <a:gd name="T7" fmla="*/ 0 h 9"/>
                  <a:gd name="T8" fmla="*/ 5642 w 9"/>
                  <a:gd name="T9" fmla="*/ 2417 h 9"/>
                  <a:gd name="T10" fmla="*/ 2417 w 9"/>
                  <a:gd name="T11" fmla="*/ 5642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4" y="9"/>
                      <a:pt x="4" y="9"/>
                      <a:pt x="4" y="9"/>
                    </a:cubicBezTo>
                    <a:cubicBezTo>
                      <a:pt x="2" y="9"/>
                      <a:pt x="0" y="7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757" name="Freeform 472"/>
              <p:cNvSpPr>
                <a:spLocks noChangeArrowheads="1"/>
              </p:cNvSpPr>
              <p:nvPr/>
            </p:nvSpPr>
            <p:spPr bwMode="auto">
              <a:xfrm>
                <a:off x="5393" y="408"/>
                <a:ext cx="13" cy="13"/>
              </a:xfrm>
              <a:custGeom>
                <a:avLst/>
                <a:gdLst>
                  <a:gd name="T0" fmla="*/ 3225 w 9"/>
                  <a:gd name="T1" fmla="*/ 7173 h 9"/>
                  <a:gd name="T2" fmla="*/ 0 w 9"/>
                  <a:gd name="T3" fmla="*/ 3194 h 9"/>
                  <a:gd name="T4" fmla="*/ 0 w 9"/>
                  <a:gd name="T5" fmla="*/ 3194 h 9"/>
                  <a:gd name="T6" fmla="*/ 3225 w 9"/>
                  <a:gd name="T7" fmla="*/ 0 h 9"/>
                  <a:gd name="T8" fmla="*/ 5642 w 9"/>
                  <a:gd name="T9" fmla="*/ 3194 h 9"/>
                  <a:gd name="T10" fmla="*/ 3225 w 9"/>
                  <a:gd name="T11" fmla="*/ 7173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2" y="9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758" name="Freeform 473"/>
              <p:cNvSpPr>
                <a:spLocks noChangeArrowheads="1"/>
              </p:cNvSpPr>
              <p:nvPr/>
            </p:nvSpPr>
            <p:spPr bwMode="auto">
              <a:xfrm>
                <a:off x="5312" y="408"/>
                <a:ext cx="11" cy="13"/>
              </a:xfrm>
              <a:custGeom>
                <a:avLst/>
                <a:gdLst>
                  <a:gd name="T0" fmla="*/ 2164 w 8"/>
                  <a:gd name="T1" fmla="*/ 7173 h 9"/>
                  <a:gd name="T2" fmla="*/ 0 w 8"/>
                  <a:gd name="T3" fmla="*/ 3194 h 9"/>
                  <a:gd name="T4" fmla="*/ 0 w 8"/>
                  <a:gd name="T5" fmla="*/ 3194 h 9"/>
                  <a:gd name="T6" fmla="*/ 2164 w 8"/>
                  <a:gd name="T7" fmla="*/ 0 h 9"/>
                  <a:gd name="T8" fmla="*/ 4077 w 8"/>
                  <a:gd name="T9" fmla="*/ 3194 h 9"/>
                  <a:gd name="T10" fmla="*/ 2164 w 8"/>
                  <a:gd name="T11" fmla="*/ 7173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2" y="9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759" name="Freeform 474"/>
              <p:cNvSpPr>
                <a:spLocks noChangeArrowheads="1"/>
              </p:cNvSpPr>
              <p:nvPr/>
            </p:nvSpPr>
            <p:spPr bwMode="auto">
              <a:xfrm>
                <a:off x="5250" y="394"/>
                <a:ext cx="11" cy="13"/>
              </a:xfrm>
              <a:custGeom>
                <a:avLst/>
                <a:gdLst>
                  <a:gd name="T0" fmla="*/ 2164 w 8"/>
                  <a:gd name="T1" fmla="*/ 5642 h 9"/>
                  <a:gd name="T2" fmla="*/ 2164 w 8"/>
                  <a:gd name="T3" fmla="*/ 5642 h 9"/>
                  <a:gd name="T4" fmla="*/ 0 w 8"/>
                  <a:gd name="T5" fmla="*/ 3225 h 9"/>
                  <a:gd name="T6" fmla="*/ 0 w 8"/>
                  <a:gd name="T7" fmla="*/ 2417 h 9"/>
                  <a:gd name="T8" fmla="*/ 2164 w 8"/>
                  <a:gd name="T9" fmla="*/ 0 h 9"/>
                  <a:gd name="T10" fmla="*/ 4077 w 8"/>
                  <a:gd name="T11" fmla="*/ 2417 h 9"/>
                  <a:gd name="T12" fmla="*/ 2164 w 8"/>
                  <a:gd name="T13" fmla="*/ 5642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4" y="9"/>
                      <a:pt x="4" y="9"/>
                      <a:pt x="4" y="9"/>
                    </a:cubicBezTo>
                    <a:cubicBezTo>
                      <a:pt x="1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760" name="Freeform 475"/>
              <p:cNvSpPr>
                <a:spLocks noChangeArrowheads="1"/>
              </p:cNvSpPr>
              <p:nvPr/>
            </p:nvSpPr>
            <p:spPr bwMode="auto">
              <a:xfrm>
                <a:off x="5168" y="394"/>
                <a:ext cx="11" cy="13"/>
              </a:xfrm>
              <a:custGeom>
                <a:avLst/>
                <a:gdLst>
                  <a:gd name="T0" fmla="*/ 2164 w 8"/>
                  <a:gd name="T1" fmla="*/ 5642 h 9"/>
                  <a:gd name="T2" fmla="*/ 2164 w 8"/>
                  <a:gd name="T3" fmla="*/ 5642 h 9"/>
                  <a:gd name="T4" fmla="*/ 0 w 8"/>
                  <a:gd name="T5" fmla="*/ 3225 h 9"/>
                  <a:gd name="T6" fmla="*/ 0 w 8"/>
                  <a:gd name="T7" fmla="*/ 2417 h 9"/>
                  <a:gd name="T8" fmla="*/ 2164 w 8"/>
                  <a:gd name="T9" fmla="*/ 0 h 9"/>
                  <a:gd name="T10" fmla="*/ 4077 w 8"/>
                  <a:gd name="T11" fmla="*/ 2417 h 9"/>
                  <a:gd name="T12" fmla="*/ 2164 w 8"/>
                  <a:gd name="T13" fmla="*/ 5642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4" y="9"/>
                      <a:pt x="4" y="9"/>
                      <a:pt x="4" y="9"/>
                    </a:cubicBez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8" y="2"/>
                      <a:pt x="8" y="4"/>
                    </a:cubicBezTo>
                    <a:cubicBezTo>
                      <a:pt x="8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761" name="Freeform 476"/>
              <p:cNvSpPr>
                <a:spLocks noChangeArrowheads="1"/>
              </p:cNvSpPr>
              <p:nvPr/>
            </p:nvSpPr>
            <p:spPr bwMode="auto">
              <a:xfrm>
                <a:off x="5373" y="394"/>
                <a:ext cx="11" cy="13"/>
              </a:xfrm>
              <a:custGeom>
                <a:avLst/>
                <a:gdLst>
                  <a:gd name="T0" fmla="*/ 2164 w 8"/>
                  <a:gd name="T1" fmla="*/ 5642 h 9"/>
                  <a:gd name="T2" fmla="*/ 2164 w 8"/>
                  <a:gd name="T3" fmla="*/ 5642 h 9"/>
                  <a:gd name="T4" fmla="*/ 0 w 8"/>
                  <a:gd name="T5" fmla="*/ 3225 h 9"/>
                  <a:gd name="T6" fmla="*/ 0 w 8"/>
                  <a:gd name="T7" fmla="*/ 2417 h 9"/>
                  <a:gd name="T8" fmla="*/ 2164 w 8"/>
                  <a:gd name="T9" fmla="*/ 0 h 9"/>
                  <a:gd name="T10" fmla="*/ 4077 w 8"/>
                  <a:gd name="T11" fmla="*/ 2417 h 9"/>
                  <a:gd name="T12" fmla="*/ 2164 w 8"/>
                  <a:gd name="T13" fmla="*/ 5642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4" y="9"/>
                      <a:pt x="4" y="9"/>
                      <a:pt x="4" y="9"/>
                    </a:cubicBez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762" name="Freeform 477"/>
              <p:cNvSpPr>
                <a:spLocks noChangeArrowheads="1"/>
              </p:cNvSpPr>
              <p:nvPr/>
            </p:nvSpPr>
            <p:spPr bwMode="auto">
              <a:xfrm>
                <a:off x="5291" y="394"/>
                <a:ext cx="13" cy="13"/>
              </a:xfrm>
              <a:custGeom>
                <a:avLst/>
                <a:gdLst>
                  <a:gd name="T0" fmla="*/ 2417 w 9"/>
                  <a:gd name="T1" fmla="*/ 5642 h 9"/>
                  <a:gd name="T2" fmla="*/ 2417 w 9"/>
                  <a:gd name="T3" fmla="*/ 5642 h 9"/>
                  <a:gd name="T4" fmla="*/ 0 w 9"/>
                  <a:gd name="T5" fmla="*/ 3225 h 9"/>
                  <a:gd name="T6" fmla="*/ 0 w 9"/>
                  <a:gd name="T7" fmla="*/ 2417 h 9"/>
                  <a:gd name="T8" fmla="*/ 2417 w 9"/>
                  <a:gd name="T9" fmla="*/ 0 h 9"/>
                  <a:gd name="T10" fmla="*/ 5642 w 9"/>
                  <a:gd name="T11" fmla="*/ 2417 h 9"/>
                  <a:gd name="T12" fmla="*/ 2417 w 9"/>
                  <a:gd name="T13" fmla="*/ 5642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4" y="9"/>
                      <a:pt x="4" y="9"/>
                      <a:pt x="4" y="9"/>
                    </a:cubicBez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763" name="Oval 478"/>
              <p:cNvSpPr>
                <a:spLocks noChangeArrowheads="1"/>
              </p:cNvSpPr>
              <p:nvPr/>
            </p:nvSpPr>
            <p:spPr bwMode="auto">
              <a:xfrm>
                <a:off x="5229" y="408"/>
                <a:ext cx="13" cy="13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US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764" name="Freeform 479"/>
              <p:cNvSpPr>
                <a:spLocks noChangeArrowheads="1"/>
              </p:cNvSpPr>
              <p:nvPr/>
            </p:nvSpPr>
            <p:spPr bwMode="auto">
              <a:xfrm>
                <a:off x="5146" y="408"/>
                <a:ext cx="13" cy="13"/>
              </a:xfrm>
              <a:custGeom>
                <a:avLst/>
                <a:gdLst>
                  <a:gd name="T0" fmla="*/ 3194 w 9"/>
                  <a:gd name="T1" fmla="*/ 7173 h 9"/>
                  <a:gd name="T2" fmla="*/ 0 w 9"/>
                  <a:gd name="T3" fmla="*/ 3194 h 9"/>
                  <a:gd name="T4" fmla="*/ 0 w 9"/>
                  <a:gd name="T5" fmla="*/ 3194 h 9"/>
                  <a:gd name="T6" fmla="*/ 3194 w 9"/>
                  <a:gd name="T7" fmla="*/ 0 h 9"/>
                  <a:gd name="T8" fmla="*/ 7173 w 9"/>
                  <a:gd name="T9" fmla="*/ 3194 h 9"/>
                  <a:gd name="T10" fmla="*/ 3194 w 9"/>
                  <a:gd name="T11" fmla="*/ 7173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2" y="9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765" name="Freeform 480"/>
              <p:cNvSpPr>
                <a:spLocks noChangeArrowheads="1"/>
              </p:cNvSpPr>
              <p:nvPr/>
            </p:nvSpPr>
            <p:spPr bwMode="auto">
              <a:xfrm>
                <a:off x="5106" y="408"/>
                <a:ext cx="11" cy="13"/>
              </a:xfrm>
              <a:custGeom>
                <a:avLst/>
                <a:gdLst>
                  <a:gd name="T0" fmla="*/ 2164 w 8"/>
                  <a:gd name="T1" fmla="*/ 7173 h 9"/>
                  <a:gd name="T2" fmla="*/ 0 w 8"/>
                  <a:gd name="T3" fmla="*/ 3194 h 9"/>
                  <a:gd name="T4" fmla="*/ 0 w 8"/>
                  <a:gd name="T5" fmla="*/ 3194 h 9"/>
                  <a:gd name="T6" fmla="*/ 2164 w 8"/>
                  <a:gd name="T7" fmla="*/ 0 h 9"/>
                  <a:gd name="T8" fmla="*/ 4077 w 8"/>
                  <a:gd name="T9" fmla="*/ 3194 h 9"/>
                  <a:gd name="T10" fmla="*/ 2164 w 8"/>
                  <a:gd name="T11" fmla="*/ 7173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2" y="9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766" name="Freeform 481"/>
              <p:cNvSpPr>
                <a:spLocks noChangeArrowheads="1"/>
              </p:cNvSpPr>
              <p:nvPr/>
            </p:nvSpPr>
            <p:spPr bwMode="auto">
              <a:xfrm>
                <a:off x="5354" y="408"/>
                <a:ext cx="13" cy="13"/>
              </a:xfrm>
              <a:custGeom>
                <a:avLst/>
                <a:gdLst>
                  <a:gd name="T0" fmla="*/ 2417 w 9"/>
                  <a:gd name="T1" fmla="*/ 7173 h 9"/>
                  <a:gd name="T2" fmla="*/ 0 w 9"/>
                  <a:gd name="T3" fmla="*/ 3194 h 9"/>
                  <a:gd name="T4" fmla="*/ 0 w 9"/>
                  <a:gd name="T5" fmla="*/ 3194 h 9"/>
                  <a:gd name="T6" fmla="*/ 2417 w 9"/>
                  <a:gd name="T7" fmla="*/ 0 h 9"/>
                  <a:gd name="T8" fmla="*/ 5642 w 9"/>
                  <a:gd name="T9" fmla="*/ 3194 h 9"/>
                  <a:gd name="T10" fmla="*/ 2417 w 9"/>
                  <a:gd name="T11" fmla="*/ 7173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2" y="9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767" name="Freeform 482"/>
              <p:cNvSpPr>
                <a:spLocks noChangeArrowheads="1"/>
              </p:cNvSpPr>
              <p:nvPr/>
            </p:nvSpPr>
            <p:spPr bwMode="auto">
              <a:xfrm>
                <a:off x="5270" y="408"/>
                <a:ext cx="12" cy="13"/>
              </a:xfrm>
              <a:custGeom>
                <a:avLst/>
                <a:gdLst>
                  <a:gd name="T0" fmla="*/ 1993 w 9"/>
                  <a:gd name="T1" fmla="*/ 7173 h 9"/>
                  <a:gd name="T2" fmla="*/ 0 w 9"/>
                  <a:gd name="T3" fmla="*/ 3194 h 9"/>
                  <a:gd name="T4" fmla="*/ 0 w 9"/>
                  <a:gd name="T5" fmla="*/ 3194 h 9"/>
                  <a:gd name="T6" fmla="*/ 1993 w 9"/>
                  <a:gd name="T7" fmla="*/ 0 h 9"/>
                  <a:gd name="T8" fmla="*/ 3489 w 9"/>
                  <a:gd name="T9" fmla="*/ 3194 h 9"/>
                  <a:gd name="T10" fmla="*/ 1993 w 9"/>
                  <a:gd name="T11" fmla="*/ 7173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2" y="9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768" name="Freeform 483"/>
              <p:cNvSpPr>
                <a:spLocks noChangeArrowheads="1"/>
              </p:cNvSpPr>
              <p:nvPr/>
            </p:nvSpPr>
            <p:spPr bwMode="auto">
              <a:xfrm>
                <a:off x="5208" y="394"/>
                <a:ext cx="12" cy="13"/>
              </a:xfrm>
              <a:custGeom>
                <a:avLst/>
                <a:gdLst>
                  <a:gd name="T0" fmla="*/ 1993 w 9"/>
                  <a:gd name="T1" fmla="*/ 5642 h 9"/>
                  <a:gd name="T2" fmla="*/ 1495 w 9"/>
                  <a:gd name="T3" fmla="*/ 5642 h 9"/>
                  <a:gd name="T4" fmla="*/ 0 w 9"/>
                  <a:gd name="T5" fmla="*/ 3225 h 9"/>
                  <a:gd name="T6" fmla="*/ 0 w 9"/>
                  <a:gd name="T7" fmla="*/ 2417 h 9"/>
                  <a:gd name="T8" fmla="*/ 1993 w 9"/>
                  <a:gd name="T9" fmla="*/ 0 h 9"/>
                  <a:gd name="T10" fmla="*/ 3489 w 9"/>
                  <a:gd name="T11" fmla="*/ 2417 h 9"/>
                  <a:gd name="T12" fmla="*/ 1993 w 9"/>
                  <a:gd name="T13" fmla="*/ 5642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4" y="9"/>
                      <a:pt x="4" y="9"/>
                      <a:pt x="4" y="9"/>
                    </a:cubicBez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769" name="Freeform 484"/>
              <p:cNvSpPr>
                <a:spLocks noChangeArrowheads="1"/>
              </p:cNvSpPr>
              <p:nvPr/>
            </p:nvSpPr>
            <p:spPr bwMode="auto">
              <a:xfrm>
                <a:off x="5125" y="394"/>
                <a:ext cx="13" cy="13"/>
              </a:xfrm>
              <a:custGeom>
                <a:avLst/>
                <a:gdLst>
                  <a:gd name="T0" fmla="*/ 3225 w 9"/>
                  <a:gd name="T1" fmla="*/ 5642 h 9"/>
                  <a:gd name="T2" fmla="*/ 3225 w 9"/>
                  <a:gd name="T3" fmla="*/ 5642 h 9"/>
                  <a:gd name="T4" fmla="*/ 0 w 9"/>
                  <a:gd name="T5" fmla="*/ 2417 h 9"/>
                  <a:gd name="T6" fmla="*/ 3225 w 9"/>
                  <a:gd name="T7" fmla="*/ 0 h 9"/>
                  <a:gd name="T8" fmla="*/ 5642 w 9"/>
                  <a:gd name="T9" fmla="*/ 2417 h 9"/>
                  <a:gd name="T10" fmla="*/ 3225 w 9"/>
                  <a:gd name="T11" fmla="*/ 5642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2" y="9"/>
                      <a:pt x="0" y="7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770" name="Freeform 485"/>
              <p:cNvSpPr>
                <a:spLocks noChangeArrowheads="1"/>
              </p:cNvSpPr>
              <p:nvPr/>
            </p:nvSpPr>
            <p:spPr bwMode="auto">
              <a:xfrm>
                <a:off x="5476" y="429"/>
                <a:ext cx="12" cy="11"/>
              </a:xfrm>
              <a:custGeom>
                <a:avLst/>
                <a:gdLst>
                  <a:gd name="T0" fmla="*/ 1495 w 9"/>
                  <a:gd name="T1" fmla="*/ 4077 h 8"/>
                  <a:gd name="T2" fmla="*/ 0 w 9"/>
                  <a:gd name="T3" fmla="*/ 2164 h 8"/>
                  <a:gd name="T4" fmla="*/ 0 w 9"/>
                  <a:gd name="T5" fmla="*/ 2164 h 8"/>
                  <a:gd name="T6" fmla="*/ 1495 w 9"/>
                  <a:gd name="T7" fmla="*/ 0 h 8"/>
                  <a:gd name="T8" fmla="*/ 3489 w 9"/>
                  <a:gd name="T9" fmla="*/ 2164 h 8"/>
                  <a:gd name="T10" fmla="*/ 1495 w 9"/>
                  <a:gd name="T11" fmla="*/ 4077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8">
                    <a:moveTo>
                      <a:pt x="4" y="8"/>
                    </a:moveTo>
                    <a:cubicBezTo>
                      <a:pt x="2" y="8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6"/>
                      <a:pt x="7" y="8"/>
                      <a:pt x="4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771" name="Freeform 486"/>
              <p:cNvSpPr>
                <a:spLocks noChangeArrowheads="1"/>
              </p:cNvSpPr>
              <p:nvPr/>
            </p:nvSpPr>
            <p:spPr bwMode="auto">
              <a:xfrm>
                <a:off x="5435" y="429"/>
                <a:ext cx="11" cy="11"/>
              </a:xfrm>
              <a:custGeom>
                <a:avLst/>
                <a:gdLst>
                  <a:gd name="T0" fmla="*/ 2164 w 8"/>
                  <a:gd name="T1" fmla="*/ 4077 h 8"/>
                  <a:gd name="T2" fmla="*/ 0 w 8"/>
                  <a:gd name="T3" fmla="*/ 2164 h 8"/>
                  <a:gd name="T4" fmla="*/ 0 w 8"/>
                  <a:gd name="T5" fmla="*/ 2164 h 8"/>
                  <a:gd name="T6" fmla="*/ 2164 w 8"/>
                  <a:gd name="T7" fmla="*/ 0 h 8"/>
                  <a:gd name="T8" fmla="*/ 4077 w 8"/>
                  <a:gd name="T9" fmla="*/ 2164 h 8"/>
                  <a:gd name="T10" fmla="*/ 2164 w 8"/>
                  <a:gd name="T11" fmla="*/ 4077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8" h="8">
                    <a:moveTo>
                      <a:pt x="4" y="8"/>
                    </a:moveTo>
                    <a:cubicBezTo>
                      <a:pt x="2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6"/>
                      <a:pt x="6" y="8"/>
                      <a:pt x="4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772" name="Freeform 487"/>
              <p:cNvSpPr>
                <a:spLocks noChangeArrowheads="1"/>
              </p:cNvSpPr>
              <p:nvPr/>
            </p:nvSpPr>
            <p:spPr bwMode="auto">
              <a:xfrm>
                <a:off x="5415" y="415"/>
                <a:ext cx="13" cy="13"/>
              </a:xfrm>
              <a:custGeom>
                <a:avLst/>
                <a:gdLst>
                  <a:gd name="T0" fmla="*/ 2417 w 9"/>
                  <a:gd name="T1" fmla="*/ 5642 h 9"/>
                  <a:gd name="T2" fmla="*/ 0 w 9"/>
                  <a:gd name="T3" fmla="*/ 2417 h 9"/>
                  <a:gd name="T4" fmla="*/ 0 w 9"/>
                  <a:gd name="T5" fmla="*/ 2417 h 9"/>
                  <a:gd name="T6" fmla="*/ 2417 w 9"/>
                  <a:gd name="T7" fmla="*/ 0 h 9"/>
                  <a:gd name="T8" fmla="*/ 3225 w 9"/>
                  <a:gd name="T9" fmla="*/ 0 h 9"/>
                  <a:gd name="T10" fmla="*/ 5642 w 9"/>
                  <a:gd name="T11" fmla="*/ 2417 h 9"/>
                  <a:gd name="T12" fmla="*/ 2417 w 9"/>
                  <a:gd name="T13" fmla="*/ 5642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2" y="9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773" name="Freeform 488"/>
              <p:cNvSpPr>
                <a:spLocks noChangeArrowheads="1"/>
              </p:cNvSpPr>
              <p:nvPr/>
            </p:nvSpPr>
            <p:spPr bwMode="auto">
              <a:xfrm>
                <a:off x="5331" y="415"/>
                <a:ext cx="13" cy="13"/>
              </a:xfrm>
              <a:custGeom>
                <a:avLst/>
                <a:gdLst>
                  <a:gd name="T0" fmla="*/ 3860 w 9"/>
                  <a:gd name="T1" fmla="*/ 5642 h 9"/>
                  <a:gd name="T2" fmla="*/ 0 w 9"/>
                  <a:gd name="T3" fmla="*/ 2417 h 9"/>
                  <a:gd name="T4" fmla="*/ 0 w 9"/>
                  <a:gd name="T5" fmla="*/ 2417 h 9"/>
                  <a:gd name="T6" fmla="*/ 3860 w 9"/>
                  <a:gd name="T7" fmla="*/ 0 h 9"/>
                  <a:gd name="T8" fmla="*/ 3860 w 9"/>
                  <a:gd name="T9" fmla="*/ 0 h 9"/>
                  <a:gd name="T10" fmla="*/ 7173 w 9"/>
                  <a:gd name="T11" fmla="*/ 2417 h 9"/>
                  <a:gd name="T12" fmla="*/ 3860 w 9"/>
                  <a:gd name="T13" fmla="*/ 5642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2" y="9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774" name="Freeform 489"/>
              <p:cNvSpPr>
                <a:spLocks noChangeArrowheads="1"/>
              </p:cNvSpPr>
              <p:nvPr/>
            </p:nvSpPr>
            <p:spPr bwMode="auto">
              <a:xfrm>
                <a:off x="5188" y="429"/>
                <a:ext cx="11" cy="11"/>
              </a:xfrm>
              <a:custGeom>
                <a:avLst/>
                <a:gdLst>
                  <a:gd name="T0" fmla="*/ 2164 w 8"/>
                  <a:gd name="T1" fmla="*/ 4077 h 8"/>
                  <a:gd name="T2" fmla="*/ 0 w 8"/>
                  <a:gd name="T3" fmla="*/ 2164 h 8"/>
                  <a:gd name="T4" fmla="*/ 0 w 8"/>
                  <a:gd name="T5" fmla="*/ 2164 h 8"/>
                  <a:gd name="T6" fmla="*/ 2164 w 8"/>
                  <a:gd name="T7" fmla="*/ 0 h 8"/>
                  <a:gd name="T8" fmla="*/ 4077 w 8"/>
                  <a:gd name="T9" fmla="*/ 2164 h 8"/>
                  <a:gd name="T10" fmla="*/ 2164 w 8"/>
                  <a:gd name="T11" fmla="*/ 4077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8" h="8">
                    <a:moveTo>
                      <a:pt x="4" y="8"/>
                    </a:moveTo>
                    <a:cubicBezTo>
                      <a:pt x="1" y="8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1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6"/>
                      <a:pt x="6" y="8"/>
                      <a:pt x="4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775" name="Freeform 490"/>
              <p:cNvSpPr>
                <a:spLocks noChangeArrowheads="1"/>
              </p:cNvSpPr>
              <p:nvPr/>
            </p:nvSpPr>
            <p:spPr bwMode="auto">
              <a:xfrm>
                <a:off x="5044" y="415"/>
                <a:ext cx="11" cy="13"/>
              </a:xfrm>
              <a:custGeom>
                <a:avLst/>
                <a:gdLst>
                  <a:gd name="T0" fmla="*/ 2164 w 8"/>
                  <a:gd name="T1" fmla="*/ 5642 h 9"/>
                  <a:gd name="T2" fmla="*/ 0 w 8"/>
                  <a:gd name="T3" fmla="*/ 2417 h 9"/>
                  <a:gd name="T4" fmla="*/ 0 w 8"/>
                  <a:gd name="T5" fmla="*/ 2417 h 9"/>
                  <a:gd name="T6" fmla="*/ 2164 w 8"/>
                  <a:gd name="T7" fmla="*/ 0 h 9"/>
                  <a:gd name="T8" fmla="*/ 2164 w 8"/>
                  <a:gd name="T9" fmla="*/ 0 h 9"/>
                  <a:gd name="T10" fmla="*/ 4077 w 8"/>
                  <a:gd name="T11" fmla="*/ 2417 h 9"/>
                  <a:gd name="T12" fmla="*/ 2164 w 8"/>
                  <a:gd name="T13" fmla="*/ 5642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2" y="9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776" name="Oval 491"/>
              <p:cNvSpPr>
                <a:spLocks noChangeArrowheads="1"/>
              </p:cNvSpPr>
              <p:nvPr/>
            </p:nvSpPr>
            <p:spPr bwMode="auto">
              <a:xfrm>
                <a:off x="5601" y="429"/>
                <a:ext cx="12" cy="11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US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777" name="Freeform 492"/>
              <p:cNvSpPr>
                <a:spLocks noChangeArrowheads="1"/>
              </p:cNvSpPr>
              <p:nvPr/>
            </p:nvSpPr>
            <p:spPr bwMode="auto">
              <a:xfrm>
                <a:off x="5581" y="415"/>
                <a:ext cx="10" cy="13"/>
              </a:xfrm>
              <a:custGeom>
                <a:avLst/>
                <a:gdLst>
                  <a:gd name="T0" fmla="*/ 868 w 8"/>
                  <a:gd name="T1" fmla="*/ 5642 h 9"/>
                  <a:gd name="T2" fmla="*/ 0 w 8"/>
                  <a:gd name="T3" fmla="*/ 2417 h 9"/>
                  <a:gd name="T4" fmla="*/ 0 w 8"/>
                  <a:gd name="T5" fmla="*/ 2417 h 9"/>
                  <a:gd name="T6" fmla="*/ 868 w 8"/>
                  <a:gd name="T7" fmla="*/ 0 h 9"/>
                  <a:gd name="T8" fmla="*/ 868 w 8"/>
                  <a:gd name="T9" fmla="*/ 0 h 9"/>
                  <a:gd name="T10" fmla="*/ 1780 w 8"/>
                  <a:gd name="T11" fmla="*/ 2417 h 9"/>
                  <a:gd name="T12" fmla="*/ 868 w 8"/>
                  <a:gd name="T13" fmla="*/ 5642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2" y="9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778" name="Freeform 493"/>
              <p:cNvSpPr>
                <a:spLocks noChangeArrowheads="1"/>
              </p:cNvSpPr>
              <p:nvPr/>
            </p:nvSpPr>
            <p:spPr bwMode="auto">
              <a:xfrm>
                <a:off x="5559" y="429"/>
                <a:ext cx="13" cy="11"/>
              </a:xfrm>
              <a:custGeom>
                <a:avLst/>
                <a:gdLst>
                  <a:gd name="T0" fmla="*/ 3194 w 9"/>
                  <a:gd name="T1" fmla="*/ 4077 h 8"/>
                  <a:gd name="T2" fmla="*/ 0 w 9"/>
                  <a:gd name="T3" fmla="*/ 2164 h 8"/>
                  <a:gd name="T4" fmla="*/ 0 w 9"/>
                  <a:gd name="T5" fmla="*/ 2164 h 8"/>
                  <a:gd name="T6" fmla="*/ 3194 w 9"/>
                  <a:gd name="T7" fmla="*/ 0 h 8"/>
                  <a:gd name="T8" fmla="*/ 7173 w 9"/>
                  <a:gd name="T9" fmla="*/ 2164 h 8"/>
                  <a:gd name="T10" fmla="*/ 3194 w 9"/>
                  <a:gd name="T11" fmla="*/ 4077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8">
                    <a:moveTo>
                      <a:pt x="4" y="8"/>
                    </a:moveTo>
                    <a:cubicBezTo>
                      <a:pt x="2" y="8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6"/>
                      <a:pt x="7" y="8"/>
                      <a:pt x="4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779" name="Freeform 494"/>
              <p:cNvSpPr>
                <a:spLocks noChangeArrowheads="1"/>
              </p:cNvSpPr>
              <p:nvPr/>
            </p:nvSpPr>
            <p:spPr bwMode="auto">
              <a:xfrm>
                <a:off x="5538" y="415"/>
                <a:ext cx="12" cy="13"/>
              </a:xfrm>
              <a:custGeom>
                <a:avLst/>
                <a:gdLst>
                  <a:gd name="T0" fmla="*/ 1993 w 9"/>
                  <a:gd name="T1" fmla="*/ 5642 h 9"/>
                  <a:gd name="T2" fmla="*/ 0 w 9"/>
                  <a:gd name="T3" fmla="*/ 2417 h 9"/>
                  <a:gd name="T4" fmla="*/ 0 w 9"/>
                  <a:gd name="T5" fmla="*/ 2417 h 9"/>
                  <a:gd name="T6" fmla="*/ 1495 w 9"/>
                  <a:gd name="T7" fmla="*/ 0 h 9"/>
                  <a:gd name="T8" fmla="*/ 1993 w 9"/>
                  <a:gd name="T9" fmla="*/ 0 h 9"/>
                  <a:gd name="T10" fmla="*/ 3489 w 9"/>
                  <a:gd name="T11" fmla="*/ 2417 h 9"/>
                  <a:gd name="T12" fmla="*/ 1993 w 9"/>
                  <a:gd name="T13" fmla="*/ 5642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2" y="9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780" name="Freeform 495"/>
              <p:cNvSpPr>
                <a:spLocks noChangeArrowheads="1"/>
              </p:cNvSpPr>
              <p:nvPr/>
            </p:nvSpPr>
            <p:spPr bwMode="auto">
              <a:xfrm>
                <a:off x="5518" y="429"/>
                <a:ext cx="11" cy="11"/>
              </a:xfrm>
              <a:custGeom>
                <a:avLst/>
                <a:gdLst>
                  <a:gd name="T0" fmla="*/ 2164 w 8"/>
                  <a:gd name="T1" fmla="*/ 4077 h 8"/>
                  <a:gd name="T2" fmla="*/ 0 w 8"/>
                  <a:gd name="T3" fmla="*/ 2164 h 8"/>
                  <a:gd name="T4" fmla="*/ 0 w 8"/>
                  <a:gd name="T5" fmla="*/ 2164 h 8"/>
                  <a:gd name="T6" fmla="*/ 2164 w 8"/>
                  <a:gd name="T7" fmla="*/ 0 h 8"/>
                  <a:gd name="T8" fmla="*/ 4077 w 8"/>
                  <a:gd name="T9" fmla="*/ 2164 h 8"/>
                  <a:gd name="T10" fmla="*/ 2164 w 8"/>
                  <a:gd name="T11" fmla="*/ 4077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8" h="8">
                    <a:moveTo>
                      <a:pt x="4" y="8"/>
                    </a:moveTo>
                    <a:cubicBezTo>
                      <a:pt x="2" y="8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6"/>
                      <a:pt x="6" y="8"/>
                      <a:pt x="4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781" name="Freeform 496"/>
              <p:cNvSpPr>
                <a:spLocks noChangeArrowheads="1"/>
              </p:cNvSpPr>
              <p:nvPr/>
            </p:nvSpPr>
            <p:spPr bwMode="auto">
              <a:xfrm>
                <a:off x="5498" y="415"/>
                <a:ext cx="12" cy="13"/>
              </a:xfrm>
              <a:custGeom>
                <a:avLst/>
                <a:gdLst>
                  <a:gd name="T0" fmla="*/ 1495 w 9"/>
                  <a:gd name="T1" fmla="*/ 5642 h 9"/>
                  <a:gd name="T2" fmla="*/ 0 w 9"/>
                  <a:gd name="T3" fmla="*/ 2417 h 9"/>
                  <a:gd name="T4" fmla="*/ 0 w 9"/>
                  <a:gd name="T5" fmla="*/ 2417 h 9"/>
                  <a:gd name="T6" fmla="*/ 1495 w 9"/>
                  <a:gd name="T7" fmla="*/ 0 h 9"/>
                  <a:gd name="T8" fmla="*/ 1495 w 9"/>
                  <a:gd name="T9" fmla="*/ 0 h 9"/>
                  <a:gd name="T10" fmla="*/ 3489 w 9"/>
                  <a:gd name="T11" fmla="*/ 2417 h 9"/>
                  <a:gd name="T12" fmla="*/ 1495 w 9"/>
                  <a:gd name="T13" fmla="*/ 5642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2" y="9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782" name="Freeform 497"/>
              <p:cNvSpPr>
                <a:spLocks noChangeArrowheads="1"/>
              </p:cNvSpPr>
              <p:nvPr/>
            </p:nvSpPr>
            <p:spPr bwMode="auto">
              <a:xfrm>
                <a:off x="5455" y="415"/>
                <a:ext cx="13" cy="13"/>
              </a:xfrm>
              <a:custGeom>
                <a:avLst/>
                <a:gdLst>
                  <a:gd name="T0" fmla="*/ 3225 w 9"/>
                  <a:gd name="T1" fmla="*/ 5642 h 9"/>
                  <a:gd name="T2" fmla="*/ 0 w 9"/>
                  <a:gd name="T3" fmla="*/ 2417 h 9"/>
                  <a:gd name="T4" fmla="*/ 3225 w 9"/>
                  <a:gd name="T5" fmla="*/ 0 h 9"/>
                  <a:gd name="T6" fmla="*/ 3225 w 9"/>
                  <a:gd name="T7" fmla="*/ 0 h 9"/>
                  <a:gd name="T8" fmla="*/ 5642 w 9"/>
                  <a:gd name="T9" fmla="*/ 2417 h 9"/>
                  <a:gd name="T10" fmla="*/ 3225 w 9"/>
                  <a:gd name="T11" fmla="*/ 5642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2" y="9"/>
                      <a:pt x="0" y="7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783" name="Freeform 498"/>
              <p:cNvSpPr>
                <a:spLocks noChangeArrowheads="1"/>
              </p:cNvSpPr>
              <p:nvPr/>
            </p:nvSpPr>
            <p:spPr bwMode="auto">
              <a:xfrm>
                <a:off x="5744" y="415"/>
                <a:ext cx="13" cy="13"/>
              </a:xfrm>
              <a:custGeom>
                <a:avLst/>
                <a:gdLst>
                  <a:gd name="T0" fmla="*/ 3194 w 9"/>
                  <a:gd name="T1" fmla="*/ 5642 h 9"/>
                  <a:gd name="T2" fmla="*/ 0 w 9"/>
                  <a:gd name="T3" fmla="*/ 2417 h 9"/>
                  <a:gd name="T4" fmla="*/ 3194 w 9"/>
                  <a:gd name="T5" fmla="*/ 0 h 9"/>
                  <a:gd name="T6" fmla="*/ 3860 w 9"/>
                  <a:gd name="T7" fmla="*/ 0 h 9"/>
                  <a:gd name="T8" fmla="*/ 7173 w 9"/>
                  <a:gd name="T9" fmla="*/ 2417 h 9"/>
                  <a:gd name="T10" fmla="*/ 3194 w 9"/>
                  <a:gd name="T11" fmla="*/ 5642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2" y="9"/>
                      <a:pt x="0" y="7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784" name="Freeform 499"/>
              <p:cNvSpPr>
                <a:spLocks noChangeArrowheads="1"/>
              </p:cNvSpPr>
              <p:nvPr/>
            </p:nvSpPr>
            <p:spPr bwMode="auto">
              <a:xfrm>
                <a:off x="5723" y="429"/>
                <a:ext cx="13" cy="11"/>
              </a:xfrm>
              <a:custGeom>
                <a:avLst/>
                <a:gdLst>
                  <a:gd name="T0" fmla="*/ 3225 w 9"/>
                  <a:gd name="T1" fmla="*/ 4077 h 8"/>
                  <a:gd name="T2" fmla="*/ 0 w 9"/>
                  <a:gd name="T3" fmla="*/ 2164 h 8"/>
                  <a:gd name="T4" fmla="*/ 0 w 9"/>
                  <a:gd name="T5" fmla="*/ 2164 h 8"/>
                  <a:gd name="T6" fmla="*/ 3225 w 9"/>
                  <a:gd name="T7" fmla="*/ 0 h 8"/>
                  <a:gd name="T8" fmla="*/ 5642 w 9"/>
                  <a:gd name="T9" fmla="*/ 2164 h 8"/>
                  <a:gd name="T10" fmla="*/ 3225 w 9"/>
                  <a:gd name="T11" fmla="*/ 4077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8">
                    <a:moveTo>
                      <a:pt x="5" y="8"/>
                    </a:moveTo>
                    <a:cubicBezTo>
                      <a:pt x="2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6"/>
                      <a:pt x="7" y="8"/>
                      <a:pt x="5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785" name="Freeform 500"/>
              <p:cNvSpPr>
                <a:spLocks noChangeArrowheads="1"/>
              </p:cNvSpPr>
              <p:nvPr/>
            </p:nvSpPr>
            <p:spPr bwMode="auto">
              <a:xfrm>
                <a:off x="5704" y="415"/>
                <a:ext cx="11" cy="13"/>
              </a:xfrm>
              <a:custGeom>
                <a:avLst/>
                <a:gdLst>
                  <a:gd name="T0" fmla="*/ 2164 w 8"/>
                  <a:gd name="T1" fmla="*/ 5642 h 9"/>
                  <a:gd name="T2" fmla="*/ 0 w 8"/>
                  <a:gd name="T3" fmla="*/ 2417 h 9"/>
                  <a:gd name="T4" fmla="*/ 0 w 8"/>
                  <a:gd name="T5" fmla="*/ 2417 h 9"/>
                  <a:gd name="T6" fmla="*/ 2164 w 8"/>
                  <a:gd name="T7" fmla="*/ 0 h 9"/>
                  <a:gd name="T8" fmla="*/ 2164 w 8"/>
                  <a:gd name="T9" fmla="*/ 0 h 9"/>
                  <a:gd name="T10" fmla="*/ 4077 w 8"/>
                  <a:gd name="T11" fmla="*/ 2417 h 9"/>
                  <a:gd name="T12" fmla="*/ 2164 w 8"/>
                  <a:gd name="T13" fmla="*/ 5642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2" y="9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7" y="0"/>
                      <a:pt x="8" y="2"/>
                      <a:pt x="8" y="4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786" name="Oval 501"/>
              <p:cNvSpPr>
                <a:spLocks noChangeArrowheads="1"/>
              </p:cNvSpPr>
              <p:nvPr/>
            </p:nvSpPr>
            <p:spPr bwMode="auto">
              <a:xfrm>
                <a:off x="5683" y="429"/>
                <a:ext cx="13" cy="11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US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787" name="Freeform 502"/>
              <p:cNvSpPr>
                <a:spLocks noChangeArrowheads="1"/>
              </p:cNvSpPr>
              <p:nvPr/>
            </p:nvSpPr>
            <p:spPr bwMode="auto">
              <a:xfrm>
                <a:off x="5662" y="415"/>
                <a:ext cx="13" cy="13"/>
              </a:xfrm>
              <a:custGeom>
                <a:avLst/>
                <a:gdLst>
                  <a:gd name="T0" fmla="*/ 3860 w 9"/>
                  <a:gd name="T1" fmla="*/ 5642 h 9"/>
                  <a:gd name="T2" fmla="*/ 0 w 9"/>
                  <a:gd name="T3" fmla="*/ 2417 h 9"/>
                  <a:gd name="T4" fmla="*/ 0 w 9"/>
                  <a:gd name="T5" fmla="*/ 2417 h 9"/>
                  <a:gd name="T6" fmla="*/ 3860 w 9"/>
                  <a:gd name="T7" fmla="*/ 0 h 9"/>
                  <a:gd name="T8" fmla="*/ 3860 w 9"/>
                  <a:gd name="T9" fmla="*/ 0 h 9"/>
                  <a:gd name="T10" fmla="*/ 7173 w 9"/>
                  <a:gd name="T11" fmla="*/ 2417 h 9"/>
                  <a:gd name="T12" fmla="*/ 3860 w 9"/>
                  <a:gd name="T13" fmla="*/ 5642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2" y="9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788" name="Freeform 503"/>
              <p:cNvSpPr>
                <a:spLocks noChangeArrowheads="1"/>
              </p:cNvSpPr>
              <p:nvPr/>
            </p:nvSpPr>
            <p:spPr bwMode="auto">
              <a:xfrm>
                <a:off x="5642" y="429"/>
                <a:ext cx="11" cy="11"/>
              </a:xfrm>
              <a:custGeom>
                <a:avLst/>
                <a:gdLst>
                  <a:gd name="T0" fmla="*/ 2164 w 8"/>
                  <a:gd name="T1" fmla="*/ 4077 h 8"/>
                  <a:gd name="T2" fmla="*/ 0 w 8"/>
                  <a:gd name="T3" fmla="*/ 2164 h 8"/>
                  <a:gd name="T4" fmla="*/ 0 w 8"/>
                  <a:gd name="T5" fmla="*/ 2164 h 8"/>
                  <a:gd name="T6" fmla="*/ 2164 w 8"/>
                  <a:gd name="T7" fmla="*/ 0 h 8"/>
                  <a:gd name="T8" fmla="*/ 4077 w 8"/>
                  <a:gd name="T9" fmla="*/ 2164 h 8"/>
                  <a:gd name="T10" fmla="*/ 4077 w 8"/>
                  <a:gd name="T11" fmla="*/ 2164 h 8"/>
                  <a:gd name="T12" fmla="*/ 2164 w 8"/>
                  <a:gd name="T13" fmla="*/ 4077 h 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8" h="8">
                    <a:moveTo>
                      <a:pt x="4" y="8"/>
                    </a:moveTo>
                    <a:cubicBezTo>
                      <a:pt x="2" y="8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6"/>
                      <a:pt x="6" y="8"/>
                      <a:pt x="4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789" name="Freeform 504"/>
              <p:cNvSpPr>
                <a:spLocks noChangeArrowheads="1"/>
              </p:cNvSpPr>
              <p:nvPr/>
            </p:nvSpPr>
            <p:spPr bwMode="auto">
              <a:xfrm>
                <a:off x="5621" y="415"/>
                <a:ext cx="13" cy="13"/>
              </a:xfrm>
              <a:custGeom>
                <a:avLst/>
                <a:gdLst>
                  <a:gd name="T0" fmla="*/ 2417 w 9"/>
                  <a:gd name="T1" fmla="*/ 5642 h 9"/>
                  <a:gd name="T2" fmla="*/ 0 w 9"/>
                  <a:gd name="T3" fmla="*/ 2417 h 9"/>
                  <a:gd name="T4" fmla="*/ 2417 w 9"/>
                  <a:gd name="T5" fmla="*/ 0 h 9"/>
                  <a:gd name="T6" fmla="*/ 2417 w 9"/>
                  <a:gd name="T7" fmla="*/ 0 h 9"/>
                  <a:gd name="T8" fmla="*/ 5642 w 9"/>
                  <a:gd name="T9" fmla="*/ 2417 h 9"/>
                  <a:gd name="T10" fmla="*/ 2417 w 9"/>
                  <a:gd name="T11" fmla="*/ 5642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2" y="9"/>
                      <a:pt x="0" y="7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790" name="Freeform 505"/>
              <p:cNvSpPr>
                <a:spLocks noChangeArrowheads="1"/>
              </p:cNvSpPr>
              <p:nvPr/>
            </p:nvSpPr>
            <p:spPr bwMode="auto">
              <a:xfrm>
                <a:off x="5393" y="429"/>
                <a:ext cx="13" cy="11"/>
              </a:xfrm>
              <a:custGeom>
                <a:avLst/>
                <a:gdLst>
                  <a:gd name="T0" fmla="*/ 3225 w 9"/>
                  <a:gd name="T1" fmla="*/ 4077 h 8"/>
                  <a:gd name="T2" fmla="*/ 0 w 9"/>
                  <a:gd name="T3" fmla="*/ 2164 h 8"/>
                  <a:gd name="T4" fmla="*/ 0 w 9"/>
                  <a:gd name="T5" fmla="*/ 2164 h 8"/>
                  <a:gd name="T6" fmla="*/ 3225 w 9"/>
                  <a:gd name="T7" fmla="*/ 0 h 8"/>
                  <a:gd name="T8" fmla="*/ 5642 w 9"/>
                  <a:gd name="T9" fmla="*/ 2164 h 8"/>
                  <a:gd name="T10" fmla="*/ 3225 w 9"/>
                  <a:gd name="T11" fmla="*/ 4077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8">
                    <a:moveTo>
                      <a:pt x="5" y="8"/>
                    </a:moveTo>
                    <a:cubicBezTo>
                      <a:pt x="2" y="8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6"/>
                      <a:pt x="7" y="8"/>
                      <a:pt x="5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791" name="Freeform 506"/>
              <p:cNvSpPr>
                <a:spLocks noChangeArrowheads="1"/>
              </p:cNvSpPr>
              <p:nvPr/>
            </p:nvSpPr>
            <p:spPr bwMode="auto">
              <a:xfrm>
                <a:off x="5312" y="429"/>
                <a:ext cx="11" cy="11"/>
              </a:xfrm>
              <a:custGeom>
                <a:avLst/>
                <a:gdLst>
                  <a:gd name="T0" fmla="*/ 2164 w 8"/>
                  <a:gd name="T1" fmla="*/ 4077 h 8"/>
                  <a:gd name="T2" fmla="*/ 0 w 8"/>
                  <a:gd name="T3" fmla="*/ 2164 h 8"/>
                  <a:gd name="T4" fmla="*/ 0 w 8"/>
                  <a:gd name="T5" fmla="*/ 2164 h 8"/>
                  <a:gd name="T6" fmla="*/ 2164 w 8"/>
                  <a:gd name="T7" fmla="*/ 0 h 8"/>
                  <a:gd name="T8" fmla="*/ 4077 w 8"/>
                  <a:gd name="T9" fmla="*/ 2164 h 8"/>
                  <a:gd name="T10" fmla="*/ 2164 w 8"/>
                  <a:gd name="T11" fmla="*/ 4077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8" h="8">
                    <a:moveTo>
                      <a:pt x="4" y="8"/>
                    </a:moveTo>
                    <a:cubicBezTo>
                      <a:pt x="2" y="8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6"/>
                      <a:pt x="6" y="8"/>
                      <a:pt x="4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792" name="Freeform 507"/>
              <p:cNvSpPr>
                <a:spLocks noChangeArrowheads="1"/>
              </p:cNvSpPr>
              <p:nvPr/>
            </p:nvSpPr>
            <p:spPr bwMode="auto">
              <a:xfrm>
                <a:off x="5250" y="415"/>
                <a:ext cx="11" cy="13"/>
              </a:xfrm>
              <a:custGeom>
                <a:avLst/>
                <a:gdLst>
                  <a:gd name="T0" fmla="*/ 2164 w 8"/>
                  <a:gd name="T1" fmla="*/ 5642 h 9"/>
                  <a:gd name="T2" fmla="*/ 0 w 8"/>
                  <a:gd name="T3" fmla="*/ 2417 h 9"/>
                  <a:gd name="T4" fmla="*/ 0 w 8"/>
                  <a:gd name="T5" fmla="*/ 2417 h 9"/>
                  <a:gd name="T6" fmla="*/ 2164 w 8"/>
                  <a:gd name="T7" fmla="*/ 0 h 9"/>
                  <a:gd name="T8" fmla="*/ 2164 w 8"/>
                  <a:gd name="T9" fmla="*/ 0 h 9"/>
                  <a:gd name="T10" fmla="*/ 4077 w 8"/>
                  <a:gd name="T11" fmla="*/ 2417 h 9"/>
                  <a:gd name="T12" fmla="*/ 2164 w 8"/>
                  <a:gd name="T13" fmla="*/ 5642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2" y="9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1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793" name="Freeform 508"/>
              <p:cNvSpPr>
                <a:spLocks noChangeArrowheads="1"/>
              </p:cNvSpPr>
              <p:nvPr/>
            </p:nvSpPr>
            <p:spPr bwMode="auto">
              <a:xfrm>
                <a:off x="5168" y="415"/>
                <a:ext cx="11" cy="13"/>
              </a:xfrm>
              <a:custGeom>
                <a:avLst/>
                <a:gdLst>
                  <a:gd name="T0" fmla="*/ 2164 w 8"/>
                  <a:gd name="T1" fmla="*/ 5642 h 9"/>
                  <a:gd name="T2" fmla="*/ 0 w 8"/>
                  <a:gd name="T3" fmla="*/ 2417 h 9"/>
                  <a:gd name="T4" fmla="*/ 0 w 8"/>
                  <a:gd name="T5" fmla="*/ 2417 h 9"/>
                  <a:gd name="T6" fmla="*/ 2164 w 8"/>
                  <a:gd name="T7" fmla="*/ 0 h 9"/>
                  <a:gd name="T8" fmla="*/ 2164 w 8"/>
                  <a:gd name="T9" fmla="*/ 0 h 9"/>
                  <a:gd name="T10" fmla="*/ 4077 w 8"/>
                  <a:gd name="T11" fmla="*/ 2417 h 9"/>
                  <a:gd name="T12" fmla="*/ 2164 w 8"/>
                  <a:gd name="T13" fmla="*/ 5642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2" y="9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7" y="0"/>
                      <a:pt x="8" y="2"/>
                      <a:pt x="8" y="4"/>
                    </a:cubicBezTo>
                    <a:cubicBezTo>
                      <a:pt x="8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794" name="Freeform 509"/>
              <p:cNvSpPr>
                <a:spLocks noChangeArrowheads="1"/>
              </p:cNvSpPr>
              <p:nvPr/>
            </p:nvSpPr>
            <p:spPr bwMode="auto">
              <a:xfrm>
                <a:off x="5106" y="429"/>
                <a:ext cx="11" cy="11"/>
              </a:xfrm>
              <a:custGeom>
                <a:avLst/>
                <a:gdLst>
                  <a:gd name="T0" fmla="*/ 2164 w 8"/>
                  <a:gd name="T1" fmla="*/ 4077 h 8"/>
                  <a:gd name="T2" fmla="*/ 0 w 8"/>
                  <a:gd name="T3" fmla="*/ 2164 h 8"/>
                  <a:gd name="T4" fmla="*/ 0 w 8"/>
                  <a:gd name="T5" fmla="*/ 2164 h 8"/>
                  <a:gd name="T6" fmla="*/ 2164 w 8"/>
                  <a:gd name="T7" fmla="*/ 0 h 8"/>
                  <a:gd name="T8" fmla="*/ 4077 w 8"/>
                  <a:gd name="T9" fmla="*/ 2164 h 8"/>
                  <a:gd name="T10" fmla="*/ 2164 w 8"/>
                  <a:gd name="T11" fmla="*/ 4077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8" h="8">
                    <a:moveTo>
                      <a:pt x="4" y="8"/>
                    </a:moveTo>
                    <a:cubicBezTo>
                      <a:pt x="2" y="8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6"/>
                      <a:pt x="6" y="8"/>
                      <a:pt x="4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795" name="Freeform 510"/>
              <p:cNvSpPr>
                <a:spLocks noChangeArrowheads="1"/>
              </p:cNvSpPr>
              <p:nvPr/>
            </p:nvSpPr>
            <p:spPr bwMode="auto">
              <a:xfrm>
                <a:off x="5373" y="415"/>
                <a:ext cx="11" cy="13"/>
              </a:xfrm>
              <a:custGeom>
                <a:avLst/>
                <a:gdLst>
                  <a:gd name="T0" fmla="*/ 2164 w 8"/>
                  <a:gd name="T1" fmla="*/ 5642 h 9"/>
                  <a:gd name="T2" fmla="*/ 0 w 8"/>
                  <a:gd name="T3" fmla="*/ 2417 h 9"/>
                  <a:gd name="T4" fmla="*/ 0 w 8"/>
                  <a:gd name="T5" fmla="*/ 2417 h 9"/>
                  <a:gd name="T6" fmla="*/ 2164 w 8"/>
                  <a:gd name="T7" fmla="*/ 0 h 9"/>
                  <a:gd name="T8" fmla="*/ 2164 w 8"/>
                  <a:gd name="T9" fmla="*/ 0 h 9"/>
                  <a:gd name="T10" fmla="*/ 4077 w 8"/>
                  <a:gd name="T11" fmla="*/ 2417 h 9"/>
                  <a:gd name="T12" fmla="*/ 2164 w 8"/>
                  <a:gd name="T13" fmla="*/ 5642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2" y="9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796" name="Freeform 511"/>
              <p:cNvSpPr>
                <a:spLocks noChangeArrowheads="1"/>
              </p:cNvSpPr>
              <p:nvPr/>
            </p:nvSpPr>
            <p:spPr bwMode="auto">
              <a:xfrm>
                <a:off x="5291" y="415"/>
                <a:ext cx="13" cy="13"/>
              </a:xfrm>
              <a:custGeom>
                <a:avLst/>
                <a:gdLst>
                  <a:gd name="T0" fmla="*/ 2417 w 9"/>
                  <a:gd name="T1" fmla="*/ 5642 h 9"/>
                  <a:gd name="T2" fmla="*/ 0 w 9"/>
                  <a:gd name="T3" fmla="*/ 2417 h 9"/>
                  <a:gd name="T4" fmla="*/ 0 w 9"/>
                  <a:gd name="T5" fmla="*/ 2417 h 9"/>
                  <a:gd name="T6" fmla="*/ 2417 w 9"/>
                  <a:gd name="T7" fmla="*/ 0 h 9"/>
                  <a:gd name="T8" fmla="*/ 2417 w 9"/>
                  <a:gd name="T9" fmla="*/ 0 h 9"/>
                  <a:gd name="T10" fmla="*/ 5642 w 9"/>
                  <a:gd name="T11" fmla="*/ 2417 h 9"/>
                  <a:gd name="T12" fmla="*/ 2417 w 9"/>
                  <a:gd name="T13" fmla="*/ 5642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2" y="9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797" name="Oval 512"/>
              <p:cNvSpPr>
                <a:spLocks noChangeArrowheads="1"/>
              </p:cNvSpPr>
              <p:nvPr/>
            </p:nvSpPr>
            <p:spPr bwMode="auto">
              <a:xfrm>
                <a:off x="5229" y="429"/>
                <a:ext cx="13" cy="11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US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798" name="Freeform 513"/>
              <p:cNvSpPr>
                <a:spLocks noChangeArrowheads="1"/>
              </p:cNvSpPr>
              <p:nvPr/>
            </p:nvSpPr>
            <p:spPr bwMode="auto">
              <a:xfrm>
                <a:off x="5146" y="429"/>
                <a:ext cx="13" cy="11"/>
              </a:xfrm>
              <a:custGeom>
                <a:avLst/>
                <a:gdLst>
                  <a:gd name="T0" fmla="*/ 3194 w 9"/>
                  <a:gd name="T1" fmla="*/ 4077 h 8"/>
                  <a:gd name="T2" fmla="*/ 0 w 9"/>
                  <a:gd name="T3" fmla="*/ 2164 h 8"/>
                  <a:gd name="T4" fmla="*/ 0 w 9"/>
                  <a:gd name="T5" fmla="*/ 2164 h 8"/>
                  <a:gd name="T6" fmla="*/ 3194 w 9"/>
                  <a:gd name="T7" fmla="*/ 0 h 8"/>
                  <a:gd name="T8" fmla="*/ 7173 w 9"/>
                  <a:gd name="T9" fmla="*/ 2164 h 8"/>
                  <a:gd name="T10" fmla="*/ 3194 w 9"/>
                  <a:gd name="T11" fmla="*/ 4077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8">
                    <a:moveTo>
                      <a:pt x="4" y="8"/>
                    </a:moveTo>
                    <a:cubicBezTo>
                      <a:pt x="2" y="8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6"/>
                      <a:pt x="7" y="8"/>
                      <a:pt x="4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799" name="Freeform 514"/>
              <p:cNvSpPr>
                <a:spLocks noChangeArrowheads="1"/>
              </p:cNvSpPr>
              <p:nvPr/>
            </p:nvSpPr>
            <p:spPr bwMode="auto">
              <a:xfrm>
                <a:off x="5085" y="415"/>
                <a:ext cx="13" cy="13"/>
              </a:xfrm>
              <a:custGeom>
                <a:avLst/>
                <a:gdLst>
                  <a:gd name="T0" fmla="*/ 2417 w 9"/>
                  <a:gd name="T1" fmla="*/ 5642 h 9"/>
                  <a:gd name="T2" fmla="*/ 0 w 9"/>
                  <a:gd name="T3" fmla="*/ 2417 h 9"/>
                  <a:gd name="T4" fmla="*/ 0 w 9"/>
                  <a:gd name="T5" fmla="*/ 2417 h 9"/>
                  <a:gd name="T6" fmla="*/ 2417 w 9"/>
                  <a:gd name="T7" fmla="*/ 0 h 9"/>
                  <a:gd name="T8" fmla="*/ 3225 w 9"/>
                  <a:gd name="T9" fmla="*/ 0 h 9"/>
                  <a:gd name="T10" fmla="*/ 5642 w 9"/>
                  <a:gd name="T11" fmla="*/ 2417 h 9"/>
                  <a:gd name="T12" fmla="*/ 2417 w 9"/>
                  <a:gd name="T13" fmla="*/ 5642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2" y="9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800" name="Freeform 515"/>
              <p:cNvSpPr>
                <a:spLocks noChangeArrowheads="1"/>
              </p:cNvSpPr>
              <p:nvPr/>
            </p:nvSpPr>
            <p:spPr bwMode="auto">
              <a:xfrm>
                <a:off x="5354" y="429"/>
                <a:ext cx="13" cy="11"/>
              </a:xfrm>
              <a:custGeom>
                <a:avLst/>
                <a:gdLst>
                  <a:gd name="T0" fmla="*/ 2417 w 9"/>
                  <a:gd name="T1" fmla="*/ 4077 h 8"/>
                  <a:gd name="T2" fmla="*/ 0 w 9"/>
                  <a:gd name="T3" fmla="*/ 2164 h 8"/>
                  <a:gd name="T4" fmla="*/ 0 w 9"/>
                  <a:gd name="T5" fmla="*/ 2164 h 8"/>
                  <a:gd name="T6" fmla="*/ 2417 w 9"/>
                  <a:gd name="T7" fmla="*/ 0 h 8"/>
                  <a:gd name="T8" fmla="*/ 5642 w 9"/>
                  <a:gd name="T9" fmla="*/ 2164 h 8"/>
                  <a:gd name="T10" fmla="*/ 2417 w 9"/>
                  <a:gd name="T11" fmla="*/ 4077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8">
                    <a:moveTo>
                      <a:pt x="4" y="8"/>
                    </a:moveTo>
                    <a:cubicBezTo>
                      <a:pt x="2" y="8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6"/>
                      <a:pt x="7" y="8"/>
                      <a:pt x="4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801" name="Freeform 516"/>
              <p:cNvSpPr>
                <a:spLocks noChangeArrowheads="1"/>
              </p:cNvSpPr>
              <p:nvPr/>
            </p:nvSpPr>
            <p:spPr bwMode="auto">
              <a:xfrm>
                <a:off x="5270" y="429"/>
                <a:ext cx="12" cy="11"/>
              </a:xfrm>
              <a:custGeom>
                <a:avLst/>
                <a:gdLst>
                  <a:gd name="T0" fmla="*/ 1993 w 9"/>
                  <a:gd name="T1" fmla="*/ 4077 h 8"/>
                  <a:gd name="T2" fmla="*/ 0 w 9"/>
                  <a:gd name="T3" fmla="*/ 2164 h 8"/>
                  <a:gd name="T4" fmla="*/ 0 w 9"/>
                  <a:gd name="T5" fmla="*/ 2164 h 8"/>
                  <a:gd name="T6" fmla="*/ 1993 w 9"/>
                  <a:gd name="T7" fmla="*/ 0 h 8"/>
                  <a:gd name="T8" fmla="*/ 3489 w 9"/>
                  <a:gd name="T9" fmla="*/ 2164 h 8"/>
                  <a:gd name="T10" fmla="*/ 1993 w 9"/>
                  <a:gd name="T11" fmla="*/ 4077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8">
                    <a:moveTo>
                      <a:pt x="5" y="8"/>
                    </a:moveTo>
                    <a:cubicBezTo>
                      <a:pt x="2" y="8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6"/>
                      <a:pt x="7" y="8"/>
                      <a:pt x="5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802" name="Freeform 517"/>
              <p:cNvSpPr>
                <a:spLocks noChangeArrowheads="1"/>
              </p:cNvSpPr>
              <p:nvPr/>
            </p:nvSpPr>
            <p:spPr bwMode="auto">
              <a:xfrm>
                <a:off x="5208" y="415"/>
                <a:ext cx="12" cy="13"/>
              </a:xfrm>
              <a:custGeom>
                <a:avLst/>
                <a:gdLst>
                  <a:gd name="T0" fmla="*/ 1993 w 9"/>
                  <a:gd name="T1" fmla="*/ 5642 h 9"/>
                  <a:gd name="T2" fmla="*/ 0 w 9"/>
                  <a:gd name="T3" fmla="*/ 2417 h 9"/>
                  <a:gd name="T4" fmla="*/ 0 w 9"/>
                  <a:gd name="T5" fmla="*/ 2417 h 9"/>
                  <a:gd name="T6" fmla="*/ 1495 w 9"/>
                  <a:gd name="T7" fmla="*/ 0 h 9"/>
                  <a:gd name="T8" fmla="*/ 1993 w 9"/>
                  <a:gd name="T9" fmla="*/ 0 h 9"/>
                  <a:gd name="T10" fmla="*/ 3489 w 9"/>
                  <a:gd name="T11" fmla="*/ 2417 h 9"/>
                  <a:gd name="T12" fmla="*/ 1993 w 9"/>
                  <a:gd name="T13" fmla="*/ 5642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2" y="9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803" name="Freeform 518"/>
              <p:cNvSpPr>
                <a:spLocks noChangeArrowheads="1"/>
              </p:cNvSpPr>
              <p:nvPr/>
            </p:nvSpPr>
            <p:spPr bwMode="auto">
              <a:xfrm>
                <a:off x="5125" y="415"/>
                <a:ext cx="13" cy="13"/>
              </a:xfrm>
              <a:custGeom>
                <a:avLst/>
                <a:gdLst>
                  <a:gd name="T0" fmla="*/ 3225 w 9"/>
                  <a:gd name="T1" fmla="*/ 5642 h 9"/>
                  <a:gd name="T2" fmla="*/ 0 w 9"/>
                  <a:gd name="T3" fmla="*/ 2417 h 9"/>
                  <a:gd name="T4" fmla="*/ 3225 w 9"/>
                  <a:gd name="T5" fmla="*/ 0 h 9"/>
                  <a:gd name="T6" fmla="*/ 3225 w 9"/>
                  <a:gd name="T7" fmla="*/ 0 h 9"/>
                  <a:gd name="T8" fmla="*/ 5642 w 9"/>
                  <a:gd name="T9" fmla="*/ 2417 h 9"/>
                  <a:gd name="T10" fmla="*/ 3225 w 9"/>
                  <a:gd name="T11" fmla="*/ 5642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2" y="9"/>
                      <a:pt x="0" y="7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804" name="Freeform 519"/>
              <p:cNvSpPr>
                <a:spLocks noChangeArrowheads="1"/>
              </p:cNvSpPr>
              <p:nvPr/>
            </p:nvSpPr>
            <p:spPr bwMode="auto">
              <a:xfrm>
                <a:off x="5063" y="429"/>
                <a:ext cx="13" cy="11"/>
              </a:xfrm>
              <a:custGeom>
                <a:avLst/>
                <a:gdLst>
                  <a:gd name="T0" fmla="*/ 3860 w 9"/>
                  <a:gd name="T1" fmla="*/ 4077 h 8"/>
                  <a:gd name="T2" fmla="*/ 0 w 9"/>
                  <a:gd name="T3" fmla="*/ 2164 h 8"/>
                  <a:gd name="T4" fmla="*/ 0 w 9"/>
                  <a:gd name="T5" fmla="*/ 2164 h 8"/>
                  <a:gd name="T6" fmla="*/ 3860 w 9"/>
                  <a:gd name="T7" fmla="*/ 0 h 8"/>
                  <a:gd name="T8" fmla="*/ 7173 w 9"/>
                  <a:gd name="T9" fmla="*/ 2164 h 8"/>
                  <a:gd name="T10" fmla="*/ 3860 w 9"/>
                  <a:gd name="T11" fmla="*/ 4077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8">
                    <a:moveTo>
                      <a:pt x="5" y="8"/>
                    </a:moveTo>
                    <a:cubicBezTo>
                      <a:pt x="2" y="8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6"/>
                      <a:pt x="7" y="8"/>
                      <a:pt x="5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805" name="Freeform 520"/>
              <p:cNvSpPr>
                <a:spLocks noChangeArrowheads="1"/>
              </p:cNvSpPr>
              <p:nvPr/>
            </p:nvSpPr>
            <p:spPr bwMode="auto">
              <a:xfrm>
                <a:off x="5023" y="429"/>
                <a:ext cx="13" cy="11"/>
              </a:xfrm>
              <a:custGeom>
                <a:avLst/>
                <a:gdLst>
                  <a:gd name="T0" fmla="*/ 2417 w 9"/>
                  <a:gd name="T1" fmla="*/ 4077 h 8"/>
                  <a:gd name="T2" fmla="*/ 0 w 9"/>
                  <a:gd name="T3" fmla="*/ 2164 h 8"/>
                  <a:gd name="T4" fmla="*/ 0 w 9"/>
                  <a:gd name="T5" fmla="*/ 2164 h 8"/>
                  <a:gd name="T6" fmla="*/ 2417 w 9"/>
                  <a:gd name="T7" fmla="*/ 0 h 8"/>
                  <a:gd name="T8" fmla="*/ 5642 w 9"/>
                  <a:gd name="T9" fmla="*/ 2164 h 8"/>
                  <a:gd name="T10" fmla="*/ 2417 w 9"/>
                  <a:gd name="T11" fmla="*/ 4077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8">
                    <a:moveTo>
                      <a:pt x="4" y="8"/>
                    </a:moveTo>
                    <a:cubicBezTo>
                      <a:pt x="2" y="8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6"/>
                      <a:pt x="7" y="8"/>
                      <a:pt x="4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806" name="Freeform 521"/>
              <p:cNvSpPr>
                <a:spLocks noChangeArrowheads="1"/>
              </p:cNvSpPr>
              <p:nvPr/>
            </p:nvSpPr>
            <p:spPr bwMode="auto">
              <a:xfrm>
                <a:off x="5476" y="450"/>
                <a:ext cx="12" cy="11"/>
              </a:xfrm>
              <a:custGeom>
                <a:avLst/>
                <a:gdLst>
                  <a:gd name="T0" fmla="*/ 1993 w 9"/>
                  <a:gd name="T1" fmla="*/ 4077 h 8"/>
                  <a:gd name="T2" fmla="*/ 1495 w 9"/>
                  <a:gd name="T3" fmla="*/ 4077 h 8"/>
                  <a:gd name="T4" fmla="*/ 0 w 9"/>
                  <a:gd name="T5" fmla="*/ 2164 h 8"/>
                  <a:gd name="T6" fmla="*/ 0 w 9"/>
                  <a:gd name="T7" fmla="*/ 2164 h 8"/>
                  <a:gd name="T8" fmla="*/ 1495 w 9"/>
                  <a:gd name="T9" fmla="*/ 0 h 8"/>
                  <a:gd name="T10" fmla="*/ 3489 w 9"/>
                  <a:gd name="T11" fmla="*/ 2164 h 8"/>
                  <a:gd name="T12" fmla="*/ 1993 w 9"/>
                  <a:gd name="T13" fmla="*/ 4077 h 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8">
                    <a:moveTo>
                      <a:pt x="5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7" y="0"/>
                      <a:pt x="9" y="1"/>
                      <a:pt x="9" y="4"/>
                    </a:cubicBezTo>
                    <a:cubicBezTo>
                      <a:pt x="9" y="6"/>
                      <a:pt x="7" y="8"/>
                      <a:pt x="5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807" name="Freeform 522"/>
              <p:cNvSpPr>
                <a:spLocks noChangeArrowheads="1"/>
              </p:cNvSpPr>
              <p:nvPr/>
            </p:nvSpPr>
            <p:spPr bwMode="auto">
              <a:xfrm>
                <a:off x="5435" y="450"/>
                <a:ext cx="11" cy="11"/>
              </a:xfrm>
              <a:custGeom>
                <a:avLst/>
                <a:gdLst>
                  <a:gd name="T0" fmla="*/ 2164 w 8"/>
                  <a:gd name="T1" fmla="*/ 4077 h 8"/>
                  <a:gd name="T2" fmla="*/ 2164 w 8"/>
                  <a:gd name="T3" fmla="*/ 4077 h 8"/>
                  <a:gd name="T4" fmla="*/ 0 w 8"/>
                  <a:gd name="T5" fmla="*/ 2164 h 8"/>
                  <a:gd name="T6" fmla="*/ 0 w 8"/>
                  <a:gd name="T7" fmla="*/ 2164 h 8"/>
                  <a:gd name="T8" fmla="*/ 2164 w 8"/>
                  <a:gd name="T9" fmla="*/ 0 h 8"/>
                  <a:gd name="T10" fmla="*/ 4077 w 8"/>
                  <a:gd name="T11" fmla="*/ 2164 h 8"/>
                  <a:gd name="T12" fmla="*/ 2164 w 8"/>
                  <a:gd name="T13" fmla="*/ 4077 h 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8" h="8">
                    <a:moveTo>
                      <a:pt x="4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6" y="0"/>
                      <a:pt x="8" y="1"/>
                      <a:pt x="8" y="4"/>
                    </a:cubicBezTo>
                    <a:cubicBezTo>
                      <a:pt x="8" y="6"/>
                      <a:pt x="7" y="8"/>
                      <a:pt x="4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808" name="Freeform 523"/>
              <p:cNvSpPr>
                <a:spLocks noChangeArrowheads="1"/>
              </p:cNvSpPr>
              <p:nvPr/>
            </p:nvSpPr>
            <p:spPr bwMode="auto">
              <a:xfrm>
                <a:off x="5415" y="436"/>
                <a:ext cx="13" cy="11"/>
              </a:xfrm>
              <a:custGeom>
                <a:avLst/>
                <a:gdLst>
                  <a:gd name="T0" fmla="*/ 2417 w 9"/>
                  <a:gd name="T1" fmla="*/ 4077 h 8"/>
                  <a:gd name="T2" fmla="*/ 0 w 9"/>
                  <a:gd name="T3" fmla="*/ 2164 h 8"/>
                  <a:gd name="T4" fmla="*/ 0 w 9"/>
                  <a:gd name="T5" fmla="*/ 2164 h 8"/>
                  <a:gd name="T6" fmla="*/ 2417 w 9"/>
                  <a:gd name="T7" fmla="*/ 0 h 8"/>
                  <a:gd name="T8" fmla="*/ 5642 w 9"/>
                  <a:gd name="T9" fmla="*/ 2164 h 8"/>
                  <a:gd name="T10" fmla="*/ 2417 w 9"/>
                  <a:gd name="T11" fmla="*/ 4077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8">
                    <a:moveTo>
                      <a:pt x="4" y="8"/>
                    </a:moveTo>
                    <a:cubicBezTo>
                      <a:pt x="2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6"/>
                      <a:pt x="7" y="8"/>
                      <a:pt x="4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809" name="Freeform 524"/>
              <p:cNvSpPr>
                <a:spLocks noChangeArrowheads="1"/>
              </p:cNvSpPr>
              <p:nvPr/>
            </p:nvSpPr>
            <p:spPr bwMode="auto">
              <a:xfrm>
                <a:off x="5331" y="436"/>
                <a:ext cx="13" cy="11"/>
              </a:xfrm>
              <a:custGeom>
                <a:avLst/>
                <a:gdLst>
                  <a:gd name="T0" fmla="*/ 3860 w 9"/>
                  <a:gd name="T1" fmla="*/ 4077 h 8"/>
                  <a:gd name="T2" fmla="*/ 0 w 9"/>
                  <a:gd name="T3" fmla="*/ 2164 h 8"/>
                  <a:gd name="T4" fmla="*/ 0 w 9"/>
                  <a:gd name="T5" fmla="*/ 2164 h 8"/>
                  <a:gd name="T6" fmla="*/ 3860 w 9"/>
                  <a:gd name="T7" fmla="*/ 0 h 8"/>
                  <a:gd name="T8" fmla="*/ 7173 w 9"/>
                  <a:gd name="T9" fmla="*/ 2164 h 8"/>
                  <a:gd name="T10" fmla="*/ 3860 w 9"/>
                  <a:gd name="T11" fmla="*/ 4077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8">
                    <a:moveTo>
                      <a:pt x="5" y="8"/>
                    </a:moveTo>
                    <a:cubicBezTo>
                      <a:pt x="2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6"/>
                      <a:pt x="7" y="8"/>
                      <a:pt x="5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810" name="Freeform 525"/>
              <p:cNvSpPr>
                <a:spLocks noChangeArrowheads="1"/>
              </p:cNvSpPr>
              <p:nvPr/>
            </p:nvSpPr>
            <p:spPr bwMode="auto">
              <a:xfrm>
                <a:off x="5188" y="450"/>
                <a:ext cx="11" cy="11"/>
              </a:xfrm>
              <a:custGeom>
                <a:avLst/>
                <a:gdLst>
                  <a:gd name="T0" fmla="*/ 2164 w 8"/>
                  <a:gd name="T1" fmla="*/ 4077 h 8"/>
                  <a:gd name="T2" fmla="*/ 2164 w 8"/>
                  <a:gd name="T3" fmla="*/ 4077 h 8"/>
                  <a:gd name="T4" fmla="*/ 0 w 8"/>
                  <a:gd name="T5" fmla="*/ 2164 h 8"/>
                  <a:gd name="T6" fmla="*/ 0 w 8"/>
                  <a:gd name="T7" fmla="*/ 2164 h 8"/>
                  <a:gd name="T8" fmla="*/ 2164 w 8"/>
                  <a:gd name="T9" fmla="*/ 0 h 8"/>
                  <a:gd name="T10" fmla="*/ 4077 w 8"/>
                  <a:gd name="T11" fmla="*/ 2164 h 8"/>
                  <a:gd name="T12" fmla="*/ 2164 w 8"/>
                  <a:gd name="T13" fmla="*/ 4077 h 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8" h="8">
                    <a:moveTo>
                      <a:pt x="4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1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1"/>
                      <a:pt x="1" y="0"/>
                      <a:pt x="4" y="0"/>
                    </a:cubicBezTo>
                    <a:cubicBezTo>
                      <a:pt x="6" y="0"/>
                      <a:pt x="8" y="1"/>
                      <a:pt x="8" y="4"/>
                    </a:cubicBezTo>
                    <a:cubicBezTo>
                      <a:pt x="8" y="6"/>
                      <a:pt x="6" y="8"/>
                      <a:pt x="4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811" name="Freeform 526"/>
              <p:cNvSpPr>
                <a:spLocks noChangeArrowheads="1"/>
              </p:cNvSpPr>
              <p:nvPr/>
            </p:nvSpPr>
            <p:spPr bwMode="auto">
              <a:xfrm>
                <a:off x="5044" y="436"/>
                <a:ext cx="11" cy="11"/>
              </a:xfrm>
              <a:custGeom>
                <a:avLst/>
                <a:gdLst>
                  <a:gd name="T0" fmla="*/ 2164 w 8"/>
                  <a:gd name="T1" fmla="*/ 4077 h 8"/>
                  <a:gd name="T2" fmla="*/ 0 w 8"/>
                  <a:gd name="T3" fmla="*/ 2164 h 8"/>
                  <a:gd name="T4" fmla="*/ 0 w 8"/>
                  <a:gd name="T5" fmla="*/ 2164 h 8"/>
                  <a:gd name="T6" fmla="*/ 2164 w 8"/>
                  <a:gd name="T7" fmla="*/ 0 h 8"/>
                  <a:gd name="T8" fmla="*/ 4077 w 8"/>
                  <a:gd name="T9" fmla="*/ 2164 h 8"/>
                  <a:gd name="T10" fmla="*/ 2164 w 8"/>
                  <a:gd name="T11" fmla="*/ 4077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8" h="8">
                    <a:moveTo>
                      <a:pt x="4" y="8"/>
                    </a:moveTo>
                    <a:cubicBezTo>
                      <a:pt x="2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6"/>
                      <a:pt x="6" y="8"/>
                      <a:pt x="4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812" name="Freeform 527"/>
              <p:cNvSpPr>
                <a:spLocks noChangeArrowheads="1"/>
              </p:cNvSpPr>
              <p:nvPr/>
            </p:nvSpPr>
            <p:spPr bwMode="auto">
              <a:xfrm>
                <a:off x="5601" y="450"/>
                <a:ext cx="12" cy="11"/>
              </a:xfrm>
              <a:custGeom>
                <a:avLst/>
                <a:gdLst>
                  <a:gd name="T0" fmla="*/ 1993 w 9"/>
                  <a:gd name="T1" fmla="*/ 4077 h 8"/>
                  <a:gd name="T2" fmla="*/ 1495 w 9"/>
                  <a:gd name="T3" fmla="*/ 4077 h 8"/>
                  <a:gd name="T4" fmla="*/ 0 w 9"/>
                  <a:gd name="T5" fmla="*/ 2164 h 8"/>
                  <a:gd name="T6" fmla="*/ 1993 w 9"/>
                  <a:gd name="T7" fmla="*/ 0 h 8"/>
                  <a:gd name="T8" fmla="*/ 3489 w 9"/>
                  <a:gd name="T9" fmla="*/ 2164 h 8"/>
                  <a:gd name="T10" fmla="*/ 1993 w 9"/>
                  <a:gd name="T11" fmla="*/ 4077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8">
                    <a:moveTo>
                      <a:pt x="5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0" y="6"/>
                      <a:pt x="0" y="4"/>
                    </a:cubicBezTo>
                    <a:cubicBezTo>
                      <a:pt x="0" y="1"/>
                      <a:pt x="2" y="0"/>
                      <a:pt x="5" y="0"/>
                    </a:cubicBezTo>
                    <a:cubicBezTo>
                      <a:pt x="7" y="0"/>
                      <a:pt x="9" y="1"/>
                      <a:pt x="9" y="4"/>
                    </a:cubicBezTo>
                    <a:cubicBezTo>
                      <a:pt x="9" y="6"/>
                      <a:pt x="7" y="8"/>
                      <a:pt x="5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813" name="Freeform 528"/>
              <p:cNvSpPr>
                <a:spLocks noChangeArrowheads="1"/>
              </p:cNvSpPr>
              <p:nvPr/>
            </p:nvSpPr>
            <p:spPr bwMode="auto">
              <a:xfrm>
                <a:off x="5581" y="436"/>
                <a:ext cx="10" cy="11"/>
              </a:xfrm>
              <a:custGeom>
                <a:avLst/>
                <a:gdLst>
                  <a:gd name="T0" fmla="*/ 868 w 8"/>
                  <a:gd name="T1" fmla="*/ 4077 h 8"/>
                  <a:gd name="T2" fmla="*/ 0 w 8"/>
                  <a:gd name="T3" fmla="*/ 2164 h 8"/>
                  <a:gd name="T4" fmla="*/ 0 w 8"/>
                  <a:gd name="T5" fmla="*/ 2164 h 8"/>
                  <a:gd name="T6" fmla="*/ 868 w 8"/>
                  <a:gd name="T7" fmla="*/ 0 h 8"/>
                  <a:gd name="T8" fmla="*/ 1780 w 8"/>
                  <a:gd name="T9" fmla="*/ 2164 h 8"/>
                  <a:gd name="T10" fmla="*/ 868 w 8"/>
                  <a:gd name="T11" fmla="*/ 4077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8" h="8">
                    <a:moveTo>
                      <a:pt x="4" y="8"/>
                    </a:moveTo>
                    <a:cubicBezTo>
                      <a:pt x="2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6"/>
                      <a:pt x="6" y="8"/>
                      <a:pt x="4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814" name="Freeform 529"/>
              <p:cNvSpPr>
                <a:spLocks noChangeArrowheads="1"/>
              </p:cNvSpPr>
              <p:nvPr/>
            </p:nvSpPr>
            <p:spPr bwMode="auto">
              <a:xfrm>
                <a:off x="5559" y="450"/>
                <a:ext cx="13" cy="11"/>
              </a:xfrm>
              <a:custGeom>
                <a:avLst/>
                <a:gdLst>
                  <a:gd name="T0" fmla="*/ 3194 w 9"/>
                  <a:gd name="T1" fmla="*/ 4077 h 8"/>
                  <a:gd name="T2" fmla="*/ 3194 w 9"/>
                  <a:gd name="T3" fmla="*/ 4077 h 8"/>
                  <a:gd name="T4" fmla="*/ 0 w 9"/>
                  <a:gd name="T5" fmla="*/ 2164 h 8"/>
                  <a:gd name="T6" fmla="*/ 0 w 9"/>
                  <a:gd name="T7" fmla="*/ 2164 h 8"/>
                  <a:gd name="T8" fmla="*/ 3194 w 9"/>
                  <a:gd name="T9" fmla="*/ 0 h 8"/>
                  <a:gd name="T10" fmla="*/ 7173 w 9"/>
                  <a:gd name="T11" fmla="*/ 2164 h 8"/>
                  <a:gd name="T12" fmla="*/ 3194 w 9"/>
                  <a:gd name="T13" fmla="*/ 4077 h 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8">
                    <a:moveTo>
                      <a:pt x="4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7" y="0"/>
                      <a:pt x="9" y="1"/>
                      <a:pt x="9" y="4"/>
                    </a:cubicBezTo>
                    <a:cubicBezTo>
                      <a:pt x="9" y="6"/>
                      <a:pt x="7" y="8"/>
                      <a:pt x="4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815" name="Freeform 530"/>
              <p:cNvSpPr>
                <a:spLocks noChangeArrowheads="1"/>
              </p:cNvSpPr>
              <p:nvPr/>
            </p:nvSpPr>
            <p:spPr bwMode="auto">
              <a:xfrm>
                <a:off x="5538" y="436"/>
                <a:ext cx="12" cy="11"/>
              </a:xfrm>
              <a:custGeom>
                <a:avLst/>
                <a:gdLst>
                  <a:gd name="T0" fmla="*/ 1993 w 9"/>
                  <a:gd name="T1" fmla="*/ 4077 h 8"/>
                  <a:gd name="T2" fmla="*/ 0 w 9"/>
                  <a:gd name="T3" fmla="*/ 2164 h 8"/>
                  <a:gd name="T4" fmla="*/ 0 w 9"/>
                  <a:gd name="T5" fmla="*/ 2164 h 8"/>
                  <a:gd name="T6" fmla="*/ 1993 w 9"/>
                  <a:gd name="T7" fmla="*/ 0 h 8"/>
                  <a:gd name="T8" fmla="*/ 3489 w 9"/>
                  <a:gd name="T9" fmla="*/ 2164 h 8"/>
                  <a:gd name="T10" fmla="*/ 1993 w 9"/>
                  <a:gd name="T11" fmla="*/ 4077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8">
                    <a:moveTo>
                      <a:pt x="5" y="8"/>
                    </a:moveTo>
                    <a:cubicBezTo>
                      <a:pt x="2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6"/>
                      <a:pt x="7" y="8"/>
                      <a:pt x="5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816" name="Freeform 531"/>
              <p:cNvSpPr>
                <a:spLocks noChangeArrowheads="1"/>
              </p:cNvSpPr>
              <p:nvPr/>
            </p:nvSpPr>
            <p:spPr bwMode="auto">
              <a:xfrm>
                <a:off x="5518" y="450"/>
                <a:ext cx="11" cy="11"/>
              </a:xfrm>
              <a:custGeom>
                <a:avLst/>
                <a:gdLst>
                  <a:gd name="T0" fmla="*/ 2164 w 8"/>
                  <a:gd name="T1" fmla="*/ 4077 h 8"/>
                  <a:gd name="T2" fmla="*/ 2164 w 8"/>
                  <a:gd name="T3" fmla="*/ 4077 h 8"/>
                  <a:gd name="T4" fmla="*/ 0 w 8"/>
                  <a:gd name="T5" fmla="*/ 2164 h 8"/>
                  <a:gd name="T6" fmla="*/ 0 w 8"/>
                  <a:gd name="T7" fmla="*/ 2164 h 8"/>
                  <a:gd name="T8" fmla="*/ 2164 w 8"/>
                  <a:gd name="T9" fmla="*/ 0 h 8"/>
                  <a:gd name="T10" fmla="*/ 4077 w 8"/>
                  <a:gd name="T11" fmla="*/ 2164 h 8"/>
                  <a:gd name="T12" fmla="*/ 2164 w 8"/>
                  <a:gd name="T13" fmla="*/ 4077 h 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8" h="8">
                    <a:moveTo>
                      <a:pt x="4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1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6" y="0"/>
                      <a:pt x="8" y="1"/>
                      <a:pt x="8" y="4"/>
                    </a:cubicBezTo>
                    <a:cubicBezTo>
                      <a:pt x="8" y="6"/>
                      <a:pt x="6" y="8"/>
                      <a:pt x="4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817" name="Freeform 532"/>
              <p:cNvSpPr>
                <a:spLocks noChangeArrowheads="1"/>
              </p:cNvSpPr>
              <p:nvPr/>
            </p:nvSpPr>
            <p:spPr bwMode="auto">
              <a:xfrm>
                <a:off x="5498" y="436"/>
                <a:ext cx="12" cy="11"/>
              </a:xfrm>
              <a:custGeom>
                <a:avLst/>
                <a:gdLst>
                  <a:gd name="T0" fmla="*/ 1495 w 9"/>
                  <a:gd name="T1" fmla="*/ 4077 h 8"/>
                  <a:gd name="T2" fmla="*/ 0 w 9"/>
                  <a:gd name="T3" fmla="*/ 2164 h 8"/>
                  <a:gd name="T4" fmla="*/ 0 w 9"/>
                  <a:gd name="T5" fmla="*/ 2164 h 8"/>
                  <a:gd name="T6" fmla="*/ 1495 w 9"/>
                  <a:gd name="T7" fmla="*/ 0 h 8"/>
                  <a:gd name="T8" fmla="*/ 3489 w 9"/>
                  <a:gd name="T9" fmla="*/ 2164 h 8"/>
                  <a:gd name="T10" fmla="*/ 1495 w 9"/>
                  <a:gd name="T11" fmla="*/ 4077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8">
                    <a:moveTo>
                      <a:pt x="4" y="8"/>
                    </a:moveTo>
                    <a:cubicBezTo>
                      <a:pt x="2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6"/>
                      <a:pt x="7" y="8"/>
                      <a:pt x="4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818" name="Oval 533"/>
              <p:cNvSpPr>
                <a:spLocks noChangeArrowheads="1"/>
              </p:cNvSpPr>
              <p:nvPr/>
            </p:nvSpPr>
            <p:spPr bwMode="auto">
              <a:xfrm>
                <a:off x="5455" y="436"/>
                <a:ext cx="13" cy="11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US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819" name="Oval 534"/>
              <p:cNvSpPr>
                <a:spLocks noChangeArrowheads="1"/>
              </p:cNvSpPr>
              <p:nvPr/>
            </p:nvSpPr>
            <p:spPr bwMode="auto">
              <a:xfrm>
                <a:off x="5744" y="436"/>
                <a:ext cx="13" cy="11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US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820" name="Freeform 535"/>
              <p:cNvSpPr>
                <a:spLocks noChangeArrowheads="1"/>
              </p:cNvSpPr>
              <p:nvPr/>
            </p:nvSpPr>
            <p:spPr bwMode="auto">
              <a:xfrm>
                <a:off x="5723" y="450"/>
                <a:ext cx="13" cy="11"/>
              </a:xfrm>
              <a:custGeom>
                <a:avLst/>
                <a:gdLst>
                  <a:gd name="T0" fmla="*/ 3225 w 9"/>
                  <a:gd name="T1" fmla="*/ 4077 h 8"/>
                  <a:gd name="T2" fmla="*/ 3225 w 9"/>
                  <a:gd name="T3" fmla="*/ 4077 h 8"/>
                  <a:gd name="T4" fmla="*/ 0 w 9"/>
                  <a:gd name="T5" fmla="*/ 2164 h 8"/>
                  <a:gd name="T6" fmla="*/ 0 w 9"/>
                  <a:gd name="T7" fmla="*/ 2164 h 8"/>
                  <a:gd name="T8" fmla="*/ 3225 w 9"/>
                  <a:gd name="T9" fmla="*/ 0 h 8"/>
                  <a:gd name="T10" fmla="*/ 5642 w 9"/>
                  <a:gd name="T11" fmla="*/ 2164 h 8"/>
                  <a:gd name="T12" fmla="*/ 3225 w 9"/>
                  <a:gd name="T13" fmla="*/ 4077 h 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8">
                    <a:moveTo>
                      <a:pt x="5" y="8"/>
                    </a:moveTo>
                    <a:cubicBezTo>
                      <a:pt x="5" y="8"/>
                      <a:pt x="5" y="8"/>
                      <a:pt x="5" y="8"/>
                    </a:cubicBezTo>
                    <a:cubicBezTo>
                      <a:pt x="2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1"/>
                      <a:pt x="2" y="0"/>
                      <a:pt x="5" y="0"/>
                    </a:cubicBezTo>
                    <a:cubicBezTo>
                      <a:pt x="7" y="0"/>
                      <a:pt x="9" y="1"/>
                      <a:pt x="9" y="4"/>
                    </a:cubicBezTo>
                    <a:cubicBezTo>
                      <a:pt x="9" y="6"/>
                      <a:pt x="7" y="8"/>
                      <a:pt x="5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821" name="Freeform 536"/>
              <p:cNvSpPr>
                <a:spLocks noChangeArrowheads="1"/>
              </p:cNvSpPr>
              <p:nvPr/>
            </p:nvSpPr>
            <p:spPr bwMode="auto">
              <a:xfrm>
                <a:off x="5704" y="436"/>
                <a:ext cx="11" cy="11"/>
              </a:xfrm>
              <a:custGeom>
                <a:avLst/>
                <a:gdLst>
                  <a:gd name="T0" fmla="*/ 2164 w 8"/>
                  <a:gd name="T1" fmla="*/ 4077 h 8"/>
                  <a:gd name="T2" fmla="*/ 0 w 8"/>
                  <a:gd name="T3" fmla="*/ 2164 h 8"/>
                  <a:gd name="T4" fmla="*/ 0 w 8"/>
                  <a:gd name="T5" fmla="*/ 2164 h 8"/>
                  <a:gd name="T6" fmla="*/ 2164 w 8"/>
                  <a:gd name="T7" fmla="*/ 0 h 8"/>
                  <a:gd name="T8" fmla="*/ 4077 w 8"/>
                  <a:gd name="T9" fmla="*/ 2164 h 8"/>
                  <a:gd name="T10" fmla="*/ 2164 w 8"/>
                  <a:gd name="T11" fmla="*/ 4077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8" h="8">
                    <a:moveTo>
                      <a:pt x="4" y="8"/>
                    </a:moveTo>
                    <a:cubicBezTo>
                      <a:pt x="2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6"/>
                      <a:pt x="6" y="8"/>
                      <a:pt x="4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822" name="Freeform 537"/>
              <p:cNvSpPr>
                <a:spLocks noChangeArrowheads="1"/>
              </p:cNvSpPr>
              <p:nvPr/>
            </p:nvSpPr>
            <p:spPr bwMode="auto">
              <a:xfrm>
                <a:off x="5683" y="450"/>
                <a:ext cx="13" cy="11"/>
              </a:xfrm>
              <a:custGeom>
                <a:avLst/>
                <a:gdLst>
                  <a:gd name="T0" fmla="*/ 2417 w 9"/>
                  <a:gd name="T1" fmla="*/ 4077 h 8"/>
                  <a:gd name="T2" fmla="*/ 2417 w 9"/>
                  <a:gd name="T3" fmla="*/ 4077 h 8"/>
                  <a:gd name="T4" fmla="*/ 0 w 9"/>
                  <a:gd name="T5" fmla="*/ 2164 h 8"/>
                  <a:gd name="T6" fmla="*/ 2417 w 9"/>
                  <a:gd name="T7" fmla="*/ 0 h 8"/>
                  <a:gd name="T8" fmla="*/ 5642 w 9"/>
                  <a:gd name="T9" fmla="*/ 2164 h 8"/>
                  <a:gd name="T10" fmla="*/ 2417 w 9"/>
                  <a:gd name="T11" fmla="*/ 4077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8">
                    <a:moveTo>
                      <a:pt x="4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0" y="6"/>
                      <a:pt x="0" y="4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7" y="0"/>
                      <a:pt x="9" y="1"/>
                      <a:pt x="9" y="4"/>
                    </a:cubicBezTo>
                    <a:cubicBezTo>
                      <a:pt x="9" y="6"/>
                      <a:pt x="7" y="8"/>
                      <a:pt x="4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823" name="Freeform 538"/>
              <p:cNvSpPr>
                <a:spLocks noChangeArrowheads="1"/>
              </p:cNvSpPr>
              <p:nvPr/>
            </p:nvSpPr>
            <p:spPr bwMode="auto">
              <a:xfrm>
                <a:off x="5662" y="436"/>
                <a:ext cx="13" cy="11"/>
              </a:xfrm>
              <a:custGeom>
                <a:avLst/>
                <a:gdLst>
                  <a:gd name="T0" fmla="*/ 3860 w 9"/>
                  <a:gd name="T1" fmla="*/ 4077 h 8"/>
                  <a:gd name="T2" fmla="*/ 0 w 9"/>
                  <a:gd name="T3" fmla="*/ 2164 h 8"/>
                  <a:gd name="T4" fmla="*/ 0 w 9"/>
                  <a:gd name="T5" fmla="*/ 2164 h 8"/>
                  <a:gd name="T6" fmla="*/ 3860 w 9"/>
                  <a:gd name="T7" fmla="*/ 0 h 8"/>
                  <a:gd name="T8" fmla="*/ 7173 w 9"/>
                  <a:gd name="T9" fmla="*/ 2164 h 8"/>
                  <a:gd name="T10" fmla="*/ 3860 w 9"/>
                  <a:gd name="T11" fmla="*/ 4077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8">
                    <a:moveTo>
                      <a:pt x="5" y="8"/>
                    </a:moveTo>
                    <a:cubicBezTo>
                      <a:pt x="2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6"/>
                      <a:pt x="7" y="8"/>
                      <a:pt x="5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824" name="Freeform 539"/>
              <p:cNvSpPr>
                <a:spLocks noChangeArrowheads="1"/>
              </p:cNvSpPr>
              <p:nvPr/>
            </p:nvSpPr>
            <p:spPr bwMode="auto">
              <a:xfrm>
                <a:off x="5642" y="450"/>
                <a:ext cx="11" cy="11"/>
              </a:xfrm>
              <a:custGeom>
                <a:avLst/>
                <a:gdLst>
                  <a:gd name="T0" fmla="*/ 2164 w 8"/>
                  <a:gd name="T1" fmla="*/ 4077 h 8"/>
                  <a:gd name="T2" fmla="*/ 2164 w 8"/>
                  <a:gd name="T3" fmla="*/ 4077 h 8"/>
                  <a:gd name="T4" fmla="*/ 0 w 8"/>
                  <a:gd name="T5" fmla="*/ 2164 h 8"/>
                  <a:gd name="T6" fmla="*/ 0 w 8"/>
                  <a:gd name="T7" fmla="*/ 2164 h 8"/>
                  <a:gd name="T8" fmla="*/ 2164 w 8"/>
                  <a:gd name="T9" fmla="*/ 0 h 8"/>
                  <a:gd name="T10" fmla="*/ 4077 w 8"/>
                  <a:gd name="T11" fmla="*/ 2164 h 8"/>
                  <a:gd name="T12" fmla="*/ 4077 w 8"/>
                  <a:gd name="T13" fmla="*/ 2164 h 8"/>
                  <a:gd name="T14" fmla="*/ 2164 w 8"/>
                  <a:gd name="T15" fmla="*/ 4077 h 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8" h="8">
                    <a:moveTo>
                      <a:pt x="4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6" y="0"/>
                      <a:pt x="8" y="1"/>
                      <a:pt x="8" y="4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6"/>
                      <a:pt x="6" y="8"/>
                      <a:pt x="4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825" name="Oval 540"/>
              <p:cNvSpPr>
                <a:spLocks noChangeArrowheads="1"/>
              </p:cNvSpPr>
              <p:nvPr/>
            </p:nvSpPr>
            <p:spPr bwMode="auto">
              <a:xfrm>
                <a:off x="5621" y="436"/>
                <a:ext cx="13" cy="11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US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826" name="Freeform 541"/>
              <p:cNvSpPr>
                <a:spLocks noChangeArrowheads="1"/>
              </p:cNvSpPr>
              <p:nvPr/>
            </p:nvSpPr>
            <p:spPr bwMode="auto">
              <a:xfrm>
                <a:off x="5393" y="450"/>
                <a:ext cx="13" cy="11"/>
              </a:xfrm>
              <a:custGeom>
                <a:avLst/>
                <a:gdLst>
                  <a:gd name="T0" fmla="*/ 3225 w 9"/>
                  <a:gd name="T1" fmla="*/ 4077 h 8"/>
                  <a:gd name="T2" fmla="*/ 3225 w 9"/>
                  <a:gd name="T3" fmla="*/ 4077 h 8"/>
                  <a:gd name="T4" fmla="*/ 0 w 9"/>
                  <a:gd name="T5" fmla="*/ 2164 h 8"/>
                  <a:gd name="T6" fmla="*/ 0 w 9"/>
                  <a:gd name="T7" fmla="*/ 2164 h 8"/>
                  <a:gd name="T8" fmla="*/ 3225 w 9"/>
                  <a:gd name="T9" fmla="*/ 0 h 8"/>
                  <a:gd name="T10" fmla="*/ 5642 w 9"/>
                  <a:gd name="T11" fmla="*/ 2164 h 8"/>
                  <a:gd name="T12" fmla="*/ 3225 w 9"/>
                  <a:gd name="T13" fmla="*/ 4077 h 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8">
                    <a:moveTo>
                      <a:pt x="5" y="8"/>
                    </a:moveTo>
                    <a:cubicBezTo>
                      <a:pt x="5" y="8"/>
                      <a:pt x="5" y="8"/>
                      <a:pt x="5" y="8"/>
                    </a:cubicBezTo>
                    <a:cubicBezTo>
                      <a:pt x="2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1"/>
                      <a:pt x="2" y="0"/>
                      <a:pt x="5" y="0"/>
                    </a:cubicBezTo>
                    <a:cubicBezTo>
                      <a:pt x="7" y="0"/>
                      <a:pt x="9" y="1"/>
                      <a:pt x="9" y="4"/>
                    </a:cubicBezTo>
                    <a:cubicBezTo>
                      <a:pt x="9" y="6"/>
                      <a:pt x="7" y="8"/>
                      <a:pt x="5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827" name="Freeform 542"/>
              <p:cNvSpPr>
                <a:spLocks noChangeArrowheads="1"/>
              </p:cNvSpPr>
              <p:nvPr/>
            </p:nvSpPr>
            <p:spPr bwMode="auto">
              <a:xfrm>
                <a:off x="5312" y="450"/>
                <a:ext cx="11" cy="11"/>
              </a:xfrm>
              <a:custGeom>
                <a:avLst/>
                <a:gdLst>
                  <a:gd name="T0" fmla="*/ 2164 w 8"/>
                  <a:gd name="T1" fmla="*/ 4077 h 8"/>
                  <a:gd name="T2" fmla="*/ 2164 w 8"/>
                  <a:gd name="T3" fmla="*/ 4077 h 8"/>
                  <a:gd name="T4" fmla="*/ 0 w 8"/>
                  <a:gd name="T5" fmla="*/ 2164 h 8"/>
                  <a:gd name="T6" fmla="*/ 0 w 8"/>
                  <a:gd name="T7" fmla="*/ 2164 h 8"/>
                  <a:gd name="T8" fmla="*/ 2164 w 8"/>
                  <a:gd name="T9" fmla="*/ 0 h 8"/>
                  <a:gd name="T10" fmla="*/ 4077 w 8"/>
                  <a:gd name="T11" fmla="*/ 2164 h 8"/>
                  <a:gd name="T12" fmla="*/ 2164 w 8"/>
                  <a:gd name="T13" fmla="*/ 4077 h 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8" h="8">
                    <a:moveTo>
                      <a:pt x="4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6" y="0"/>
                      <a:pt x="8" y="1"/>
                      <a:pt x="8" y="4"/>
                    </a:cubicBezTo>
                    <a:cubicBezTo>
                      <a:pt x="8" y="6"/>
                      <a:pt x="6" y="8"/>
                      <a:pt x="4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828" name="Freeform 543"/>
              <p:cNvSpPr>
                <a:spLocks noChangeArrowheads="1"/>
              </p:cNvSpPr>
              <p:nvPr/>
            </p:nvSpPr>
            <p:spPr bwMode="auto">
              <a:xfrm>
                <a:off x="5250" y="436"/>
                <a:ext cx="11" cy="11"/>
              </a:xfrm>
              <a:custGeom>
                <a:avLst/>
                <a:gdLst>
                  <a:gd name="T0" fmla="*/ 2164 w 8"/>
                  <a:gd name="T1" fmla="*/ 4077 h 8"/>
                  <a:gd name="T2" fmla="*/ 0 w 8"/>
                  <a:gd name="T3" fmla="*/ 2164 h 8"/>
                  <a:gd name="T4" fmla="*/ 0 w 8"/>
                  <a:gd name="T5" fmla="*/ 2164 h 8"/>
                  <a:gd name="T6" fmla="*/ 2164 w 8"/>
                  <a:gd name="T7" fmla="*/ 0 h 8"/>
                  <a:gd name="T8" fmla="*/ 4077 w 8"/>
                  <a:gd name="T9" fmla="*/ 2164 h 8"/>
                  <a:gd name="T10" fmla="*/ 2164 w 8"/>
                  <a:gd name="T11" fmla="*/ 4077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8" h="8">
                    <a:moveTo>
                      <a:pt x="4" y="8"/>
                    </a:moveTo>
                    <a:cubicBezTo>
                      <a:pt x="2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6"/>
                      <a:pt x="6" y="8"/>
                      <a:pt x="4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829" name="Freeform 544"/>
              <p:cNvSpPr>
                <a:spLocks noChangeArrowheads="1"/>
              </p:cNvSpPr>
              <p:nvPr/>
            </p:nvSpPr>
            <p:spPr bwMode="auto">
              <a:xfrm>
                <a:off x="5168" y="436"/>
                <a:ext cx="11" cy="11"/>
              </a:xfrm>
              <a:custGeom>
                <a:avLst/>
                <a:gdLst>
                  <a:gd name="T0" fmla="*/ 2164 w 8"/>
                  <a:gd name="T1" fmla="*/ 4077 h 8"/>
                  <a:gd name="T2" fmla="*/ 0 w 8"/>
                  <a:gd name="T3" fmla="*/ 2164 h 8"/>
                  <a:gd name="T4" fmla="*/ 0 w 8"/>
                  <a:gd name="T5" fmla="*/ 2164 h 8"/>
                  <a:gd name="T6" fmla="*/ 2164 w 8"/>
                  <a:gd name="T7" fmla="*/ 0 h 8"/>
                  <a:gd name="T8" fmla="*/ 4077 w 8"/>
                  <a:gd name="T9" fmla="*/ 2164 h 8"/>
                  <a:gd name="T10" fmla="*/ 2164 w 8"/>
                  <a:gd name="T11" fmla="*/ 4077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8" h="8">
                    <a:moveTo>
                      <a:pt x="4" y="8"/>
                    </a:moveTo>
                    <a:cubicBezTo>
                      <a:pt x="2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8" y="2"/>
                      <a:pt x="8" y="4"/>
                    </a:cubicBezTo>
                    <a:cubicBezTo>
                      <a:pt x="8" y="6"/>
                      <a:pt x="7" y="8"/>
                      <a:pt x="4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830" name="Freeform 545"/>
              <p:cNvSpPr>
                <a:spLocks noChangeArrowheads="1"/>
              </p:cNvSpPr>
              <p:nvPr/>
            </p:nvSpPr>
            <p:spPr bwMode="auto">
              <a:xfrm>
                <a:off x="5106" y="450"/>
                <a:ext cx="11" cy="11"/>
              </a:xfrm>
              <a:custGeom>
                <a:avLst/>
                <a:gdLst>
                  <a:gd name="T0" fmla="*/ 2164 w 8"/>
                  <a:gd name="T1" fmla="*/ 4077 h 8"/>
                  <a:gd name="T2" fmla="*/ 2164 w 8"/>
                  <a:gd name="T3" fmla="*/ 4077 h 8"/>
                  <a:gd name="T4" fmla="*/ 0 w 8"/>
                  <a:gd name="T5" fmla="*/ 2164 h 8"/>
                  <a:gd name="T6" fmla="*/ 0 w 8"/>
                  <a:gd name="T7" fmla="*/ 2164 h 8"/>
                  <a:gd name="T8" fmla="*/ 2164 w 8"/>
                  <a:gd name="T9" fmla="*/ 0 h 8"/>
                  <a:gd name="T10" fmla="*/ 4077 w 8"/>
                  <a:gd name="T11" fmla="*/ 2164 h 8"/>
                  <a:gd name="T12" fmla="*/ 2164 w 8"/>
                  <a:gd name="T13" fmla="*/ 4077 h 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8" h="8">
                    <a:moveTo>
                      <a:pt x="4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6" y="0"/>
                      <a:pt x="8" y="1"/>
                      <a:pt x="8" y="4"/>
                    </a:cubicBezTo>
                    <a:cubicBezTo>
                      <a:pt x="8" y="6"/>
                      <a:pt x="7" y="8"/>
                      <a:pt x="4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831" name="Freeform 546"/>
              <p:cNvSpPr>
                <a:spLocks noChangeArrowheads="1"/>
              </p:cNvSpPr>
              <p:nvPr/>
            </p:nvSpPr>
            <p:spPr bwMode="auto">
              <a:xfrm>
                <a:off x="5373" y="436"/>
                <a:ext cx="11" cy="11"/>
              </a:xfrm>
              <a:custGeom>
                <a:avLst/>
                <a:gdLst>
                  <a:gd name="T0" fmla="*/ 2164 w 8"/>
                  <a:gd name="T1" fmla="*/ 4077 h 8"/>
                  <a:gd name="T2" fmla="*/ 0 w 8"/>
                  <a:gd name="T3" fmla="*/ 2164 h 8"/>
                  <a:gd name="T4" fmla="*/ 0 w 8"/>
                  <a:gd name="T5" fmla="*/ 2164 h 8"/>
                  <a:gd name="T6" fmla="*/ 2164 w 8"/>
                  <a:gd name="T7" fmla="*/ 0 h 8"/>
                  <a:gd name="T8" fmla="*/ 4077 w 8"/>
                  <a:gd name="T9" fmla="*/ 2164 h 8"/>
                  <a:gd name="T10" fmla="*/ 2164 w 8"/>
                  <a:gd name="T11" fmla="*/ 4077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8" h="8">
                    <a:moveTo>
                      <a:pt x="4" y="8"/>
                    </a:moveTo>
                    <a:cubicBezTo>
                      <a:pt x="2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6"/>
                      <a:pt x="6" y="8"/>
                      <a:pt x="4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832" name="Freeform 547"/>
              <p:cNvSpPr>
                <a:spLocks noChangeArrowheads="1"/>
              </p:cNvSpPr>
              <p:nvPr/>
            </p:nvSpPr>
            <p:spPr bwMode="auto">
              <a:xfrm>
                <a:off x="5291" y="436"/>
                <a:ext cx="13" cy="11"/>
              </a:xfrm>
              <a:custGeom>
                <a:avLst/>
                <a:gdLst>
                  <a:gd name="T0" fmla="*/ 2417 w 9"/>
                  <a:gd name="T1" fmla="*/ 4077 h 8"/>
                  <a:gd name="T2" fmla="*/ 0 w 9"/>
                  <a:gd name="T3" fmla="*/ 2164 h 8"/>
                  <a:gd name="T4" fmla="*/ 0 w 9"/>
                  <a:gd name="T5" fmla="*/ 2164 h 8"/>
                  <a:gd name="T6" fmla="*/ 2417 w 9"/>
                  <a:gd name="T7" fmla="*/ 0 h 8"/>
                  <a:gd name="T8" fmla="*/ 5642 w 9"/>
                  <a:gd name="T9" fmla="*/ 2164 h 8"/>
                  <a:gd name="T10" fmla="*/ 2417 w 9"/>
                  <a:gd name="T11" fmla="*/ 4077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8">
                    <a:moveTo>
                      <a:pt x="4" y="8"/>
                    </a:moveTo>
                    <a:cubicBezTo>
                      <a:pt x="2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6"/>
                      <a:pt x="7" y="8"/>
                      <a:pt x="4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833" name="Freeform 548"/>
              <p:cNvSpPr>
                <a:spLocks noChangeArrowheads="1"/>
              </p:cNvSpPr>
              <p:nvPr/>
            </p:nvSpPr>
            <p:spPr bwMode="auto">
              <a:xfrm>
                <a:off x="5229" y="450"/>
                <a:ext cx="13" cy="11"/>
              </a:xfrm>
              <a:custGeom>
                <a:avLst/>
                <a:gdLst>
                  <a:gd name="T0" fmla="*/ 3194 w 9"/>
                  <a:gd name="T1" fmla="*/ 4077 h 8"/>
                  <a:gd name="T2" fmla="*/ 3194 w 9"/>
                  <a:gd name="T3" fmla="*/ 4077 h 8"/>
                  <a:gd name="T4" fmla="*/ 0 w 9"/>
                  <a:gd name="T5" fmla="*/ 2164 h 8"/>
                  <a:gd name="T6" fmla="*/ 3194 w 9"/>
                  <a:gd name="T7" fmla="*/ 0 h 8"/>
                  <a:gd name="T8" fmla="*/ 7173 w 9"/>
                  <a:gd name="T9" fmla="*/ 2164 h 8"/>
                  <a:gd name="T10" fmla="*/ 3194 w 9"/>
                  <a:gd name="T11" fmla="*/ 4077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8">
                    <a:moveTo>
                      <a:pt x="4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0" y="6"/>
                      <a:pt x="0" y="4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7" y="0"/>
                      <a:pt x="9" y="1"/>
                      <a:pt x="9" y="4"/>
                    </a:cubicBezTo>
                    <a:cubicBezTo>
                      <a:pt x="9" y="6"/>
                      <a:pt x="7" y="8"/>
                      <a:pt x="4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834" name="Freeform 549"/>
              <p:cNvSpPr>
                <a:spLocks noChangeArrowheads="1"/>
              </p:cNvSpPr>
              <p:nvPr/>
            </p:nvSpPr>
            <p:spPr bwMode="auto">
              <a:xfrm>
                <a:off x="5146" y="450"/>
                <a:ext cx="13" cy="11"/>
              </a:xfrm>
              <a:custGeom>
                <a:avLst/>
                <a:gdLst>
                  <a:gd name="T0" fmla="*/ 3860 w 9"/>
                  <a:gd name="T1" fmla="*/ 4077 h 8"/>
                  <a:gd name="T2" fmla="*/ 3194 w 9"/>
                  <a:gd name="T3" fmla="*/ 4077 h 8"/>
                  <a:gd name="T4" fmla="*/ 0 w 9"/>
                  <a:gd name="T5" fmla="*/ 2164 h 8"/>
                  <a:gd name="T6" fmla="*/ 0 w 9"/>
                  <a:gd name="T7" fmla="*/ 2164 h 8"/>
                  <a:gd name="T8" fmla="*/ 3194 w 9"/>
                  <a:gd name="T9" fmla="*/ 0 h 8"/>
                  <a:gd name="T10" fmla="*/ 7173 w 9"/>
                  <a:gd name="T11" fmla="*/ 2164 h 8"/>
                  <a:gd name="T12" fmla="*/ 3860 w 9"/>
                  <a:gd name="T13" fmla="*/ 4077 h 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8">
                    <a:moveTo>
                      <a:pt x="5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7" y="0"/>
                      <a:pt x="9" y="1"/>
                      <a:pt x="9" y="4"/>
                    </a:cubicBezTo>
                    <a:cubicBezTo>
                      <a:pt x="9" y="6"/>
                      <a:pt x="7" y="8"/>
                      <a:pt x="5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835" name="Freeform 550"/>
              <p:cNvSpPr>
                <a:spLocks noChangeArrowheads="1"/>
              </p:cNvSpPr>
              <p:nvPr/>
            </p:nvSpPr>
            <p:spPr bwMode="auto">
              <a:xfrm>
                <a:off x="5085" y="436"/>
                <a:ext cx="13" cy="11"/>
              </a:xfrm>
              <a:custGeom>
                <a:avLst/>
                <a:gdLst>
                  <a:gd name="T0" fmla="*/ 2417 w 9"/>
                  <a:gd name="T1" fmla="*/ 4077 h 8"/>
                  <a:gd name="T2" fmla="*/ 0 w 9"/>
                  <a:gd name="T3" fmla="*/ 2164 h 8"/>
                  <a:gd name="T4" fmla="*/ 0 w 9"/>
                  <a:gd name="T5" fmla="*/ 2164 h 8"/>
                  <a:gd name="T6" fmla="*/ 2417 w 9"/>
                  <a:gd name="T7" fmla="*/ 0 h 8"/>
                  <a:gd name="T8" fmla="*/ 5642 w 9"/>
                  <a:gd name="T9" fmla="*/ 2164 h 8"/>
                  <a:gd name="T10" fmla="*/ 2417 w 9"/>
                  <a:gd name="T11" fmla="*/ 4077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8">
                    <a:moveTo>
                      <a:pt x="4" y="8"/>
                    </a:moveTo>
                    <a:cubicBezTo>
                      <a:pt x="2" y="8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6"/>
                      <a:pt x="7" y="8"/>
                      <a:pt x="4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836" name="Freeform 551"/>
              <p:cNvSpPr>
                <a:spLocks noChangeArrowheads="1"/>
              </p:cNvSpPr>
              <p:nvPr/>
            </p:nvSpPr>
            <p:spPr bwMode="auto">
              <a:xfrm>
                <a:off x="5354" y="450"/>
                <a:ext cx="13" cy="11"/>
              </a:xfrm>
              <a:custGeom>
                <a:avLst/>
                <a:gdLst>
                  <a:gd name="T0" fmla="*/ 2417 w 9"/>
                  <a:gd name="T1" fmla="*/ 4077 h 8"/>
                  <a:gd name="T2" fmla="*/ 2417 w 9"/>
                  <a:gd name="T3" fmla="*/ 4077 h 8"/>
                  <a:gd name="T4" fmla="*/ 0 w 9"/>
                  <a:gd name="T5" fmla="*/ 2164 h 8"/>
                  <a:gd name="T6" fmla="*/ 0 w 9"/>
                  <a:gd name="T7" fmla="*/ 2164 h 8"/>
                  <a:gd name="T8" fmla="*/ 2417 w 9"/>
                  <a:gd name="T9" fmla="*/ 0 h 8"/>
                  <a:gd name="T10" fmla="*/ 5642 w 9"/>
                  <a:gd name="T11" fmla="*/ 2164 h 8"/>
                  <a:gd name="T12" fmla="*/ 2417 w 9"/>
                  <a:gd name="T13" fmla="*/ 4077 h 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8">
                    <a:moveTo>
                      <a:pt x="4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7" y="0"/>
                      <a:pt x="9" y="1"/>
                      <a:pt x="9" y="4"/>
                    </a:cubicBezTo>
                    <a:cubicBezTo>
                      <a:pt x="9" y="6"/>
                      <a:pt x="7" y="8"/>
                      <a:pt x="4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837" name="Freeform 552"/>
              <p:cNvSpPr>
                <a:spLocks noChangeArrowheads="1"/>
              </p:cNvSpPr>
              <p:nvPr/>
            </p:nvSpPr>
            <p:spPr bwMode="auto">
              <a:xfrm>
                <a:off x="5270" y="450"/>
                <a:ext cx="12" cy="11"/>
              </a:xfrm>
              <a:custGeom>
                <a:avLst/>
                <a:gdLst>
                  <a:gd name="T0" fmla="*/ 1993 w 9"/>
                  <a:gd name="T1" fmla="*/ 4077 h 8"/>
                  <a:gd name="T2" fmla="*/ 1495 w 9"/>
                  <a:gd name="T3" fmla="*/ 4077 h 8"/>
                  <a:gd name="T4" fmla="*/ 0 w 9"/>
                  <a:gd name="T5" fmla="*/ 2164 h 8"/>
                  <a:gd name="T6" fmla="*/ 0 w 9"/>
                  <a:gd name="T7" fmla="*/ 2164 h 8"/>
                  <a:gd name="T8" fmla="*/ 1993 w 9"/>
                  <a:gd name="T9" fmla="*/ 0 h 8"/>
                  <a:gd name="T10" fmla="*/ 3489 w 9"/>
                  <a:gd name="T11" fmla="*/ 2164 h 8"/>
                  <a:gd name="T12" fmla="*/ 1993 w 9"/>
                  <a:gd name="T13" fmla="*/ 4077 h 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8">
                    <a:moveTo>
                      <a:pt x="5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1"/>
                      <a:pt x="2" y="0"/>
                      <a:pt x="5" y="0"/>
                    </a:cubicBezTo>
                    <a:cubicBezTo>
                      <a:pt x="7" y="0"/>
                      <a:pt x="9" y="1"/>
                      <a:pt x="9" y="4"/>
                    </a:cubicBezTo>
                    <a:cubicBezTo>
                      <a:pt x="9" y="6"/>
                      <a:pt x="7" y="8"/>
                      <a:pt x="5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838" name="Freeform 553"/>
              <p:cNvSpPr>
                <a:spLocks noChangeArrowheads="1"/>
              </p:cNvSpPr>
              <p:nvPr/>
            </p:nvSpPr>
            <p:spPr bwMode="auto">
              <a:xfrm>
                <a:off x="5208" y="436"/>
                <a:ext cx="12" cy="11"/>
              </a:xfrm>
              <a:custGeom>
                <a:avLst/>
                <a:gdLst>
                  <a:gd name="T0" fmla="*/ 1993 w 9"/>
                  <a:gd name="T1" fmla="*/ 4077 h 8"/>
                  <a:gd name="T2" fmla="*/ 0 w 9"/>
                  <a:gd name="T3" fmla="*/ 2164 h 8"/>
                  <a:gd name="T4" fmla="*/ 0 w 9"/>
                  <a:gd name="T5" fmla="*/ 2164 h 8"/>
                  <a:gd name="T6" fmla="*/ 1993 w 9"/>
                  <a:gd name="T7" fmla="*/ 0 h 8"/>
                  <a:gd name="T8" fmla="*/ 3489 w 9"/>
                  <a:gd name="T9" fmla="*/ 2164 h 8"/>
                  <a:gd name="T10" fmla="*/ 1993 w 9"/>
                  <a:gd name="T11" fmla="*/ 4077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8">
                    <a:moveTo>
                      <a:pt x="5" y="8"/>
                    </a:moveTo>
                    <a:cubicBezTo>
                      <a:pt x="2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6"/>
                      <a:pt x="7" y="8"/>
                      <a:pt x="5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839" name="Oval 554"/>
              <p:cNvSpPr>
                <a:spLocks noChangeArrowheads="1"/>
              </p:cNvSpPr>
              <p:nvPr/>
            </p:nvSpPr>
            <p:spPr bwMode="auto">
              <a:xfrm>
                <a:off x="5125" y="436"/>
                <a:ext cx="13" cy="11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US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840" name="Freeform 555"/>
              <p:cNvSpPr>
                <a:spLocks noChangeArrowheads="1"/>
              </p:cNvSpPr>
              <p:nvPr/>
            </p:nvSpPr>
            <p:spPr bwMode="auto">
              <a:xfrm>
                <a:off x="5063" y="450"/>
                <a:ext cx="13" cy="11"/>
              </a:xfrm>
              <a:custGeom>
                <a:avLst/>
                <a:gdLst>
                  <a:gd name="T0" fmla="*/ 3860 w 9"/>
                  <a:gd name="T1" fmla="*/ 4077 h 8"/>
                  <a:gd name="T2" fmla="*/ 3860 w 9"/>
                  <a:gd name="T3" fmla="*/ 4077 h 8"/>
                  <a:gd name="T4" fmla="*/ 0 w 9"/>
                  <a:gd name="T5" fmla="*/ 2164 h 8"/>
                  <a:gd name="T6" fmla="*/ 0 w 9"/>
                  <a:gd name="T7" fmla="*/ 2164 h 8"/>
                  <a:gd name="T8" fmla="*/ 3860 w 9"/>
                  <a:gd name="T9" fmla="*/ 0 h 8"/>
                  <a:gd name="T10" fmla="*/ 7173 w 9"/>
                  <a:gd name="T11" fmla="*/ 2164 h 8"/>
                  <a:gd name="T12" fmla="*/ 3860 w 9"/>
                  <a:gd name="T13" fmla="*/ 4077 h 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8">
                    <a:moveTo>
                      <a:pt x="5" y="8"/>
                    </a:moveTo>
                    <a:cubicBezTo>
                      <a:pt x="5" y="8"/>
                      <a:pt x="5" y="8"/>
                      <a:pt x="5" y="8"/>
                    </a:cubicBezTo>
                    <a:cubicBezTo>
                      <a:pt x="2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1"/>
                      <a:pt x="2" y="0"/>
                      <a:pt x="5" y="0"/>
                    </a:cubicBezTo>
                    <a:cubicBezTo>
                      <a:pt x="7" y="0"/>
                      <a:pt x="9" y="1"/>
                      <a:pt x="9" y="4"/>
                    </a:cubicBezTo>
                    <a:cubicBezTo>
                      <a:pt x="9" y="6"/>
                      <a:pt x="7" y="8"/>
                      <a:pt x="5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841" name="Freeform 556"/>
              <p:cNvSpPr>
                <a:spLocks noChangeArrowheads="1"/>
              </p:cNvSpPr>
              <p:nvPr/>
            </p:nvSpPr>
            <p:spPr bwMode="auto">
              <a:xfrm>
                <a:off x="5476" y="470"/>
                <a:ext cx="12" cy="13"/>
              </a:xfrm>
              <a:custGeom>
                <a:avLst/>
                <a:gdLst>
                  <a:gd name="T0" fmla="*/ 1495 w 9"/>
                  <a:gd name="T1" fmla="*/ 5642 h 9"/>
                  <a:gd name="T2" fmla="*/ 0 w 9"/>
                  <a:gd name="T3" fmla="*/ 3225 h 9"/>
                  <a:gd name="T4" fmla="*/ 0 w 9"/>
                  <a:gd name="T5" fmla="*/ 3225 h 9"/>
                  <a:gd name="T6" fmla="*/ 1495 w 9"/>
                  <a:gd name="T7" fmla="*/ 0 h 9"/>
                  <a:gd name="T8" fmla="*/ 1993 w 9"/>
                  <a:gd name="T9" fmla="*/ 0 h 9"/>
                  <a:gd name="T10" fmla="*/ 3489 w 9"/>
                  <a:gd name="T11" fmla="*/ 3225 h 9"/>
                  <a:gd name="T12" fmla="*/ 1495 w 9"/>
                  <a:gd name="T13" fmla="*/ 5642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7" y="0"/>
                      <a:pt x="9" y="2"/>
                      <a:pt x="9" y="5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842" name="Freeform 557"/>
              <p:cNvSpPr>
                <a:spLocks noChangeArrowheads="1"/>
              </p:cNvSpPr>
              <p:nvPr/>
            </p:nvSpPr>
            <p:spPr bwMode="auto">
              <a:xfrm>
                <a:off x="5435" y="470"/>
                <a:ext cx="11" cy="13"/>
              </a:xfrm>
              <a:custGeom>
                <a:avLst/>
                <a:gdLst>
                  <a:gd name="T0" fmla="*/ 2164 w 8"/>
                  <a:gd name="T1" fmla="*/ 5642 h 9"/>
                  <a:gd name="T2" fmla="*/ 0 w 8"/>
                  <a:gd name="T3" fmla="*/ 3225 h 9"/>
                  <a:gd name="T4" fmla="*/ 0 w 8"/>
                  <a:gd name="T5" fmla="*/ 3225 h 9"/>
                  <a:gd name="T6" fmla="*/ 2164 w 8"/>
                  <a:gd name="T7" fmla="*/ 0 h 9"/>
                  <a:gd name="T8" fmla="*/ 2164 w 8"/>
                  <a:gd name="T9" fmla="*/ 0 h 9"/>
                  <a:gd name="T10" fmla="*/ 4077 w 8"/>
                  <a:gd name="T11" fmla="*/ 3225 h 9"/>
                  <a:gd name="T12" fmla="*/ 2164 w 8"/>
                  <a:gd name="T13" fmla="*/ 5642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7" y="0"/>
                      <a:pt x="8" y="2"/>
                      <a:pt x="8" y="5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843" name="Freeform 558"/>
              <p:cNvSpPr>
                <a:spLocks noChangeArrowheads="1"/>
              </p:cNvSpPr>
              <p:nvPr/>
            </p:nvSpPr>
            <p:spPr bwMode="auto">
              <a:xfrm>
                <a:off x="5415" y="456"/>
                <a:ext cx="13" cy="12"/>
              </a:xfrm>
              <a:custGeom>
                <a:avLst/>
                <a:gdLst>
                  <a:gd name="T0" fmla="*/ 2417 w 9"/>
                  <a:gd name="T1" fmla="*/ 3489 h 9"/>
                  <a:gd name="T2" fmla="*/ 0 w 9"/>
                  <a:gd name="T3" fmla="*/ 1993 h 9"/>
                  <a:gd name="T4" fmla="*/ 0 w 9"/>
                  <a:gd name="T5" fmla="*/ 1993 h 9"/>
                  <a:gd name="T6" fmla="*/ 2417 w 9"/>
                  <a:gd name="T7" fmla="*/ 0 h 9"/>
                  <a:gd name="T8" fmla="*/ 5642 w 9"/>
                  <a:gd name="T9" fmla="*/ 1993 h 9"/>
                  <a:gd name="T10" fmla="*/ 2417 w 9"/>
                  <a:gd name="T11" fmla="*/ 3489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5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844" name="Freeform 559"/>
              <p:cNvSpPr>
                <a:spLocks noChangeArrowheads="1"/>
              </p:cNvSpPr>
              <p:nvPr/>
            </p:nvSpPr>
            <p:spPr bwMode="auto">
              <a:xfrm>
                <a:off x="5331" y="456"/>
                <a:ext cx="13" cy="12"/>
              </a:xfrm>
              <a:custGeom>
                <a:avLst/>
                <a:gdLst>
                  <a:gd name="T0" fmla="*/ 3860 w 9"/>
                  <a:gd name="T1" fmla="*/ 3489 h 9"/>
                  <a:gd name="T2" fmla="*/ 0 w 9"/>
                  <a:gd name="T3" fmla="*/ 1993 h 9"/>
                  <a:gd name="T4" fmla="*/ 0 w 9"/>
                  <a:gd name="T5" fmla="*/ 1993 h 9"/>
                  <a:gd name="T6" fmla="*/ 3860 w 9"/>
                  <a:gd name="T7" fmla="*/ 0 h 9"/>
                  <a:gd name="T8" fmla="*/ 7173 w 9"/>
                  <a:gd name="T9" fmla="*/ 1993 h 9"/>
                  <a:gd name="T10" fmla="*/ 3860 w 9"/>
                  <a:gd name="T11" fmla="*/ 3489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5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845" name="Freeform 560"/>
              <p:cNvSpPr>
                <a:spLocks noChangeArrowheads="1"/>
              </p:cNvSpPr>
              <p:nvPr/>
            </p:nvSpPr>
            <p:spPr bwMode="auto">
              <a:xfrm>
                <a:off x="5188" y="470"/>
                <a:ext cx="11" cy="13"/>
              </a:xfrm>
              <a:custGeom>
                <a:avLst/>
                <a:gdLst>
                  <a:gd name="T0" fmla="*/ 2164 w 8"/>
                  <a:gd name="T1" fmla="*/ 5642 h 9"/>
                  <a:gd name="T2" fmla="*/ 0 w 8"/>
                  <a:gd name="T3" fmla="*/ 3225 h 9"/>
                  <a:gd name="T4" fmla="*/ 0 w 8"/>
                  <a:gd name="T5" fmla="*/ 3225 h 9"/>
                  <a:gd name="T6" fmla="*/ 2164 w 8"/>
                  <a:gd name="T7" fmla="*/ 0 h 9"/>
                  <a:gd name="T8" fmla="*/ 2164 w 8"/>
                  <a:gd name="T9" fmla="*/ 0 h 9"/>
                  <a:gd name="T10" fmla="*/ 4077 w 8"/>
                  <a:gd name="T11" fmla="*/ 3225 h 9"/>
                  <a:gd name="T12" fmla="*/ 2164 w 8"/>
                  <a:gd name="T13" fmla="*/ 5642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1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1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6" y="0"/>
                      <a:pt x="8" y="2"/>
                      <a:pt x="8" y="5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846" name="Freeform 561"/>
              <p:cNvSpPr>
                <a:spLocks noChangeArrowheads="1"/>
              </p:cNvSpPr>
              <p:nvPr/>
            </p:nvSpPr>
            <p:spPr bwMode="auto">
              <a:xfrm>
                <a:off x="5601" y="470"/>
                <a:ext cx="12" cy="13"/>
              </a:xfrm>
              <a:custGeom>
                <a:avLst/>
                <a:gdLst>
                  <a:gd name="T0" fmla="*/ 1993 w 9"/>
                  <a:gd name="T1" fmla="*/ 5642 h 9"/>
                  <a:gd name="T2" fmla="*/ 0 w 9"/>
                  <a:gd name="T3" fmla="*/ 3225 h 9"/>
                  <a:gd name="T4" fmla="*/ 1495 w 9"/>
                  <a:gd name="T5" fmla="*/ 0 h 9"/>
                  <a:gd name="T6" fmla="*/ 1993 w 9"/>
                  <a:gd name="T7" fmla="*/ 0 h 9"/>
                  <a:gd name="T8" fmla="*/ 3489 w 9"/>
                  <a:gd name="T9" fmla="*/ 3225 h 9"/>
                  <a:gd name="T10" fmla="*/ 1993 w 9"/>
                  <a:gd name="T11" fmla="*/ 5642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7" y="0"/>
                      <a:pt x="9" y="2"/>
                      <a:pt x="9" y="5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847" name="Freeform 562"/>
              <p:cNvSpPr>
                <a:spLocks noChangeArrowheads="1"/>
              </p:cNvSpPr>
              <p:nvPr/>
            </p:nvSpPr>
            <p:spPr bwMode="auto">
              <a:xfrm>
                <a:off x="5581" y="456"/>
                <a:ext cx="10" cy="12"/>
              </a:xfrm>
              <a:custGeom>
                <a:avLst/>
                <a:gdLst>
                  <a:gd name="T0" fmla="*/ 868 w 8"/>
                  <a:gd name="T1" fmla="*/ 3489 h 9"/>
                  <a:gd name="T2" fmla="*/ 0 w 8"/>
                  <a:gd name="T3" fmla="*/ 1993 h 9"/>
                  <a:gd name="T4" fmla="*/ 0 w 8"/>
                  <a:gd name="T5" fmla="*/ 1993 h 9"/>
                  <a:gd name="T6" fmla="*/ 868 w 8"/>
                  <a:gd name="T7" fmla="*/ 0 h 9"/>
                  <a:gd name="T8" fmla="*/ 1780 w 8"/>
                  <a:gd name="T9" fmla="*/ 1993 h 9"/>
                  <a:gd name="T10" fmla="*/ 868 w 8"/>
                  <a:gd name="T11" fmla="*/ 3489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5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848" name="Freeform 563"/>
              <p:cNvSpPr>
                <a:spLocks noChangeArrowheads="1"/>
              </p:cNvSpPr>
              <p:nvPr/>
            </p:nvSpPr>
            <p:spPr bwMode="auto">
              <a:xfrm>
                <a:off x="5559" y="470"/>
                <a:ext cx="13" cy="13"/>
              </a:xfrm>
              <a:custGeom>
                <a:avLst/>
                <a:gdLst>
                  <a:gd name="T0" fmla="*/ 3194 w 9"/>
                  <a:gd name="T1" fmla="*/ 5642 h 9"/>
                  <a:gd name="T2" fmla="*/ 0 w 9"/>
                  <a:gd name="T3" fmla="*/ 3225 h 9"/>
                  <a:gd name="T4" fmla="*/ 0 w 9"/>
                  <a:gd name="T5" fmla="*/ 3225 h 9"/>
                  <a:gd name="T6" fmla="*/ 3194 w 9"/>
                  <a:gd name="T7" fmla="*/ 0 h 9"/>
                  <a:gd name="T8" fmla="*/ 3194 w 9"/>
                  <a:gd name="T9" fmla="*/ 0 h 9"/>
                  <a:gd name="T10" fmla="*/ 7173 w 9"/>
                  <a:gd name="T11" fmla="*/ 3225 h 9"/>
                  <a:gd name="T12" fmla="*/ 3194 w 9"/>
                  <a:gd name="T13" fmla="*/ 5642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7" y="0"/>
                      <a:pt x="9" y="2"/>
                      <a:pt x="9" y="5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849" name="Freeform 564"/>
              <p:cNvSpPr>
                <a:spLocks noChangeArrowheads="1"/>
              </p:cNvSpPr>
              <p:nvPr/>
            </p:nvSpPr>
            <p:spPr bwMode="auto">
              <a:xfrm>
                <a:off x="5538" y="456"/>
                <a:ext cx="12" cy="12"/>
              </a:xfrm>
              <a:custGeom>
                <a:avLst/>
                <a:gdLst>
                  <a:gd name="T0" fmla="*/ 1993 w 9"/>
                  <a:gd name="T1" fmla="*/ 3489 h 9"/>
                  <a:gd name="T2" fmla="*/ 0 w 9"/>
                  <a:gd name="T3" fmla="*/ 1993 h 9"/>
                  <a:gd name="T4" fmla="*/ 0 w 9"/>
                  <a:gd name="T5" fmla="*/ 1993 h 9"/>
                  <a:gd name="T6" fmla="*/ 1993 w 9"/>
                  <a:gd name="T7" fmla="*/ 0 h 9"/>
                  <a:gd name="T8" fmla="*/ 3489 w 9"/>
                  <a:gd name="T9" fmla="*/ 1993 h 9"/>
                  <a:gd name="T10" fmla="*/ 1993 w 9"/>
                  <a:gd name="T11" fmla="*/ 3489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5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850" name="Freeform 565"/>
              <p:cNvSpPr>
                <a:spLocks noChangeArrowheads="1"/>
              </p:cNvSpPr>
              <p:nvPr/>
            </p:nvSpPr>
            <p:spPr bwMode="auto">
              <a:xfrm>
                <a:off x="5518" y="470"/>
                <a:ext cx="11" cy="13"/>
              </a:xfrm>
              <a:custGeom>
                <a:avLst/>
                <a:gdLst>
                  <a:gd name="T0" fmla="*/ 2164 w 8"/>
                  <a:gd name="T1" fmla="*/ 5642 h 9"/>
                  <a:gd name="T2" fmla="*/ 0 w 8"/>
                  <a:gd name="T3" fmla="*/ 3225 h 9"/>
                  <a:gd name="T4" fmla="*/ 0 w 8"/>
                  <a:gd name="T5" fmla="*/ 3225 h 9"/>
                  <a:gd name="T6" fmla="*/ 2164 w 8"/>
                  <a:gd name="T7" fmla="*/ 0 h 9"/>
                  <a:gd name="T8" fmla="*/ 2164 w 8"/>
                  <a:gd name="T9" fmla="*/ 0 h 9"/>
                  <a:gd name="T10" fmla="*/ 4077 w 8"/>
                  <a:gd name="T11" fmla="*/ 3225 h 9"/>
                  <a:gd name="T12" fmla="*/ 2164 w 8"/>
                  <a:gd name="T13" fmla="*/ 5642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1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6" y="0"/>
                      <a:pt x="8" y="2"/>
                      <a:pt x="8" y="5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851" name="Freeform 566"/>
              <p:cNvSpPr>
                <a:spLocks noChangeArrowheads="1"/>
              </p:cNvSpPr>
              <p:nvPr/>
            </p:nvSpPr>
            <p:spPr bwMode="auto">
              <a:xfrm>
                <a:off x="5498" y="456"/>
                <a:ext cx="12" cy="12"/>
              </a:xfrm>
              <a:custGeom>
                <a:avLst/>
                <a:gdLst>
                  <a:gd name="T0" fmla="*/ 1495 w 9"/>
                  <a:gd name="T1" fmla="*/ 3489 h 9"/>
                  <a:gd name="T2" fmla="*/ 0 w 9"/>
                  <a:gd name="T3" fmla="*/ 1993 h 9"/>
                  <a:gd name="T4" fmla="*/ 0 w 9"/>
                  <a:gd name="T5" fmla="*/ 1993 h 9"/>
                  <a:gd name="T6" fmla="*/ 1495 w 9"/>
                  <a:gd name="T7" fmla="*/ 0 h 9"/>
                  <a:gd name="T8" fmla="*/ 3489 w 9"/>
                  <a:gd name="T9" fmla="*/ 1993 h 9"/>
                  <a:gd name="T10" fmla="*/ 1495 w 9"/>
                  <a:gd name="T11" fmla="*/ 3489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5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852" name="Oval 567"/>
              <p:cNvSpPr>
                <a:spLocks noChangeArrowheads="1"/>
              </p:cNvSpPr>
              <p:nvPr/>
            </p:nvSpPr>
            <p:spPr bwMode="auto">
              <a:xfrm>
                <a:off x="5455" y="456"/>
                <a:ext cx="13" cy="12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US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853" name="Oval 568"/>
              <p:cNvSpPr>
                <a:spLocks noChangeArrowheads="1"/>
              </p:cNvSpPr>
              <p:nvPr/>
            </p:nvSpPr>
            <p:spPr bwMode="auto">
              <a:xfrm>
                <a:off x="5744" y="456"/>
                <a:ext cx="13" cy="12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US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854" name="Freeform 569"/>
              <p:cNvSpPr>
                <a:spLocks noChangeArrowheads="1"/>
              </p:cNvSpPr>
              <p:nvPr/>
            </p:nvSpPr>
            <p:spPr bwMode="auto">
              <a:xfrm>
                <a:off x="5723" y="470"/>
                <a:ext cx="13" cy="13"/>
              </a:xfrm>
              <a:custGeom>
                <a:avLst/>
                <a:gdLst>
                  <a:gd name="T0" fmla="*/ 3225 w 9"/>
                  <a:gd name="T1" fmla="*/ 5642 h 9"/>
                  <a:gd name="T2" fmla="*/ 0 w 9"/>
                  <a:gd name="T3" fmla="*/ 3225 h 9"/>
                  <a:gd name="T4" fmla="*/ 0 w 9"/>
                  <a:gd name="T5" fmla="*/ 3225 h 9"/>
                  <a:gd name="T6" fmla="*/ 3225 w 9"/>
                  <a:gd name="T7" fmla="*/ 0 h 9"/>
                  <a:gd name="T8" fmla="*/ 3225 w 9"/>
                  <a:gd name="T9" fmla="*/ 0 h 9"/>
                  <a:gd name="T10" fmla="*/ 5642 w 9"/>
                  <a:gd name="T11" fmla="*/ 3225 h 9"/>
                  <a:gd name="T12" fmla="*/ 3225 w 9"/>
                  <a:gd name="T13" fmla="*/ 5642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7" y="0"/>
                      <a:pt x="9" y="2"/>
                      <a:pt x="9" y="5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855" name="Freeform 570"/>
              <p:cNvSpPr>
                <a:spLocks noChangeArrowheads="1"/>
              </p:cNvSpPr>
              <p:nvPr/>
            </p:nvSpPr>
            <p:spPr bwMode="auto">
              <a:xfrm>
                <a:off x="5704" y="456"/>
                <a:ext cx="11" cy="12"/>
              </a:xfrm>
              <a:custGeom>
                <a:avLst/>
                <a:gdLst>
                  <a:gd name="T0" fmla="*/ 2164 w 8"/>
                  <a:gd name="T1" fmla="*/ 3489 h 9"/>
                  <a:gd name="T2" fmla="*/ 0 w 8"/>
                  <a:gd name="T3" fmla="*/ 1993 h 9"/>
                  <a:gd name="T4" fmla="*/ 0 w 8"/>
                  <a:gd name="T5" fmla="*/ 1993 h 9"/>
                  <a:gd name="T6" fmla="*/ 2164 w 8"/>
                  <a:gd name="T7" fmla="*/ 0 h 9"/>
                  <a:gd name="T8" fmla="*/ 4077 w 8"/>
                  <a:gd name="T9" fmla="*/ 1993 h 9"/>
                  <a:gd name="T10" fmla="*/ 2164 w 8"/>
                  <a:gd name="T11" fmla="*/ 3489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5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856" name="Freeform 571"/>
              <p:cNvSpPr>
                <a:spLocks noChangeArrowheads="1"/>
              </p:cNvSpPr>
              <p:nvPr/>
            </p:nvSpPr>
            <p:spPr bwMode="auto">
              <a:xfrm>
                <a:off x="5683" y="470"/>
                <a:ext cx="13" cy="13"/>
              </a:xfrm>
              <a:custGeom>
                <a:avLst/>
                <a:gdLst>
                  <a:gd name="T0" fmla="*/ 2417 w 9"/>
                  <a:gd name="T1" fmla="*/ 5642 h 9"/>
                  <a:gd name="T2" fmla="*/ 0 w 9"/>
                  <a:gd name="T3" fmla="*/ 3225 h 9"/>
                  <a:gd name="T4" fmla="*/ 2417 w 9"/>
                  <a:gd name="T5" fmla="*/ 0 h 9"/>
                  <a:gd name="T6" fmla="*/ 2417 w 9"/>
                  <a:gd name="T7" fmla="*/ 0 h 9"/>
                  <a:gd name="T8" fmla="*/ 5642 w 9"/>
                  <a:gd name="T9" fmla="*/ 3225 h 9"/>
                  <a:gd name="T10" fmla="*/ 2417 w 9"/>
                  <a:gd name="T11" fmla="*/ 5642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7" y="0"/>
                      <a:pt x="9" y="2"/>
                      <a:pt x="9" y="5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857" name="Freeform 572"/>
              <p:cNvSpPr>
                <a:spLocks noChangeArrowheads="1"/>
              </p:cNvSpPr>
              <p:nvPr/>
            </p:nvSpPr>
            <p:spPr bwMode="auto">
              <a:xfrm>
                <a:off x="5662" y="456"/>
                <a:ext cx="13" cy="12"/>
              </a:xfrm>
              <a:custGeom>
                <a:avLst/>
                <a:gdLst>
                  <a:gd name="T0" fmla="*/ 3860 w 9"/>
                  <a:gd name="T1" fmla="*/ 3489 h 9"/>
                  <a:gd name="T2" fmla="*/ 0 w 9"/>
                  <a:gd name="T3" fmla="*/ 1993 h 9"/>
                  <a:gd name="T4" fmla="*/ 0 w 9"/>
                  <a:gd name="T5" fmla="*/ 1993 h 9"/>
                  <a:gd name="T6" fmla="*/ 3860 w 9"/>
                  <a:gd name="T7" fmla="*/ 0 h 9"/>
                  <a:gd name="T8" fmla="*/ 7173 w 9"/>
                  <a:gd name="T9" fmla="*/ 1993 h 9"/>
                  <a:gd name="T10" fmla="*/ 3860 w 9"/>
                  <a:gd name="T11" fmla="*/ 3489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5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858" name="Freeform 573"/>
              <p:cNvSpPr>
                <a:spLocks noChangeArrowheads="1"/>
              </p:cNvSpPr>
              <p:nvPr/>
            </p:nvSpPr>
            <p:spPr bwMode="auto">
              <a:xfrm>
                <a:off x="5642" y="470"/>
                <a:ext cx="11" cy="13"/>
              </a:xfrm>
              <a:custGeom>
                <a:avLst/>
                <a:gdLst>
                  <a:gd name="T0" fmla="*/ 2164 w 8"/>
                  <a:gd name="T1" fmla="*/ 5642 h 9"/>
                  <a:gd name="T2" fmla="*/ 0 w 8"/>
                  <a:gd name="T3" fmla="*/ 3225 h 9"/>
                  <a:gd name="T4" fmla="*/ 0 w 8"/>
                  <a:gd name="T5" fmla="*/ 2417 h 9"/>
                  <a:gd name="T6" fmla="*/ 2164 w 8"/>
                  <a:gd name="T7" fmla="*/ 0 h 9"/>
                  <a:gd name="T8" fmla="*/ 2164 w 8"/>
                  <a:gd name="T9" fmla="*/ 0 h 9"/>
                  <a:gd name="T10" fmla="*/ 4077 w 8"/>
                  <a:gd name="T11" fmla="*/ 3225 h 9"/>
                  <a:gd name="T12" fmla="*/ 4077 w 8"/>
                  <a:gd name="T13" fmla="*/ 3225 h 9"/>
                  <a:gd name="T14" fmla="*/ 2164 w 8"/>
                  <a:gd name="T15" fmla="*/ 5642 h 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6" y="0"/>
                      <a:pt x="8" y="2"/>
                      <a:pt x="8" y="5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859" name="Oval 574"/>
              <p:cNvSpPr>
                <a:spLocks noChangeArrowheads="1"/>
              </p:cNvSpPr>
              <p:nvPr/>
            </p:nvSpPr>
            <p:spPr bwMode="auto">
              <a:xfrm>
                <a:off x="5621" y="456"/>
                <a:ext cx="13" cy="12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US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860" name="Freeform 575"/>
              <p:cNvSpPr>
                <a:spLocks noChangeArrowheads="1"/>
              </p:cNvSpPr>
              <p:nvPr/>
            </p:nvSpPr>
            <p:spPr bwMode="auto">
              <a:xfrm>
                <a:off x="5393" y="470"/>
                <a:ext cx="13" cy="13"/>
              </a:xfrm>
              <a:custGeom>
                <a:avLst/>
                <a:gdLst>
                  <a:gd name="T0" fmla="*/ 3225 w 9"/>
                  <a:gd name="T1" fmla="*/ 5642 h 9"/>
                  <a:gd name="T2" fmla="*/ 0 w 9"/>
                  <a:gd name="T3" fmla="*/ 3225 h 9"/>
                  <a:gd name="T4" fmla="*/ 0 w 9"/>
                  <a:gd name="T5" fmla="*/ 3225 h 9"/>
                  <a:gd name="T6" fmla="*/ 3225 w 9"/>
                  <a:gd name="T7" fmla="*/ 0 h 9"/>
                  <a:gd name="T8" fmla="*/ 3225 w 9"/>
                  <a:gd name="T9" fmla="*/ 0 h 9"/>
                  <a:gd name="T10" fmla="*/ 5642 w 9"/>
                  <a:gd name="T11" fmla="*/ 3225 h 9"/>
                  <a:gd name="T12" fmla="*/ 3225 w 9"/>
                  <a:gd name="T13" fmla="*/ 5642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7" y="0"/>
                      <a:pt x="9" y="2"/>
                      <a:pt x="9" y="5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861" name="Freeform 576"/>
              <p:cNvSpPr>
                <a:spLocks noChangeArrowheads="1"/>
              </p:cNvSpPr>
              <p:nvPr/>
            </p:nvSpPr>
            <p:spPr bwMode="auto">
              <a:xfrm>
                <a:off x="5312" y="470"/>
                <a:ext cx="11" cy="13"/>
              </a:xfrm>
              <a:custGeom>
                <a:avLst/>
                <a:gdLst>
                  <a:gd name="T0" fmla="*/ 2164 w 8"/>
                  <a:gd name="T1" fmla="*/ 5642 h 9"/>
                  <a:gd name="T2" fmla="*/ 0 w 8"/>
                  <a:gd name="T3" fmla="*/ 3225 h 9"/>
                  <a:gd name="T4" fmla="*/ 0 w 8"/>
                  <a:gd name="T5" fmla="*/ 3225 h 9"/>
                  <a:gd name="T6" fmla="*/ 2164 w 8"/>
                  <a:gd name="T7" fmla="*/ 0 h 9"/>
                  <a:gd name="T8" fmla="*/ 2164 w 8"/>
                  <a:gd name="T9" fmla="*/ 0 h 9"/>
                  <a:gd name="T10" fmla="*/ 4077 w 8"/>
                  <a:gd name="T11" fmla="*/ 3225 h 9"/>
                  <a:gd name="T12" fmla="*/ 2164 w 8"/>
                  <a:gd name="T13" fmla="*/ 5642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6" y="0"/>
                      <a:pt x="8" y="2"/>
                      <a:pt x="8" y="5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862" name="Freeform 577"/>
              <p:cNvSpPr>
                <a:spLocks noChangeArrowheads="1"/>
              </p:cNvSpPr>
              <p:nvPr/>
            </p:nvSpPr>
            <p:spPr bwMode="auto">
              <a:xfrm>
                <a:off x="5250" y="456"/>
                <a:ext cx="11" cy="12"/>
              </a:xfrm>
              <a:custGeom>
                <a:avLst/>
                <a:gdLst>
                  <a:gd name="T0" fmla="*/ 2164 w 8"/>
                  <a:gd name="T1" fmla="*/ 3489 h 9"/>
                  <a:gd name="T2" fmla="*/ 0 w 8"/>
                  <a:gd name="T3" fmla="*/ 1993 h 9"/>
                  <a:gd name="T4" fmla="*/ 0 w 8"/>
                  <a:gd name="T5" fmla="*/ 1993 h 9"/>
                  <a:gd name="T6" fmla="*/ 2164 w 8"/>
                  <a:gd name="T7" fmla="*/ 0 h 9"/>
                  <a:gd name="T8" fmla="*/ 4077 w 8"/>
                  <a:gd name="T9" fmla="*/ 1993 h 9"/>
                  <a:gd name="T10" fmla="*/ 2164 w 8"/>
                  <a:gd name="T11" fmla="*/ 3489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5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863" name="Freeform 578"/>
              <p:cNvSpPr>
                <a:spLocks noChangeArrowheads="1"/>
              </p:cNvSpPr>
              <p:nvPr/>
            </p:nvSpPr>
            <p:spPr bwMode="auto">
              <a:xfrm>
                <a:off x="5168" y="456"/>
                <a:ext cx="11" cy="12"/>
              </a:xfrm>
              <a:custGeom>
                <a:avLst/>
                <a:gdLst>
                  <a:gd name="T0" fmla="*/ 2164 w 8"/>
                  <a:gd name="T1" fmla="*/ 3489 h 9"/>
                  <a:gd name="T2" fmla="*/ 0 w 8"/>
                  <a:gd name="T3" fmla="*/ 1993 h 9"/>
                  <a:gd name="T4" fmla="*/ 0 w 8"/>
                  <a:gd name="T5" fmla="*/ 1993 h 9"/>
                  <a:gd name="T6" fmla="*/ 2164 w 8"/>
                  <a:gd name="T7" fmla="*/ 0 h 9"/>
                  <a:gd name="T8" fmla="*/ 4077 w 8"/>
                  <a:gd name="T9" fmla="*/ 1993 h 9"/>
                  <a:gd name="T10" fmla="*/ 2164 w 8"/>
                  <a:gd name="T11" fmla="*/ 3489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8" y="2"/>
                      <a:pt x="8" y="5"/>
                    </a:cubicBezTo>
                    <a:cubicBezTo>
                      <a:pt x="8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864" name="Freeform 579"/>
              <p:cNvSpPr>
                <a:spLocks noChangeArrowheads="1"/>
              </p:cNvSpPr>
              <p:nvPr/>
            </p:nvSpPr>
            <p:spPr bwMode="auto">
              <a:xfrm>
                <a:off x="5106" y="470"/>
                <a:ext cx="11" cy="13"/>
              </a:xfrm>
              <a:custGeom>
                <a:avLst/>
                <a:gdLst>
                  <a:gd name="T0" fmla="*/ 2164 w 8"/>
                  <a:gd name="T1" fmla="*/ 5642 h 9"/>
                  <a:gd name="T2" fmla="*/ 0 w 8"/>
                  <a:gd name="T3" fmla="*/ 3225 h 9"/>
                  <a:gd name="T4" fmla="*/ 0 w 8"/>
                  <a:gd name="T5" fmla="*/ 3225 h 9"/>
                  <a:gd name="T6" fmla="*/ 2164 w 8"/>
                  <a:gd name="T7" fmla="*/ 0 h 9"/>
                  <a:gd name="T8" fmla="*/ 2164 w 8"/>
                  <a:gd name="T9" fmla="*/ 0 h 9"/>
                  <a:gd name="T10" fmla="*/ 4077 w 8"/>
                  <a:gd name="T11" fmla="*/ 3225 h 9"/>
                  <a:gd name="T12" fmla="*/ 2164 w 8"/>
                  <a:gd name="T13" fmla="*/ 5642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7" y="0"/>
                      <a:pt x="8" y="2"/>
                      <a:pt x="8" y="5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865" name="Freeform 580"/>
              <p:cNvSpPr>
                <a:spLocks noChangeArrowheads="1"/>
              </p:cNvSpPr>
              <p:nvPr/>
            </p:nvSpPr>
            <p:spPr bwMode="auto">
              <a:xfrm>
                <a:off x="5373" y="456"/>
                <a:ext cx="11" cy="12"/>
              </a:xfrm>
              <a:custGeom>
                <a:avLst/>
                <a:gdLst>
                  <a:gd name="T0" fmla="*/ 2164 w 8"/>
                  <a:gd name="T1" fmla="*/ 3489 h 9"/>
                  <a:gd name="T2" fmla="*/ 0 w 8"/>
                  <a:gd name="T3" fmla="*/ 1993 h 9"/>
                  <a:gd name="T4" fmla="*/ 0 w 8"/>
                  <a:gd name="T5" fmla="*/ 1993 h 9"/>
                  <a:gd name="T6" fmla="*/ 2164 w 8"/>
                  <a:gd name="T7" fmla="*/ 0 h 9"/>
                  <a:gd name="T8" fmla="*/ 4077 w 8"/>
                  <a:gd name="T9" fmla="*/ 1993 h 9"/>
                  <a:gd name="T10" fmla="*/ 2164 w 8"/>
                  <a:gd name="T11" fmla="*/ 3489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5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866" name="Freeform 581"/>
              <p:cNvSpPr>
                <a:spLocks noChangeArrowheads="1"/>
              </p:cNvSpPr>
              <p:nvPr/>
            </p:nvSpPr>
            <p:spPr bwMode="auto">
              <a:xfrm>
                <a:off x="5291" y="456"/>
                <a:ext cx="13" cy="12"/>
              </a:xfrm>
              <a:custGeom>
                <a:avLst/>
                <a:gdLst>
                  <a:gd name="T0" fmla="*/ 2417 w 9"/>
                  <a:gd name="T1" fmla="*/ 3489 h 9"/>
                  <a:gd name="T2" fmla="*/ 0 w 9"/>
                  <a:gd name="T3" fmla="*/ 1993 h 9"/>
                  <a:gd name="T4" fmla="*/ 0 w 9"/>
                  <a:gd name="T5" fmla="*/ 1993 h 9"/>
                  <a:gd name="T6" fmla="*/ 2417 w 9"/>
                  <a:gd name="T7" fmla="*/ 0 h 9"/>
                  <a:gd name="T8" fmla="*/ 5642 w 9"/>
                  <a:gd name="T9" fmla="*/ 1993 h 9"/>
                  <a:gd name="T10" fmla="*/ 2417 w 9"/>
                  <a:gd name="T11" fmla="*/ 3489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5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867" name="Freeform 582"/>
              <p:cNvSpPr>
                <a:spLocks noChangeArrowheads="1"/>
              </p:cNvSpPr>
              <p:nvPr/>
            </p:nvSpPr>
            <p:spPr bwMode="auto">
              <a:xfrm>
                <a:off x="5229" y="470"/>
                <a:ext cx="13" cy="13"/>
              </a:xfrm>
              <a:custGeom>
                <a:avLst/>
                <a:gdLst>
                  <a:gd name="T0" fmla="*/ 3194 w 9"/>
                  <a:gd name="T1" fmla="*/ 5642 h 9"/>
                  <a:gd name="T2" fmla="*/ 0 w 9"/>
                  <a:gd name="T3" fmla="*/ 3225 h 9"/>
                  <a:gd name="T4" fmla="*/ 3194 w 9"/>
                  <a:gd name="T5" fmla="*/ 0 h 9"/>
                  <a:gd name="T6" fmla="*/ 3194 w 9"/>
                  <a:gd name="T7" fmla="*/ 0 h 9"/>
                  <a:gd name="T8" fmla="*/ 7173 w 9"/>
                  <a:gd name="T9" fmla="*/ 3225 h 9"/>
                  <a:gd name="T10" fmla="*/ 3194 w 9"/>
                  <a:gd name="T11" fmla="*/ 5642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7" y="0"/>
                      <a:pt x="9" y="2"/>
                      <a:pt x="9" y="5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868" name="Freeform 583"/>
              <p:cNvSpPr>
                <a:spLocks noChangeArrowheads="1"/>
              </p:cNvSpPr>
              <p:nvPr/>
            </p:nvSpPr>
            <p:spPr bwMode="auto">
              <a:xfrm>
                <a:off x="5146" y="470"/>
                <a:ext cx="13" cy="13"/>
              </a:xfrm>
              <a:custGeom>
                <a:avLst/>
                <a:gdLst>
                  <a:gd name="T0" fmla="*/ 3194 w 9"/>
                  <a:gd name="T1" fmla="*/ 5642 h 9"/>
                  <a:gd name="T2" fmla="*/ 0 w 9"/>
                  <a:gd name="T3" fmla="*/ 3225 h 9"/>
                  <a:gd name="T4" fmla="*/ 0 w 9"/>
                  <a:gd name="T5" fmla="*/ 3225 h 9"/>
                  <a:gd name="T6" fmla="*/ 3194 w 9"/>
                  <a:gd name="T7" fmla="*/ 0 h 9"/>
                  <a:gd name="T8" fmla="*/ 3860 w 9"/>
                  <a:gd name="T9" fmla="*/ 0 h 9"/>
                  <a:gd name="T10" fmla="*/ 7173 w 9"/>
                  <a:gd name="T11" fmla="*/ 3225 h 9"/>
                  <a:gd name="T12" fmla="*/ 3194 w 9"/>
                  <a:gd name="T13" fmla="*/ 5642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7" y="0"/>
                      <a:pt x="9" y="2"/>
                      <a:pt x="9" y="5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869" name="Freeform 584"/>
              <p:cNvSpPr>
                <a:spLocks noChangeArrowheads="1"/>
              </p:cNvSpPr>
              <p:nvPr/>
            </p:nvSpPr>
            <p:spPr bwMode="auto">
              <a:xfrm>
                <a:off x="5085" y="456"/>
                <a:ext cx="13" cy="12"/>
              </a:xfrm>
              <a:custGeom>
                <a:avLst/>
                <a:gdLst>
                  <a:gd name="T0" fmla="*/ 2417 w 9"/>
                  <a:gd name="T1" fmla="*/ 3489 h 9"/>
                  <a:gd name="T2" fmla="*/ 0 w 9"/>
                  <a:gd name="T3" fmla="*/ 1993 h 9"/>
                  <a:gd name="T4" fmla="*/ 0 w 9"/>
                  <a:gd name="T5" fmla="*/ 1993 h 9"/>
                  <a:gd name="T6" fmla="*/ 2417 w 9"/>
                  <a:gd name="T7" fmla="*/ 0 h 9"/>
                  <a:gd name="T8" fmla="*/ 5642 w 9"/>
                  <a:gd name="T9" fmla="*/ 1993 h 9"/>
                  <a:gd name="T10" fmla="*/ 2417 w 9"/>
                  <a:gd name="T11" fmla="*/ 3489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5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870" name="Freeform 585"/>
              <p:cNvSpPr>
                <a:spLocks noChangeArrowheads="1"/>
              </p:cNvSpPr>
              <p:nvPr/>
            </p:nvSpPr>
            <p:spPr bwMode="auto">
              <a:xfrm>
                <a:off x="5044" y="456"/>
                <a:ext cx="11" cy="12"/>
              </a:xfrm>
              <a:custGeom>
                <a:avLst/>
                <a:gdLst>
                  <a:gd name="T0" fmla="*/ 2164 w 8"/>
                  <a:gd name="T1" fmla="*/ 3489 h 9"/>
                  <a:gd name="T2" fmla="*/ 0 w 8"/>
                  <a:gd name="T3" fmla="*/ 1993 h 9"/>
                  <a:gd name="T4" fmla="*/ 0 w 8"/>
                  <a:gd name="T5" fmla="*/ 1993 h 9"/>
                  <a:gd name="T6" fmla="*/ 2164 w 8"/>
                  <a:gd name="T7" fmla="*/ 0 h 9"/>
                  <a:gd name="T8" fmla="*/ 4077 w 8"/>
                  <a:gd name="T9" fmla="*/ 1993 h 9"/>
                  <a:gd name="T10" fmla="*/ 2164 w 8"/>
                  <a:gd name="T11" fmla="*/ 3489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5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871" name="Freeform 586"/>
              <p:cNvSpPr>
                <a:spLocks noChangeArrowheads="1"/>
              </p:cNvSpPr>
              <p:nvPr/>
            </p:nvSpPr>
            <p:spPr bwMode="auto">
              <a:xfrm>
                <a:off x="5354" y="470"/>
                <a:ext cx="13" cy="13"/>
              </a:xfrm>
              <a:custGeom>
                <a:avLst/>
                <a:gdLst>
                  <a:gd name="T0" fmla="*/ 2417 w 9"/>
                  <a:gd name="T1" fmla="*/ 5642 h 9"/>
                  <a:gd name="T2" fmla="*/ 0 w 9"/>
                  <a:gd name="T3" fmla="*/ 3225 h 9"/>
                  <a:gd name="T4" fmla="*/ 0 w 9"/>
                  <a:gd name="T5" fmla="*/ 3225 h 9"/>
                  <a:gd name="T6" fmla="*/ 2417 w 9"/>
                  <a:gd name="T7" fmla="*/ 0 h 9"/>
                  <a:gd name="T8" fmla="*/ 2417 w 9"/>
                  <a:gd name="T9" fmla="*/ 0 h 9"/>
                  <a:gd name="T10" fmla="*/ 5642 w 9"/>
                  <a:gd name="T11" fmla="*/ 3225 h 9"/>
                  <a:gd name="T12" fmla="*/ 2417 w 9"/>
                  <a:gd name="T13" fmla="*/ 5642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7" y="0"/>
                      <a:pt x="9" y="2"/>
                      <a:pt x="9" y="5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872" name="Freeform 587"/>
              <p:cNvSpPr>
                <a:spLocks noChangeArrowheads="1"/>
              </p:cNvSpPr>
              <p:nvPr/>
            </p:nvSpPr>
            <p:spPr bwMode="auto">
              <a:xfrm>
                <a:off x="5270" y="470"/>
                <a:ext cx="12" cy="13"/>
              </a:xfrm>
              <a:custGeom>
                <a:avLst/>
                <a:gdLst>
                  <a:gd name="T0" fmla="*/ 1993 w 9"/>
                  <a:gd name="T1" fmla="*/ 5642 h 9"/>
                  <a:gd name="T2" fmla="*/ 0 w 9"/>
                  <a:gd name="T3" fmla="*/ 3225 h 9"/>
                  <a:gd name="T4" fmla="*/ 0 w 9"/>
                  <a:gd name="T5" fmla="*/ 3225 h 9"/>
                  <a:gd name="T6" fmla="*/ 1495 w 9"/>
                  <a:gd name="T7" fmla="*/ 0 h 9"/>
                  <a:gd name="T8" fmla="*/ 1993 w 9"/>
                  <a:gd name="T9" fmla="*/ 0 h 9"/>
                  <a:gd name="T10" fmla="*/ 3489 w 9"/>
                  <a:gd name="T11" fmla="*/ 3225 h 9"/>
                  <a:gd name="T12" fmla="*/ 1993 w 9"/>
                  <a:gd name="T13" fmla="*/ 5642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7" y="0"/>
                      <a:pt x="9" y="2"/>
                      <a:pt x="9" y="5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873" name="Freeform 588"/>
              <p:cNvSpPr>
                <a:spLocks noChangeArrowheads="1"/>
              </p:cNvSpPr>
              <p:nvPr/>
            </p:nvSpPr>
            <p:spPr bwMode="auto">
              <a:xfrm>
                <a:off x="5208" y="456"/>
                <a:ext cx="12" cy="12"/>
              </a:xfrm>
              <a:custGeom>
                <a:avLst/>
                <a:gdLst>
                  <a:gd name="T0" fmla="*/ 1993 w 9"/>
                  <a:gd name="T1" fmla="*/ 3489 h 9"/>
                  <a:gd name="T2" fmla="*/ 0 w 9"/>
                  <a:gd name="T3" fmla="*/ 1993 h 9"/>
                  <a:gd name="T4" fmla="*/ 0 w 9"/>
                  <a:gd name="T5" fmla="*/ 1993 h 9"/>
                  <a:gd name="T6" fmla="*/ 1993 w 9"/>
                  <a:gd name="T7" fmla="*/ 0 h 9"/>
                  <a:gd name="T8" fmla="*/ 3489 w 9"/>
                  <a:gd name="T9" fmla="*/ 1993 h 9"/>
                  <a:gd name="T10" fmla="*/ 1993 w 9"/>
                  <a:gd name="T11" fmla="*/ 3489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5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874" name="Oval 589"/>
              <p:cNvSpPr>
                <a:spLocks noChangeArrowheads="1"/>
              </p:cNvSpPr>
              <p:nvPr/>
            </p:nvSpPr>
            <p:spPr bwMode="auto">
              <a:xfrm>
                <a:off x="5125" y="456"/>
                <a:ext cx="13" cy="12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US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875" name="Freeform 590"/>
              <p:cNvSpPr>
                <a:spLocks noChangeArrowheads="1"/>
              </p:cNvSpPr>
              <p:nvPr/>
            </p:nvSpPr>
            <p:spPr bwMode="auto">
              <a:xfrm>
                <a:off x="5063" y="470"/>
                <a:ext cx="13" cy="13"/>
              </a:xfrm>
              <a:custGeom>
                <a:avLst/>
                <a:gdLst>
                  <a:gd name="T0" fmla="*/ 3860 w 9"/>
                  <a:gd name="T1" fmla="*/ 5642 h 9"/>
                  <a:gd name="T2" fmla="*/ 0 w 9"/>
                  <a:gd name="T3" fmla="*/ 3225 h 9"/>
                  <a:gd name="T4" fmla="*/ 0 w 9"/>
                  <a:gd name="T5" fmla="*/ 3225 h 9"/>
                  <a:gd name="T6" fmla="*/ 3860 w 9"/>
                  <a:gd name="T7" fmla="*/ 0 h 9"/>
                  <a:gd name="T8" fmla="*/ 3860 w 9"/>
                  <a:gd name="T9" fmla="*/ 0 h 9"/>
                  <a:gd name="T10" fmla="*/ 7173 w 9"/>
                  <a:gd name="T11" fmla="*/ 3225 h 9"/>
                  <a:gd name="T12" fmla="*/ 3860 w 9"/>
                  <a:gd name="T13" fmla="*/ 5642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7" y="0"/>
                      <a:pt x="9" y="2"/>
                      <a:pt x="9" y="5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876" name="Freeform 591"/>
              <p:cNvSpPr>
                <a:spLocks noChangeArrowheads="1"/>
              </p:cNvSpPr>
              <p:nvPr/>
            </p:nvSpPr>
            <p:spPr bwMode="auto">
              <a:xfrm>
                <a:off x="5476" y="491"/>
                <a:ext cx="12" cy="13"/>
              </a:xfrm>
              <a:custGeom>
                <a:avLst/>
                <a:gdLst>
                  <a:gd name="T0" fmla="*/ 1495 w 9"/>
                  <a:gd name="T1" fmla="*/ 7173 h 9"/>
                  <a:gd name="T2" fmla="*/ 0 w 9"/>
                  <a:gd name="T3" fmla="*/ 3860 h 9"/>
                  <a:gd name="T4" fmla="*/ 0 w 9"/>
                  <a:gd name="T5" fmla="*/ 3194 h 9"/>
                  <a:gd name="T6" fmla="*/ 1495 w 9"/>
                  <a:gd name="T7" fmla="*/ 0 h 9"/>
                  <a:gd name="T8" fmla="*/ 3489 w 9"/>
                  <a:gd name="T9" fmla="*/ 3194 h 9"/>
                  <a:gd name="T10" fmla="*/ 1495 w 9"/>
                  <a:gd name="T11" fmla="*/ 7173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877" name="Freeform 592"/>
              <p:cNvSpPr>
                <a:spLocks noChangeArrowheads="1"/>
              </p:cNvSpPr>
              <p:nvPr/>
            </p:nvSpPr>
            <p:spPr bwMode="auto">
              <a:xfrm>
                <a:off x="5435" y="491"/>
                <a:ext cx="11" cy="13"/>
              </a:xfrm>
              <a:custGeom>
                <a:avLst/>
                <a:gdLst>
                  <a:gd name="T0" fmla="*/ 2164 w 8"/>
                  <a:gd name="T1" fmla="*/ 7173 h 9"/>
                  <a:gd name="T2" fmla="*/ 0 w 8"/>
                  <a:gd name="T3" fmla="*/ 3860 h 9"/>
                  <a:gd name="T4" fmla="*/ 0 w 8"/>
                  <a:gd name="T5" fmla="*/ 3194 h 9"/>
                  <a:gd name="T6" fmla="*/ 2164 w 8"/>
                  <a:gd name="T7" fmla="*/ 0 h 9"/>
                  <a:gd name="T8" fmla="*/ 4077 w 8"/>
                  <a:gd name="T9" fmla="*/ 3194 h 9"/>
                  <a:gd name="T10" fmla="*/ 2164 w 8"/>
                  <a:gd name="T11" fmla="*/ 7173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878" name="Freeform 593"/>
              <p:cNvSpPr>
                <a:spLocks noChangeArrowheads="1"/>
              </p:cNvSpPr>
              <p:nvPr/>
            </p:nvSpPr>
            <p:spPr bwMode="auto">
              <a:xfrm>
                <a:off x="5415" y="476"/>
                <a:ext cx="13" cy="13"/>
              </a:xfrm>
              <a:custGeom>
                <a:avLst/>
                <a:gdLst>
                  <a:gd name="T0" fmla="*/ 2417 w 9"/>
                  <a:gd name="T1" fmla="*/ 7173 h 9"/>
                  <a:gd name="T2" fmla="*/ 0 w 9"/>
                  <a:gd name="T3" fmla="*/ 3860 h 9"/>
                  <a:gd name="T4" fmla="*/ 0 w 9"/>
                  <a:gd name="T5" fmla="*/ 3194 h 9"/>
                  <a:gd name="T6" fmla="*/ 2417 w 9"/>
                  <a:gd name="T7" fmla="*/ 0 h 9"/>
                  <a:gd name="T8" fmla="*/ 5642 w 9"/>
                  <a:gd name="T9" fmla="*/ 3860 h 9"/>
                  <a:gd name="T10" fmla="*/ 2417 w 9"/>
                  <a:gd name="T11" fmla="*/ 7173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5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879" name="Freeform 594"/>
              <p:cNvSpPr>
                <a:spLocks noChangeArrowheads="1"/>
              </p:cNvSpPr>
              <p:nvPr/>
            </p:nvSpPr>
            <p:spPr bwMode="auto">
              <a:xfrm>
                <a:off x="5331" y="476"/>
                <a:ext cx="13" cy="13"/>
              </a:xfrm>
              <a:custGeom>
                <a:avLst/>
                <a:gdLst>
                  <a:gd name="T0" fmla="*/ 3860 w 9"/>
                  <a:gd name="T1" fmla="*/ 7173 h 9"/>
                  <a:gd name="T2" fmla="*/ 0 w 9"/>
                  <a:gd name="T3" fmla="*/ 3860 h 9"/>
                  <a:gd name="T4" fmla="*/ 0 w 9"/>
                  <a:gd name="T5" fmla="*/ 3194 h 9"/>
                  <a:gd name="T6" fmla="*/ 3860 w 9"/>
                  <a:gd name="T7" fmla="*/ 0 h 9"/>
                  <a:gd name="T8" fmla="*/ 7173 w 9"/>
                  <a:gd name="T9" fmla="*/ 3860 h 9"/>
                  <a:gd name="T10" fmla="*/ 3860 w 9"/>
                  <a:gd name="T11" fmla="*/ 7173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5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880" name="Freeform 595"/>
              <p:cNvSpPr>
                <a:spLocks noChangeArrowheads="1"/>
              </p:cNvSpPr>
              <p:nvPr/>
            </p:nvSpPr>
            <p:spPr bwMode="auto">
              <a:xfrm>
                <a:off x="5188" y="491"/>
                <a:ext cx="11" cy="13"/>
              </a:xfrm>
              <a:custGeom>
                <a:avLst/>
                <a:gdLst>
                  <a:gd name="T0" fmla="*/ 2164 w 8"/>
                  <a:gd name="T1" fmla="*/ 7173 h 9"/>
                  <a:gd name="T2" fmla="*/ 0 w 8"/>
                  <a:gd name="T3" fmla="*/ 3860 h 9"/>
                  <a:gd name="T4" fmla="*/ 0 w 8"/>
                  <a:gd name="T5" fmla="*/ 3194 h 9"/>
                  <a:gd name="T6" fmla="*/ 2164 w 8"/>
                  <a:gd name="T7" fmla="*/ 0 h 9"/>
                  <a:gd name="T8" fmla="*/ 4077 w 8"/>
                  <a:gd name="T9" fmla="*/ 3194 h 9"/>
                  <a:gd name="T10" fmla="*/ 2164 w 8"/>
                  <a:gd name="T11" fmla="*/ 7173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1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1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881" name="Freeform 596"/>
              <p:cNvSpPr>
                <a:spLocks noChangeArrowheads="1"/>
              </p:cNvSpPr>
              <p:nvPr/>
            </p:nvSpPr>
            <p:spPr bwMode="auto">
              <a:xfrm>
                <a:off x="5559" y="491"/>
                <a:ext cx="13" cy="13"/>
              </a:xfrm>
              <a:custGeom>
                <a:avLst/>
                <a:gdLst>
                  <a:gd name="T0" fmla="*/ 3194 w 9"/>
                  <a:gd name="T1" fmla="*/ 7173 h 9"/>
                  <a:gd name="T2" fmla="*/ 0 w 9"/>
                  <a:gd name="T3" fmla="*/ 3860 h 9"/>
                  <a:gd name="T4" fmla="*/ 0 w 9"/>
                  <a:gd name="T5" fmla="*/ 3194 h 9"/>
                  <a:gd name="T6" fmla="*/ 3194 w 9"/>
                  <a:gd name="T7" fmla="*/ 0 h 9"/>
                  <a:gd name="T8" fmla="*/ 7173 w 9"/>
                  <a:gd name="T9" fmla="*/ 3194 h 9"/>
                  <a:gd name="T10" fmla="*/ 3194 w 9"/>
                  <a:gd name="T11" fmla="*/ 7173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882" name="Freeform 597"/>
              <p:cNvSpPr>
                <a:spLocks noChangeArrowheads="1"/>
              </p:cNvSpPr>
              <p:nvPr/>
            </p:nvSpPr>
            <p:spPr bwMode="auto">
              <a:xfrm>
                <a:off x="5538" y="476"/>
                <a:ext cx="12" cy="13"/>
              </a:xfrm>
              <a:custGeom>
                <a:avLst/>
                <a:gdLst>
                  <a:gd name="T0" fmla="*/ 1993 w 9"/>
                  <a:gd name="T1" fmla="*/ 7173 h 9"/>
                  <a:gd name="T2" fmla="*/ 0 w 9"/>
                  <a:gd name="T3" fmla="*/ 3860 h 9"/>
                  <a:gd name="T4" fmla="*/ 0 w 9"/>
                  <a:gd name="T5" fmla="*/ 3194 h 9"/>
                  <a:gd name="T6" fmla="*/ 1993 w 9"/>
                  <a:gd name="T7" fmla="*/ 0 h 9"/>
                  <a:gd name="T8" fmla="*/ 3489 w 9"/>
                  <a:gd name="T9" fmla="*/ 3860 h 9"/>
                  <a:gd name="T10" fmla="*/ 1993 w 9"/>
                  <a:gd name="T11" fmla="*/ 7173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5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883" name="Freeform 598"/>
              <p:cNvSpPr>
                <a:spLocks noChangeArrowheads="1"/>
              </p:cNvSpPr>
              <p:nvPr/>
            </p:nvSpPr>
            <p:spPr bwMode="auto">
              <a:xfrm>
                <a:off x="5498" y="476"/>
                <a:ext cx="12" cy="13"/>
              </a:xfrm>
              <a:custGeom>
                <a:avLst/>
                <a:gdLst>
                  <a:gd name="T0" fmla="*/ 1495 w 9"/>
                  <a:gd name="T1" fmla="*/ 7173 h 9"/>
                  <a:gd name="T2" fmla="*/ 0 w 9"/>
                  <a:gd name="T3" fmla="*/ 3860 h 9"/>
                  <a:gd name="T4" fmla="*/ 0 w 9"/>
                  <a:gd name="T5" fmla="*/ 3194 h 9"/>
                  <a:gd name="T6" fmla="*/ 1495 w 9"/>
                  <a:gd name="T7" fmla="*/ 0 h 9"/>
                  <a:gd name="T8" fmla="*/ 3489 w 9"/>
                  <a:gd name="T9" fmla="*/ 3860 h 9"/>
                  <a:gd name="T10" fmla="*/ 1495 w 9"/>
                  <a:gd name="T11" fmla="*/ 7173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5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884" name="Oval 599"/>
              <p:cNvSpPr>
                <a:spLocks noChangeArrowheads="1"/>
              </p:cNvSpPr>
              <p:nvPr/>
            </p:nvSpPr>
            <p:spPr bwMode="auto">
              <a:xfrm>
                <a:off x="5455" y="476"/>
                <a:ext cx="13" cy="13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US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885" name="Oval 600"/>
              <p:cNvSpPr>
                <a:spLocks noChangeArrowheads="1"/>
              </p:cNvSpPr>
              <p:nvPr/>
            </p:nvSpPr>
            <p:spPr bwMode="auto">
              <a:xfrm>
                <a:off x="5744" y="476"/>
                <a:ext cx="13" cy="13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US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886" name="Freeform 601"/>
              <p:cNvSpPr>
                <a:spLocks noChangeArrowheads="1"/>
              </p:cNvSpPr>
              <p:nvPr/>
            </p:nvSpPr>
            <p:spPr bwMode="auto">
              <a:xfrm>
                <a:off x="5723" y="491"/>
                <a:ext cx="13" cy="13"/>
              </a:xfrm>
              <a:custGeom>
                <a:avLst/>
                <a:gdLst>
                  <a:gd name="T0" fmla="*/ 3225 w 9"/>
                  <a:gd name="T1" fmla="*/ 7173 h 9"/>
                  <a:gd name="T2" fmla="*/ 0 w 9"/>
                  <a:gd name="T3" fmla="*/ 3860 h 9"/>
                  <a:gd name="T4" fmla="*/ 0 w 9"/>
                  <a:gd name="T5" fmla="*/ 3194 h 9"/>
                  <a:gd name="T6" fmla="*/ 3225 w 9"/>
                  <a:gd name="T7" fmla="*/ 0 h 9"/>
                  <a:gd name="T8" fmla="*/ 5642 w 9"/>
                  <a:gd name="T9" fmla="*/ 3194 h 9"/>
                  <a:gd name="T10" fmla="*/ 3225 w 9"/>
                  <a:gd name="T11" fmla="*/ 7173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887" name="Freeform 602"/>
              <p:cNvSpPr>
                <a:spLocks noChangeArrowheads="1"/>
              </p:cNvSpPr>
              <p:nvPr/>
            </p:nvSpPr>
            <p:spPr bwMode="auto">
              <a:xfrm>
                <a:off x="5704" y="476"/>
                <a:ext cx="11" cy="13"/>
              </a:xfrm>
              <a:custGeom>
                <a:avLst/>
                <a:gdLst>
                  <a:gd name="T0" fmla="*/ 2164 w 8"/>
                  <a:gd name="T1" fmla="*/ 7173 h 9"/>
                  <a:gd name="T2" fmla="*/ 0 w 8"/>
                  <a:gd name="T3" fmla="*/ 3860 h 9"/>
                  <a:gd name="T4" fmla="*/ 0 w 8"/>
                  <a:gd name="T5" fmla="*/ 3860 h 9"/>
                  <a:gd name="T6" fmla="*/ 2164 w 8"/>
                  <a:gd name="T7" fmla="*/ 0 h 9"/>
                  <a:gd name="T8" fmla="*/ 4077 w 8"/>
                  <a:gd name="T9" fmla="*/ 3860 h 9"/>
                  <a:gd name="T10" fmla="*/ 2164 w 8"/>
                  <a:gd name="T11" fmla="*/ 7173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5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888" name="Oval 603"/>
              <p:cNvSpPr>
                <a:spLocks noChangeArrowheads="1"/>
              </p:cNvSpPr>
              <p:nvPr/>
            </p:nvSpPr>
            <p:spPr bwMode="auto">
              <a:xfrm>
                <a:off x="5683" y="491"/>
                <a:ext cx="13" cy="13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US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889" name="Freeform 604"/>
              <p:cNvSpPr>
                <a:spLocks noChangeArrowheads="1"/>
              </p:cNvSpPr>
              <p:nvPr/>
            </p:nvSpPr>
            <p:spPr bwMode="auto">
              <a:xfrm>
                <a:off x="5662" y="476"/>
                <a:ext cx="13" cy="13"/>
              </a:xfrm>
              <a:custGeom>
                <a:avLst/>
                <a:gdLst>
                  <a:gd name="T0" fmla="*/ 3860 w 9"/>
                  <a:gd name="T1" fmla="*/ 7173 h 9"/>
                  <a:gd name="T2" fmla="*/ 0 w 9"/>
                  <a:gd name="T3" fmla="*/ 3860 h 9"/>
                  <a:gd name="T4" fmla="*/ 0 w 9"/>
                  <a:gd name="T5" fmla="*/ 3194 h 9"/>
                  <a:gd name="T6" fmla="*/ 3860 w 9"/>
                  <a:gd name="T7" fmla="*/ 0 h 9"/>
                  <a:gd name="T8" fmla="*/ 7173 w 9"/>
                  <a:gd name="T9" fmla="*/ 3860 h 9"/>
                  <a:gd name="T10" fmla="*/ 3860 w 9"/>
                  <a:gd name="T11" fmla="*/ 7173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5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890" name="Freeform 605"/>
              <p:cNvSpPr>
                <a:spLocks noChangeArrowheads="1"/>
              </p:cNvSpPr>
              <p:nvPr/>
            </p:nvSpPr>
            <p:spPr bwMode="auto">
              <a:xfrm>
                <a:off x="5642" y="491"/>
                <a:ext cx="11" cy="13"/>
              </a:xfrm>
              <a:custGeom>
                <a:avLst/>
                <a:gdLst>
                  <a:gd name="T0" fmla="*/ 2164 w 8"/>
                  <a:gd name="T1" fmla="*/ 7173 h 9"/>
                  <a:gd name="T2" fmla="*/ 0 w 8"/>
                  <a:gd name="T3" fmla="*/ 3860 h 9"/>
                  <a:gd name="T4" fmla="*/ 0 w 8"/>
                  <a:gd name="T5" fmla="*/ 3194 h 9"/>
                  <a:gd name="T6" fmla="*/ 2164 w 8"/>
                  <a:gd name="T7" fmla="*/ 0 h 9"/>
                  <a:gd name="T8" fmla="*/ 4077 w 8"/>
                  <a:gd name="T9" fmla="*/ 3194 h 9"/>
                  <a:gd name="T10" fmla="*/ 4077 w 8"/>
                  <a:gd name="T11" fmla="*/ 3860 h 9"/>
                  <a:gd name="T12" fmla="*/ 2164 w 8"/>
                  <a:gd name="T13" fmla="*/ 7173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891" name="Oval 606"/>
              <p:cNvSpPr>
                <a:spLocks noChangeArrowheads="1"/>
              </p:cNvSpPr>
              <p:nvPr/>
            </p:nvSpPr>
            <p:spPr bwMode="auto">
              <a:xfrm>
                <a:off x="5621" y="476"/>
                <a:ext cx="13" cy="13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US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892" name="Freeform 607"/>
              <p:cNvSpPr>
                <a:spLocks noChangeArrowheads="1"/>
              </p:cNvSpPr>
              <p:nvPr/>
            </p:nvSpPr>
            <p:spPr bwMode="auto">
              <a:xfrm>
                <a:off x="5393" y="491"/>
                <a:ext cx="13" cy="13"/>
              </a:xfrm>
              <a:custGeom>
                <a:avLst/>
                <a:gdLst>
                  <a:gd name="T0" fmla="*/ 3225 w 9"/>
                  <a:gd name="T1" fmla="*/ 7173 h 9"/>
                  <a:gd name="T2" fmla="*/ 0 w 9"/>
                  <a:gd name="T3" fmla="*/ 3860 h 9"/>
                  <a:gd name="T4" fmla="*/ 0 w 9"/>
                  <a:gd name="T5" fmla="*/ 3194 h 9"/>
                  <a:gd name="T6" fmla="*/ 3225 w 9"/>
                  <a:gd name="T7" fmla="*/ 0 h 9"/>
                  <a:gd name="T8" fmla="*/ 5642 w 9"/>
                  <a:gd name="T9" fmla="*/ 3194 h 9"/>
                  <a:gd name="T10" fmla="*/ 3225 w 9"/>
                  <a:gd name="T11" fmla="*/ 7173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893" name="Freeform 608"/>
              <p:cNvSpPr>
                <a:spLocks noChangeArrowheads="1"/>
              </p:cNvSpPr>
              <p:nvPr/>
            </p:nvSpPr>
            <p:spPr bwMode="auto">
              <a:xfrm>
                <a:off x="5312" y="491"/>
                <a:ext cx="11" cy="13"/>
              </a:xfrm>
              <a:custGeom>
                <a:avLst/>
                <a:gdLst>
                  <a:gd name="T0" fmla="*/ 2164 w 8"/>
                  <a:gd name="T1" fmla="*/ 7173 h 9"/>
                  <a:gd name="T2" fmla="*/ 0 w 8"/>
                  <a:gd name="T3" fmla="*/ 3860 h 9"/>
                  <a:gd name="T4" fmla="*/ 0 w 8"/>
                  <a:gd name="T5" fmla="*/ 3194 h 9"/>
                  <a:gd name="T6" fmla="*/ 2164 w 8"/>
                  <a:gd name="T7" fmla="*/ 0 h 9"/>
                  <a:gd name="T8" fmla="*/ 4077 w 8"/>
                  <a:gd name="T9" fmla="*/ 3194 h 9"/>
                  <a:gd name="T10" fmla="*/ 2164 w 8"/>
                  <a:gd name="T11" fmla="*/ 7173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894" name="Freeform 609"/>
              <p:cNvSpPr>
                <a:spLocks noChangeArrowheads="1"/>
              </p:cNvSpPr>
              <p:nvPr/>
            </p:nvSpPr>
            <p:spPr bwMode="auto">
              <a:xfrm>
                <a:off x="5250" y="476"/>
                <a:ext cx="11" cy="13"/>
              </a:xfrm>
              <a:custGeom>
                <a:avLst/>
                <a:gdLst>
                  <a:gd name="T0" fmla="*/ 2164 w 8"/>
                  <a:gd name="T1" fmla="*/ 7173 h 9"/>
                  <a:gd name="T2" fmla="*/ 0 w 8"/>
                  <a:gd name="T3" fmla="*/ 3860 h 9"/>
                  <a:gd name="T4" fmla="*/ 0 w 8"/>
                  <a:gd name="T5" fmla="*/ 3194 h 9"/>
                  <a:gd name="T6" fmla="*/ 2164 w 8"/>
                  <a:gd name="T7" fmla="*/ 0 h 9"/>
                  <a:gd name="T8" fmla="*/ 4077 w 8"/>
                  <a:gd name="T9" fmla="*/ 3860 h 9"/>
                  <a:gd name="T10" fmla="*/ 2164 w 8"/>
                  <a:gd name="T11" fmla="*/ 7173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5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895" name="Freeform 610"/>
              <p:cNvSpPr>
                <a:spLocks noChangeArrowheads="1"/>
              </p:cNvSpPr>
              <p:nvPr/>
            </p:nvSpPr>
            <p:spPr bwMode="auto">
              <a:xfrm>
                <a:off x="5168" y="476"/>
                <a:ext cx="11" cy="13"/>
              </a:xfrm>
              <a:custGeom>
                <a:avLst/>
                <a:gdLst>
                  <a:gd name="T0" fmla="*/ 2164 w 8"/>
                  <a:gd name="T1" fmla="*/ 7173 h 9"/>
                  <a:gd name="T2" fmla="*/ 0 w 8"/>
                  <a:gd name="T3" fmla="*/ 3860 h 9"/>
                  <a:gd name="T4" fmla="*/ 0 w 8"/>
                  <a:gd name="T5" fmla="*/ 3194 h 9"/>
                  <a:gd name="T6" fmla="*/ 2164 w 8"/>
                  <a:gd name="T7" fmla="*/ 0 h 9"/>
                  <a:gd name="T8" fmla="*/ 4077 w 8"/>
                  <a:gd name="T9" fmla="*/ 3860 h 9"/>
                  <a:gd name="T10" fmla="*/ 2164 w 8"/>
                  <a:gd name="T11" fmla="*/ 7173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8" y="2"/>
                      <a:pt x="8" y="5"/>
                    </a:cubicBezTo>
                    <a:cubicBezTo>
                      <a:pt x="8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896" name="Freeform 611"/>
              <p:cNvSpPr>
                <a:spLocks noChangeArrowheads="1"/>
              </p:cNvSpPr>
              <p:nvPr/>
            </p:nvSpPr>
            <p:spPr bwMode="auto">
              <a:xfrm>
                <a:off x="5106" y="491"/>
                <a:ext cx="11" cy="13"/>
              </a:xfrm>
              <a:custGeom>
                <a:avLst/>
                <a:gdLst>
                  <a:gd name="T0" fmla="*/ 2164 w 8"/>
                  <a:gd name="T1" fmla="*/ 7173 h 9"/>
                  <a:gd name="T2" fmla="*/ 0 w 8"/>
                  <a:gd name="T3" fmla="*/ 3860 h 9"/>
                  <a:gd name="T4" fmla="*/ 0 w 8"/>
                  <a:gd name="T5" fmla="*/ 3194 h 9"/>
                  <a:gd name="T6" fmla="*/ 2164 w 8"/>
                  <a:gd name="T7" fmla="*/ 0 h 9"/>
                  <a:gd name="T8" fmla="*/ 4077 w 8"/>
                  <a:gd name="T9" fmla="*/ 3194 h 9"/>
                  <a:gd name="T10" fmla="*/ 2164 w 8"/>
                  <a:gd name="T11" fmla="*/ 7173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897" name="Freeform 612"/>
              <p:cNvSpPr>
                <a:spLocks noChangeArrowheads="1"/>
              </p:cNvSpPr>
              <p:nvPr/>
            </p:nvSpPr>
            <p:spPr bwMode="auto">
              <a:xfrm>
                <a:off x="5373" y="476"/>
                <a:ext cx="11" cy="13"/>
              </a:xfrm>
              <a:custGeom>
                <a:avLst/>
                <a:gdLst>
                  <a:gd name="T0" fmla="*/ 2164 w 8"/>
                  <a:gd name="T1" fmla="*/ 7173 h 9"/>
                  <a:gd name="T2" fmla="*/ 0 w 8"/>
                  <a:gd name="T3" fmla="*/ 3860 h 9"/>
                  <a:gd name="T4" fmla="*/ 0 w 8"/>
                  <a:gd name="T5" fmla="*/ 3194 h 9"/>
                  <a:gd name="T6" fmla="*/ 2164 w 8"/>
                  <a:gd name="T7" fmla="*/ 0 h 9"/>
                  <a:gd name="T8" fmla="*/ 4077 w 8"/>
                  <a:gd name="T9" fmla="*/ 3860 h 9"/>
                  <a:gd name="T10" fmla="*/ 2164 w 8"/>
                  <a:gd name="T11" fmla="*/ 7173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5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898" name="Freeform 613"/>
              <p:cNvSpPr>
                <a:spLocks noChangeArrowheads="1"/>
              </p:cNvSpPr>
              <p:nvPr/>
            </p:nvSpPr>
            <p:spPr bwMode="auto">
              <a:xfrm>
                <a:off x="5291" y="476"/>
                <a:ext cx="13" cy="13"/>
              </a:xfrm>
              <a:custGeom>
                <a:avLst/>
                <a:gdLst>
                  <a:gd name="T0" fmla="*/ 2417 w 9"/>
                  <a:gd name="T1" fmla="*/ 7173 h 9"/>
                  <a:gd name="T2" fmla="*/ 0 w 9"/>
                  <a:gd name="T3" fmla="*/ 3860 h 9"/>
                  <a:gd name="T4" fmla="*/ 0 w 9"/>
                  <a:gd name="T5" fmla="*/ 3194 h 9"/>
                  <a:gd name="T6" fmla="*/ 2417 w 9"/>
                  <a:gd name="T7" fmla="*/ 0 h 9"/>
                  <a:gd name="T8" fmla="*/ 5642 w 9"/>
                  <a:gd name="T9" fmla="*/ 3860 h 9"/>
                  <a:gd name="T10" fmla="*/ 2417 w 9"/>
                  <a:gd name="T11" fmla="*/ 7173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5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899" name="Oval 614"/>
              <p:cNvSpPr>
                <a:spLocks noChangeArrowheads="1"/>
              </p:cNvSpPr>
              <p:nvPr/>
            </p:nvSpPr>
            <p:spPr bwMode="auto">
              <a:xfrm>
                <a:off x="5229" y="491"/>
                <a:ext cx="13" cy="13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US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900" name="Freeform 615"/>
              <p:cNvSpPr>
                <a:spLocks noChangeArrowheads="1"/>
              </p:cNvSpPr>
              <p:nvPr/>
            </p:nvSpPr>
            <p:spPr bwMode="auto">
              <a:xfrm>
                <a:off x="5146" y="491"/>
                <a:ext cx="13" cy="13"/>
              </a:xfrm>
              <a:custGeom>
                <a:avLst/>
                <a:gdLst>
                  <a:gd name="T0" fmla="*/ 3194 w 9"/>
                  <a:gd name="T1" fmla="*/ 7173 h 9"/>
                  <a:gd name="T2" fmla="*/ 0 w 9"/>
                  <a:gd name="T3" fmla="*/ 3860 h 9"/>
                  <a:gd name="T4" fmla="*/ 0 w 9"/>
                  <a:gd name="T5" fmla="*/ 3194 h 9"/>
                  <a:gd name="T6" fmla="*/ 3194 w 9"/>
                  <a:gd name="T7" fmla="*/ 0 h 9"/>
                  <a:gd name="T8" fmla="*/ 7173 w 9"/>
                  <a:gd name="T9" fmla="*/ 3194 h 9"/>
                  <a:gd name="T10" fmla="*/ 3194 w 9"/>
                  <a:gd name="T11" fmla="*/ 7173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901" name="Freeform 616"/>
              <p:cNvSpPr>
                <a:spLocks noChangeArrowheads="1"/>
              </p:cNvSpPr>
              <p:nvPr/>
            </p:nvSpPr>
            <p:spPr bwMode="auto">
              <a:xfrm>
                <a:off x="5085" y="476"/>
                <a:ext cx="13" cy="13"/>
              </a:xfrm>
              <a:custGeom>
                <a:avLst/>
                <a:gdLst>
                  <a:gd name="T0" fmla="*/ 2417 w 9"/>
                  <a:gd name="T1" fmla="*/ 7173 h 9"/>
                  <a:gd name="T2" fmla="*/ 0 w 9"/>
                  <a:gd name="T3" fmla="*/ 3860 h 9"/>
                  <a:gd name="T4" fmla="*/ 0 w 9"/>
                  <a:gd name="T5" fmla="*/ 3194 h 9"/>
                  <a:gd name="T6" fmla="*/ 2417 w 9"/>
                  <a:gd name="T7" fmla="*/ 0 h 9"/>
                  <a:gd name="T8" fmla="*/ 5642 w 9"/>
                  <a:gd name="T9" fmla="*/ 3860 h 9"/>
                  <a:gd name="T10" fmla="*/ 2417 w 9"/>
                  <a:gd name="T11" fmla="*/ 7173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5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902" name="Freeform 617"/>
              <p:cNvSpPr>
                <a:spLocks noChangeArrowheads="1"/>
              </p:cNvSpPr>
              <p:nvPr/>
            </p:nvSpPr>
            <p:spPr bwMode="auto">
              <a:xfrm>
                <a:off x="5354" y="491"/>
                <a:ext cx="13" cy="13"/>
              </a:xfrm>
              <a:custGeom>
                <a:avLst/>
                <a:gdLst>
                  <a:gd name="T0" fmla="*/ 2417 w 9"/>
                  <a:gd name="T1" fmla="*/ 7173 h 9"/>
                  <a:gd name="T2" fmla="*/ 0 w 9"/>
                  <a:gd name="T3" fmla="*/ 3860 h 9"/>
                  <a:gd name="T4" fmla="*/ 0 w 9"/>
                  <a:gd name="T5" fmla="*/ 3194 h 9"/>
                  <a:gd name="T6" fmla="*/ 2417 w 9"/>
                  <a:gd name="T7" fmla="*/ 0 h 9"/>
                  <a:gd name="T8" fmla="*/ 5642 w 9"/>
                  <a:gd name="T9" fmla="*/ 3194 h 9"/>
                  <a:gd name="T10" fmla="*/ 2417 w 9"/>
                  <a:gd name="T11" fmla="*/ 7173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903" name="Freeform 618"/>
              <p:cNvSpPr>
                <a:spLocks noChangeArrowheads="1"/>
              </p:cNvSpPr>
              <p:nvPr/>
            </p:nvSpPr>
            <p:spPr bwMode="auto">
              <a:xfrm>
                <a:off x="5270" y="491"/>
                <a:ext cx="12" cy="13"/>
              </a:xfrm>
              <a:custGeom>
                <a:avLst/>
                <a:gdLst>
                  <a:gd name="T0" fmla="*/ 1993 w 9"/>
                  <a:gd name="T1" fmla="*/ 7173 h 9"/>
                  <a:gd name="T2" fmla="*/ 0 w 9"/>
                  <a:gd name="T3" fmla="*/ 3860 h 9"/>
                  <a:gd name="T4" fmla="*/ 0 w 9"/>
                  <a:gd name="T5" fmla="*/ 3194 h 9"/>
                  <a:gd name="T6" fmla="*/ 1993 w 9"/>
                  <a:gd name="T7" fmla="*/ 0 h 9"/>
                  <a:gd name="T8" fmla="*/ 3489 w 9"/>
                  <a:gd name="T9" fmla="*/ 3194 h 9"/>
                  <a:gd name="T10" fmla="*/ 1993 w 9"/>
                  <a:gd name="T11" fmla="*/ 7173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904" name="Freeform 619"/>
              <p:cNvSpPr>
                <a:spLocks noChangeArrowheads="1"/>
              </p:cNvSpPr>
              <p:nvPr/>
            </p:nvSpPr>
            <p:spPr bwMode="auto">
              <a:xfrm>
                <a:off x="5208" y="476"/>
                <a:ext cx="12" cy="13"/>
              </a:xfrm>
              <a:custGeom>
                <a:avLst/>
                <a:gdLst>
                  <a:gd name="T0" fmla="*/ 1993 w 9"/>
                  <a:gd name="T1" fmla="*/ 7173 h 9"/>
                  <a:gd name="T2" fmla="*/ 0 w 9"/>
                  <a:gd name="T3" fmla="*/ 3860 h 9"/>
                  <a:gd name="T4" fmla="*/ 0 w 9"/>
                  <a:gd name="T5" fmla="*/ 3194 h 9"/>
                  <a:gd name="T6" fmla="*/ 1993 w 9"/>
                  <a:gd name="T7" fmla="*/ 0 h 9"/>
                  <a:gd name="T8" fmla="*/ 3489 w 9"/>
                  <a:gd name="T9" fmla="*/ 3860 h 9"/>
                  <a:gd name="T10" fmla="*/ 1993 w 9"/>
                  <a:gd name="T11" fmla="*/ 7173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5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905" name="Oval 620"/>
              <p:cNvSpPr>
                <a:spLocks noChangeArrowheads="1"/>
              </p:cNvSpPr>
              <p:nvPr/>
            </p:nvSpPr>
            <p:spPr bwMode="auto">
              <a:xfrm>
                <a:off x="5125" y="476"/>
                <a:ext cx="13" cy="13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US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906" name="Freeform 621"/>
              <p:cNvSpPr>
                <a:spLocks noChangeArrowheads="1"/>
              </p:cNvSpPr>
              <p:nvPr/>
            </p:nvSpPr>
            <p:spPr bwMode="auto">
              <a:xfrm>
                <a:off x="5063" y="491"/>
                <a:ext cx="13" cy="13"/>
              </a:xfrm>
              <a:custGeom>
                <a:avLst/>
                <a:gdLst>
                  <a:gd name="T0" fmla="*/ 3860 w 9"/>
                  <a:gd name="T1" fmla="*/ 7173 h 9"/>
                  <a:gd name="T2" fmla="*/ 0 w 9"/>
                  <a:gd name="T3" fmla="*/ 3860 h 9"/>
                  <a:gd name="T4" fmla="*/ 0 w 9"/>
                  <a:gd name="T5" fmla="*/ 3194 h 9"/>
                  <a:gd name="T6" fmla="*/ 3860 w 9"/>
                  <a:gd name="T7" fmla="*/ 0 h 9"/>
                  <a:gd name="T8" fmla="*/ 7173 w 9"/>
                  <a:gd name="T9" fmla="*/ 3194 h 9"/>
                  <a:gd name="T10" fmla="*/ 3860 w 9"/>
                  <a:gd name="T11" fmla="*/ 7173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907" name="Freeform 622"/>
              <p:cNvSpPr>
                <a:spLocks noChangeArrowheads="1"/>
              </p:cNvSpPr>
              <p:nvPr/>
            </p:nvSpPr>
            <p:spPr bwMode="auto">
              <a:xfrm>
                <a:off x="5476" y="512"/>
                <a:ext cx="12" cy="12"/>
              </a:xfrm>
              <a:custGeom>
                <a:avLst/>
                <a:gdLst>
                  <a:gd name="T0" fmla="*/ 1993 w 9"/>
                  <a:gd name="T1" fmla="*/ 3489 h 9"/>
                  <a:gd name="T2" fmla="*/ 1495 w 9"/>
                  <a:gd name="T3" fmla="*/ 3489 h 9"/>
                  <a:gd name="T4" fmla="*/ 0 w 9"/>
                  <a:gd name="T5" fmla="*/ 1495 h 9"/>
                  <a:gd name="T6" fmla="*/ 0 w 9"/>
                  <a:gd name="T7" fmla="*/ 1495 h 9"/>
                  <a:gd name="T8" fmla="*/ 1495 w 9"/>
                  <a:gd name="T9" fmla="*/ 0 h 9"/>
                  <a:gd name="T10" fmla="*/ 3489 w 9"/>
                  <a:gd name="T11" fmla="*/ 1495 h 9"/>
                  <a:gd name="T12" fmla="*/ 1993 w 9"/>
                  <a:gd name="T13" fmla="*/ 3489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4" y="9"/>
                      <a:pt x="4" y="9"/>
                      <a:pt x="4" y="9"/>
                    </a:cubicBezTo>
                    <a:cubicBezTo>
                      <a:pt x="2" y="9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908" name="Freeform 623"/>
              <p:cNvSpPr>
                <a:spLocks noChangeArrowheads="1"/>
              </p:cNvSpPr>
              <p:nvPr/>
            </p:nvSpPr>
            <p:spPr bwMode="auto">
              <a:xfrm>
                <a:off x="5435" y="512"/>
                <a:ext cx="11" cy="12"/>
              </a:xfrm>
              <a:custGeom>
                <a:avLst/>
                <a:gdLst>
                  <a:gd name="T0" fmla="*/ 2164 w 8"/>
                  <a:gd name="T1" fmla="*/ 3489 h 9"/>
                  <a:gd name="T2" fmla="*/ 2164 w 8"/>
                  <a:gd name="T3" fmla="*/ 3489 h 9"/>
                  <a:gd name="T4" fmla="*/ 0 w 8"/>
                  <a:gd name="T5" fmla="*/ 1495 h 9"/>
                  <a:gd name="T6" fmla="*/ 0 w 8"/>
                  <a:gd name="T7" fmla="*/ 1495 h 9"/>
                  <a:gd name="T8" fmla="*/ 2164 w 8"/>
                  <a:gd name="T9" fmla="*/ 0 h 9"/>
                  <a:gd name="T10" fmla="*/ 4077 w 8"/>
                  <a:gd name="T11" fmla="*/ 1495 h 9"/>
                  <a:gd name="T12" fmla="*/ 2164 w 8"/>
                  <a:gd name="T13" fmla="*/ 3489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4" y="9"/>
                      <a:pt x="4" y="9"/>
                      <a:pt x="4" y="9"/>
                    </a:cubicBezTo>
                    <a:cubicBezTo>
                      <a:pt x="2" y="9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909" name="Freeform 624"/>
              <p:cNvSpPr>
                <a:spLocks noChangeArrowheads="1"/>
              </p:cNvSpPr>
              <p:nvPr/>
            </p:nvSpPr>
            <p:spPr bwMode="auto">
              <a:xfrm>
                <a:off x="5415" y="498"/>
                <a:ext cx="13" cy="13"/>
              </a:xfrm>
              <a:custGeom>
                <a:avLst/>
                <a:gdLst>
                  <a:gd name="T0" fmla="*/ 2417 w 9"/>
                  <a:gd name="T1" fmla="*/ 5642 h 9"/>
                  <a:gd name="T2" fmla="*/ 0 w 9"/>
                  <a:gd name="T3" fmla="*/ 3225 h 9"/>
                  <a:gd name="T4" fmla="*/ 0 w 9"/>
                  <a:gd name="T5" fmla="*/ 2417 h 9"/>
                  <a:gd name="T6" fmla="*/ 2417 w 9"/>
                  <a:gd name="T7" fmla="*/ 0 h 9"/>
                  <a:gd name="T8" fmla="*/ 5642 w 9"/>
                  <a:gd name="T9" fmla="*/ 2417 h 9"/>
                  <a:gd name="T10" fmla="*/ 2417 w 9"/>
                  <a:gd name="T11" fmla="*/ 5642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910" name="Freeform 625"/>
              <p:cNvSpPr>
                <a:spLocks noChangeArrowheads="1"/>
              </p:cNvSpPr>
              <p:nvPr/>
            </p:nvSpPr>
            <p:spPr bwMode="auto">
              <a:xfrm>
                <a:off x="5331" y="498"/>
                <a:ext cx="13" cy="13"/>
              </a:xfrm>
              <a:custGeom>
                <a:avLst/>
                <a:gdLst>
                  <a:gd name="T0" fmla="*/ 3860 w 9"/>
                  <a:gd name="T1" fmla="*/ 5642 h 9"/>
                  <a:gd name="T2" fmla="*/ 0 w 9"/>
                  <a:gd name="T3" fmla="*/ 3225 h 9"/>
                  <a:gd name="T4" fmla="*/ 0 w 9"/>
                  <a:gd name="T5" fmla="*/ 2417 h 9"/>
                  <a:gd name="T6" fmla="*/ 3860 w 9"/>
                  <a:gd name="T7" fmla="*/ 0 h 9"/>
                  <a:gd name="T8" fmla="*/ 7173 w 9"/>
                  <a:gd name="T9" fmla="*/ 2417 h 9"/>
                  <a:gd name="T10" fmla="*/ 3860 w 9"/>
                  <a:gd name="T11" fmla="*/ 5642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911" name="Freeform 626"/>
              <p:cNvSpPr>
                <a:spLocks noChangeArrowheads="1"/>
              </p:cNvSpPr>
              <p:nvPr/>
            </p:nvSpPr>
            <p:spPr bwMode="auto">
              <a:xfrm>
                <a:off x="5188" y="512"/>
                <a:ext cx="11" cy="12"/>
              </a:xfrm>
              <a:custGeom>
                <a:avLst/>
                <a:gdLst>
                  <a:gd name="T0" fmla="*/ 2164 w 8"/>
                  <a:gd name="T1" fmla="*/ 3489 h 9"/>
                  <a:gd name="T2" fmla="*/ 2164 w 8"/>
                  <a:gd name="T3" fmla="*/ 3489 h 9"/>
                  <a:gd name="T4" fmla="*/ 0 w 8"/>
                  <a:gd name="T5" fmla="*/ 1495 h 9"/>
                  <a:gd name="T6" fmla="*/ 0 w 8"/>
                  <a:gd name="T7" fmla="*/ 1495 h 9"/>
                  <a:gd name="T8" fmla="*/ 2164 w 8"/>
                  <a:gd name="T9" fmla="*/ 0 h 9"/>
                  <a:gd name="T10" fmla="*/ 4077 w 8"/>
                  <a:gd name="T11" fmla="*/ 1495 h 9"/>
                  <a:gd name="T12" fmla="*/ 2164 w 8"/>
                  <a:gd name="T13" fmla="*/ 3489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4" y="9"/>
                      <a:pt x="4" y="9"/>
                      <a:pt x="4" y="9"/>
                    </a:cubicBezTo>
                    <a:cubicBezTo>
                      <a:pt x="1" y="9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1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912" name="Freeform 627"/>
              <p:cNvSpPr>
                <a:spLocks noChangeArrowheads="1"/>
              </p:cNvSpPr>
              <p:nvPr/>
            </p:nvSpPr>
            <p:spPr bwMode="auto">
              <a:xfrm>
                <a:off x="5559" y="512"/>
                <a:ext cx="13" cy="12"/>
              </a:xfrm>
              <a:custGeom>
                <a:avLst/>
                <a:gdLst>
                  <a:gd name="T0" fmla="*/ 3194 w 9"/>
                  <a:gd name="T1" fmla="*/ 3489 h 9"/>
                  <a:gd name="T2" fmla="*/ 3194 w 9"/>
                  <a:gd name="T3" fmla="*/ 3489 h 9"/>
                  <a:gd name="T4" fmla="*/ 0 w 9"/>
                  <a:gd name="T5" fmla="*/ 1495 h 9"/>
                  <a:gd name="T6" fmla="*/ 0 w 9"/>
                  <a:gd name="T7" fmla="*/ 1495 h 9"/>
                  <a:gd name="T8" fmla="*/ 3194 w 9"/>
                  <a:gd name="T9" fmla="*/ 0 h 9"/>
                  <a:gd name="T10" fmla="*/ 7173 w 9"/>
                  <a:gd name="T11" fmla="*/ 1495 h 9"/>
                  <a:gd name="T12" fmla="*/ 3194 w 9"/>
                  <a:gd name="T13" fmla="*/ 3489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4" y="9"/>
                      <a:pt x="4" y="9"/>
                      <a:pt x="4" y="9"/>
                    </a:cubicBezTo>
                    <a:cubicBezTo>
                      <a:pt x="2" y="9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913" name="Freeform 628"/>
              <p:cNvSpPr>
                <a:spLocks noChangeArrowheads="1"/>
              </p:cNvSpPr>
              <p:nvPr/>
            </p:nvSpPr>
            <p:spPr bwMode="auto">
              <a:xfrm>
                <a:off x="5538" y="498"/>
                <a:ext cx="12" cy="13"/>
              </a:xfrm>
              <a:custGeom>
                <a:avLst/>
                <a:gdLst>
                  <a:gd name="T0" fmla="*/ 1993 w 9"/>
                  <a:gd name="T1" fmla="*/ 5642 h 9"/>
                  <a:gd name="T2" fmla="*/ 0 w 9"/>
                  <a:gd name="T3" fmla="*/ 3225 h 9"/>
                  <a:gd name="T4" fmla="*/ 0 w 9"/>
                  <a:gd name="T5" fmla="*/ 2417 h 9"/>
                  <a:gd name="T6" fmla="*/ 1993 w 9"/>
                  <a:gd name="T7" fmla="*/ 0 h 9"/>
                  <a:gd name="T8" fmla="*/ 3489 w 9"/>
                  <a:gd name="T9" fmla="*/ 2417 h 9"/>
                  <a:gd name="T10" fmla="*/ 1993 w 9"/>
                  <a:gd name="T11" fmla="*/ 5642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914" name="Freeform 629"/>
              <p:cNvSpPr>
                <a:spLocks noChangeArrowheads="1"/>
              </p:cNvSpPr>
              <p:nvPr/>
            </p:nvSpPr>
            <p:spPr bwMode="auto">
              <a:xfrm>
                <a:off x="5498" y="498"/>
                <a:ext cx="12" cy="13"/>
              </a:xfrm>
              <a:custGeom>
                <a:avLst/>
                <a:gdLst>
                  <a:gd name="T0" fmla="*/ 1495 w 9"/>
                  <a:gd name="T1" fmla="*/ 5642 h 9"/>
                  <a:gd name="T2" fmla="*/ 0 w 9"/>
                  <a:gd name="T3" fmla="*/ 3225 h 9"/>
                  <a:gd name="T4" fmla="*/ 0 w 9"/>
                  <a:gd name="T5" fmla="*/ 2417 h 9"/>
                  <a:gd name="T6" fmla="*/ 1495 w 9"/>
                  <a:gd name="T7" fmla="*/ 0 h 9"/>
                  <a:gd name="T8" fmla="*/ 3489 w 9"/>
                  <a:gd name="T9" fmla="*/ 2417 h 9"/>
                  <a:gd name="T10" fmla="*/ 1495 w 9"/>
                  <a:gd name="T11" fmla="*/ 5642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915" name="Oval 630"/>
              <p:cNvSpPr>
                <a:spLocks noChangeArrowheads="1"/>
              </p:cNvSpPr>
              <p:nvPr/>
            </p:nvSpPr>
            <p:spPr bwMode="auto">
              <a:xfrm>
                <a:off x="5455" y="498"/>
                <a:ext cx="13" cy="13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US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916" name="Oval 631"/>
              <p:cNvSpPr>
                <a:spLocks noChangeArrowheads="1"/>
              </p:cNvSpPr>
              <p:nvPr/>
            </p:nvSpPr>
            <p:spPr bwMode="auto">
              <a:xfrm>
                <a:off x="5744" y="498"/>
                <a:ext cx="13" cy="13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US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917" name="Freeform 632"/>
              <p:cNvSpPr>
                <a:spLocks noChangeArrowheads="1"/>
              </p:cNvSpPr>
              <p:nvPr/>
            </p:nvSpPr>
            <p:spPr bwMode="auto">
              <a:xfrm>
                <a:off x="5723" y="512"/>
                <a:ext cx="13" cy="12"/>
              </a:xfrm>
              <a:custGeom>
                <a:avLst/>
                <a:gdLst>
                  <a:gd name="T0" fmla="*/ 3225 w 9"/>
                  <a:gd name="T1" fmla="*/ 3489 h 9"/>
                  <a:gd name="T2" fmla="*/ 3225 w 9"/>
                  <a:gd name="T3" fmla="*/ 3489 h 9"/>
                  <a:gd name="T4" fmla="*/ 0 w 9"/>
                  <a:gd name="T5" fmla="*/ 1495 h 9"/>
                  <a:gd name="T6" fmla="*/ 0 w 9"/>
                  <a:gd name="T7" fmla="*/ 1495 h 9"/>
                  <a:gd name="T8" fmla="*/ 3225 w 9"/>
                  <a:gd name="T9" fmla="*/ 0 h 9"/>
                  <a:gd name="T10" fmla="*/ 5642 w 9"/>
                  <a:gd name="T11" fmla="*/ 1495 h 9"/>
                  <a:gd name="T12" fmla="*/ 3225 w 9"/>
                  <a:gd name="T13" fmla="*/ 3489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2" y="9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918" name="Freeform 633"/>
              <p:cNvSpPr>
                <a:spLocks noChangeArrowheads="1"/>
              </p:cNvSpPr>
              <p:nvPr/>
            </p:nvSpPr>
            <p:spPr bwMode="auto">
              <a:xfrm>
                <a:off x="5704" y="498"/>
                <a:ext cx="11" cy="13"/>
              </a:xfrm>
              <a:custGeom>
                <a:avLst/>
                <a:gdLst>
                  <a:gd name="T0" fmla="*/ 2164 w 8"/>
                  <a:gd name="T1" fmla="*/ 5642 h 9"/>
                  <a:gd name="T2" fmla="*/ 0 w 8"/>
                  <a:gd name="T3" fmla="*/ 3225 h 9"/>
                  <a:gd name="T4" fmla="*/ 0 w 8"/>
                  <a:gd name="T5" fmla="*/ 2417 h 9"/>
                  <a:gd name="T6" fmla="*/ 2164 w 8"/>
                  <a:gd name="T7" fmla="*/ 0 h 9"/>
                  <a:gd name="T8" fmla="*/ 4077 w 8"/>
                  <a:gd name="T9" fmla="*/ 2417 h 9"/>
                  <a:gd name="T10" fmla="*/ 2164 w 8"/>
                  <a:gd name="T11" fmla="*/ 5642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919" name="Freeform 634"/>
              <p:cNvSpPr>
                <a:spLocks noChangeArrowheads="1"/>
              </p:cNvSpPr>
              <p:nvPr/>
            </p:nvSpPr>
            <p:spPr bwMode="auto">
              <a:xfrm>
                <a:off x="5683" y="512"/>
                <a:ext cx="13" cy="12"/>
              </a:xfrm>
              <a:custGeom>
                <a:avLst/>
                <a:gdLst>
                  <a:gd name="T0" fmla="*/ 2417 w 9"/>
                  <a:gd name="T1" fmla="*/ 3489 h 9"/>
                  <a:gd name="T2" fmla="*/ 2417 w 9"/>
                  <a:gd name="T3" fmla="*/ 3489 h 9"/>
                  <a:gd name="T4" fmla="*/ 0 w 9"/>
                  <a:gd name="T5" fmla="*/ 1495 h 9"/>
                  <a:gd name="T6" fmla="*/ 2417 w 9"/>
                  <a:gd name="T7" fmla="*/ 0 h 9"/>
                  <a:gd name="T8" fmla="*/ 5642 w 9"/>
                  <a:gd name="T9" fmla="*/ 1495 h 9"/>
                  <a:gd name="T10" fmla="*/ 2417 w 9"/>
                  <a:gd name="T11" fmla="*/ 3489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4" y="9"/>
                      <a:pt x="4" y="9"/>
                      <a:pt x="4" y="9"/>
                    </a:cubicBezTo>
                    <a:cubicBezTo>
                      <a:pt x="2" y="9"/>
                      <a:pt x="0" y="7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920" name="Freeform 635"/>
              <p:cNvSpPr>
                <a:spLocks noChangeArrowheads="1"/>
              </p:cNvSpPr>
              <p:nvPr/>
            </p:nvSpPr>
            <p:spPr bwMode="auto">
              <a:xfrm>
                <a:off x="5662" y="498"/>
                <a:ext cx="13" cy="13"/>
              </a:xfrm>
              <a:custGeom>
                <a:avLst/>
                <a:gdLst>
                  <a:gd name="T0" fmla="*/ 3860 w 9"/>
                  <a:gd name="T1" fmla="*/ 5642 h 9"/>
                  <a:gd name="T2" fmla="*/ 0 w 9"/>
                  <a:gd name="T3" fmla="*/ 3225 h 9"/>
                  <a:gd name="T4" fmla="*/ 0 w 9"/>
                  <a:gd name="T5" fmla="*/ 2417 h 9"/>
                  <a:gd name="T6" fmla="*/ 3860 w 9"/>
                  <a:gd name="T7" fmla="*/ 0 h 9"/>
                  <a:gd name="T8" fmla="*/ 7173 w 9"/>
                  <a:gd name="T9" fmla="*/ 2417 h 9"/>
                  <a:gd name="T10" fmla="*/ 3860 w 9"/>
                  <a:gd name="T11" fmla="*/ 5642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921" name="Freeform 636"/>
              <p:cNvSpPr>
                <a:spLocks noChangeArrowheads="1"/>
              </p:cNvSpPr>
              <p:nvPr/>
            </p:nvSpPr>
            <p:spPr bwMode="auto">
              <a:xfrm>
                <a:off x="5642" y="512"/>
                <a:ext cx="11" cy="12"/>
              </a:xfrm>
              <a:custGeom>
                <a:avLst/>
                <a:gdLst>
                  <a:gd name="T0" fmla="*/ 2164 w 8"/>
                  <a:gd name="T1" fmla="*/ 3489 h 9"/>
                  <a:gd name="T2" fmla="*/ 2164 w 8"/>
                  <a:gd name="T3" fmla="*/ 3489 h 9"/>
                  <a:gd name="T4" fmla="*/ 0 w 8"/>
                  <a:gd name="T5" fmla="*/ 1495 h 9"/>
                  <a:gd name="T6" fmla="*/ 0 w 8"/>
                  <a:gd name="T7" fmla="*/ 1495 h 9"/>
                  <a:gd name="T8" fmla="*/ 2164 w 8"/>
                  <a:gd name="T9" fmla="*/ 0 h 9"/>
                  <a:gd name="T10" fmla="*/ 4077 w 8"/>
                  <a:gd name="T11" fmla="*/ 1495 h 9"/>
                  <a:gd name="T12" fmla="*/ 4077 w 8"/>
                  <a:gd name="T13" fmla="*/ 1495 h 9"/>
                  <a:gd name="T14" fmla="*/ 2164 w 8"/>
                  <a:gd name="T15" fmla="*/ 3489 h 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4" y="9"/>
                      <a:pt x="4" y="9"/>
                      <a:pt x="4" y="9"/>
                    </a:cubicBezTo>
                    <a:cubicBezTo>
                      <a:pt x="2" y="9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922" name="Oval 637"/>
              <p:cNvSpPr>
                <a:spLocks noChangeArrowheads="1"/>
              </p:cNvSpPr>
              <p:nvPr/>
            </p:nvSpPr>
            <p:spPr bwMode="auto">
              <a:xfrm>
                <a:off x="5621" y="498"/>
                <a:ext cx="13" cy="13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US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923" name="Freeform 638"/>
              <p:cNvSpPr>
                <a:spLocks noChangeArrowheads="1"/>
              </p:cNvSpPr>
              <p:nvPr/>
            </p:nvSpPr>
            <p:spPr bwMode="auto">
              <a:xfrm>
                <a:off x="5393" y="512"/>
                <a:ext cx="13" cy="12"/>
              </a:xfrm>
              <a:custGeom>
                <a:avLst/>
                <a:gdLst>
                  <a:gd name="T0" fmla="*/ 3225 w 9"/>
                  <a:gd name="T1" fmla="*/ 3489 h 9"/>
                  <a:gd name="T2" fmla="*/ 3225 w 9"/>
                  <a:gd name="T3" fmla="*/ 3489 h 9"/>
                  <a:gd name="T4" fmla="*/ 0 w 9"/>
                  <a:gd name="T5" fmla="*/ 1495 h 9"/>
                  <a:gd name="T6" fmla="*/ 0 w 9"/>
                  <a:gd name="T7" fmla="*/ 1495 h 9"/>
                  <a:gd name="T8" fmla="*/ 3225 w 9"/>
                  <a:gd name="T9" fmla="*/ 0 h 9"/>
                  <a:gd name="T10" fmla="*/ 5642 w 9"/>
                  <a:gd name="T11" fmla="*/ 1495 h 9"/>
                  <a:gd name="T12" fmla="*/ 3225 w 9"/>
                  <a:gd name="T13" fmla="*/ 3489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2" y="9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924" name="Freeform 639"/>
              <p:cNvSpPr>
                <a:spLocks noChangeArrowheads="1"/>
              </p:cNvSpPr>
              <p:nvPr/>
            </p:nvSpPr>
            <p:spPr bwMode="auto">
              <a:xfrm>
                <a:off x="5312" y="512"/>
                <a:ext cx="11" cy="12"/>
              </a:xfrm>
              <a:custGeom>
                <a:avLst/>
                <a:gdLst>
                  <a:gd name="T0" fmla="*/ 2164 w 8"/>
                  <a:gd name="T1" fmla="*/ 3489 h 9"/>
                  <a:gd name="T2" fmla="*/ 2164 w 8"/>
                  <a:gd name="T3" fmla="*/ 3489 h 9"/>
                  <a:gd name="T4" fmla="*/ 0 w 8"/>
                  <a:gd name="T5" fmla="*/ 1495 h 9"/>
                  <a:gd name="T6" fmla="*/ 0 w 8"/>
                  <a:gd name="T7" fmla="*/ 1495 h 9"/>
                  <a:gd name="T8" fmla="*/ 2164 w 8"/>
                  <a:gd name="T9" fmla="*/ 0 h 9"/>
                  <a:gd name="T10" fmla="*/ 4077 w 8"/>
                  <a:gd name="T11" fmla="*/ 1495 h 9"/>
                  <a:gd name="T12" fmla="*/ 2164 w 8"/>
                  <a:gd name="T13" fmla="*/ 3489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4" y="9"/>
                      <a:pt x="4" y="9"/>
                      <a:pt x="4" y="9"/>
                    </a:cubicBezTo>
                    <a:cubicBezTo>
                      <a:pt x="2" y="9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925" name="Freeform 640"/>
              <p:cNvSpPr>
                <a:spLocks noChangeArrowheads="1"/>
              </p:cNvSpPr>
              <p:nvPr/>
            </p:nvSpPr>
            <p:spPr bwMode="auto">
              <a:xfrm>
                <a:off x="5250" y="498"/>
                <a:ext cx="11" cy="13"/>
              </a:xfrm>
              <a:custGeom>
                <a:avLst/>
                <a:gdLst>
                  <a:gd name="T0" fmla="*/ 2164 w 8"/>
                  <a:gd name="T1" fmla="*/ 5642 h 9"/>
                  <a:gd name="T2" fmla="*/ 0 w 8"/>
                  <a:gd name="T3" fmla="*/ 3225 h 9"/>
                  <a:gd name="T4" fmla="*/ 0 w 8"/>
                  <a:gd name="T5" fmla="*/ 2417 h 9"/>
                  <a:gd name="T6" fmla="*/ 2164 w 8"/>
                  <a:gd name="T7" fmla="*/ 0 h 9"/>
                  <a:gd name="T8" fmla="*/ 4077 w 8"/>
                  <a:gd name="T9" fmla="*/ 2417 h 9"/>
                  <a:gd name="T10" fmla="*/ 2164 w 8"/>
                  <a:gd name="T11" fmla="*/ 5642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926" name="Freeform 641"/>
              <p:cNvSpPr>
                <a:spLocks noChangeArrowheads="1"/>
              </p:cNvSpPr>
              <p:nvPr/>
            </p:nvSpPr>
            <p:spPr bwMode="auto">
              <a:xfrm>
                <a:off x="5168" y="498"/>
                <a:ext cx="11" cy="13"/>
              </a:xfrm>
              <a:custGeom>
                <a:avLst/>
                <a:gdLst>
                  <a:gd name="T0" fmla="*/ 2164 w 8"/>
                  <a:gd name="T1" fmla="*/ 5642 h 9"/>
                  <a:gd name="T2" fmla="*/ 0 w 8"/>
                  <a:gd name="T3" fmla="*/ 3225 h 9"/>
                  <a:gd name="T4" fmla="*/ 0 w 8"/>
                  <a:gd name="T5" fmla="*/ 2417 h 9"/>
                  <a:gd name="T6" fmla="*/ 2164 w 8"/>
                  <a:gd name="T7" fmla="*/ 0 h 9"/>
                  <a:gd name="T8" fmla="*/ 4077 w 8"/>
                  <a:gd name="T9" fmla="*/ 2417 h 9"/>
                  <a:gd name="T10" fmla="*/ 2164 w 8"/>
                  <a:gd name="T11" fmla="*/ 5642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8" y="2"/>
                      <a:pt x="8" y="4"/>
                    </a:cubicBezTo>
                    <a:cubicBezTo>
                      <a:pt x="8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927" name="Freeform 642"/>
              <p:cNvSpPr>
                <a:spLocks noChangeArrowheads="1"/>
              </p:cNvSpPr>
              <p:nvPr/>
            </p:nvSpPr>
            <p:spPr bwMode="auto">
              <a:xfrm>
                <a:off x="5106" y="512"/>
                <a:ext cx="11" cy="12"/>
              </a:xfrm>
              <a:custGeom>
                <a:avLst/>
                <a:gdLst>
                  <a:gd name="T0" fmla="*/ 2164 w 8"/>
                  <a:gd name="T1" fmla="*/ 3489 h 9"/>
                  <a:gd name="T2" fmla="*/ 2164 w 8"/>
                  <a:gd name="T3" fmla="*/ 3489 h 9"/>
                  <a:gd name="T4" fmla="*/ 0 w 8"/>
                  <a:gd name="T5" fmla="*/ 1495 h 9"/>
                  <a:gd name="T6" fmla="*/ 0 w 8"/>
                  <a:gd name="T7" fmla="*/ 1495 h 9"/>
                  <a:gd name="T8" fmla="*/ 2164 w 8"/>
                  <a:gd name="T9" fmla="*/ 0 h 9"/>
                  <a:gd name="T10" fmla="*/ 4077 w 8"/>
                  <a:gd name="T11" fmla="*/ 1495 h 9"/>
                  <a:gd name="T12" fmla="*/ 2164 w 8"/>
                  <a:gd name="T13" fmla="*/ 3489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4" y="9"/>
                      <a:pt x="4" y="9"/>
                      <a:pt x="4" y="9"/>
                    </a:cubicBezTo>
                    <a:cubicBezTo>
                      <a:pt x="2" y="9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928" name="Freeform 643"/>
              <p:cNvSpPr>
                <a:spLocks noChangeArrowheads="1"/>
              </p:cNvSpPr>
              <p:nvPr/>
            </p:nvSpPr>
            <p:spPr bwMode="auto">
              <a:xfrm>
                <a:off x="4961" y="498"/>
                <a:ext cx="13" cy="13"/>
              </a:xfrm>
              <a:custGeom>
                <a:avLst/>
                <a:gdLst>
                  <a:gd name="T0" fmla="*/ 3194 w 9"/>
                  <a:gd name="T1" fmla="*/ 5642 h 9"/>
                  <a:gd name="T2" fmla="*/ 0 w 9"/>
                  <a:gd name="T3" fmla="*/ 3225 h 9"/>
                  <a:gd name="T4" fmla="*/ 0 w 9"/>
                  <a:gd name="T5" fmla="*/ 2417 h 9"/>
                  <a:gd name="T6" fmla="*/ 3194 w 9"/>
                  <a:gd name="T7" fmla="*/ 0 h 9"/>
                  <a:gd name="T8" fmla="*/ 7173 w 9"/>
                  <a:gd name="T9" fmla="*/ 2417 h 9"/>
                  <a:gd name="T10" fmla="*/ 3194 w 9"/>
                  <a:gd name="T11" fmla="*/ 5642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929" name="Freeform 644"/>
              <p:cNvSpPr>
                <a:spLocks noChangeArrowheads="1"/>
              </p:cNvSpPr>
              <p:nvPr/>
            </p:nvSpPr>
            <p:spPr bwMode="auto">
              <a:xfrm>
                <a:off x="5373" y="498"/>
                <a:ext cx="11" cy="13"/>
              </a:xfrm>
              <a:custGeom>
                <a:avLst/>
                <a:gdLst>
                  <a:gd name="T0" fmla="*/ 2164 w 8"/>
                  <a:gd name="T1" fmla="*/ 5642 h 9"/>
                  <a:gd name="T2" fmla="*/ 0 w 8"/>
                  <a:gd name="T3" fmla="*/ 3225 h 9"/>
                  <a:gd name="T4" fmla="*/ 0 w 8"/>
                  <a:gd name="T5" fmla="*/ 2417 h 9"/>
                  <a:gd name="T6" fmla="*/ 2164 w 8"/>
                  <a:gd name="T7" fmla="*/ 0 h 9"/>
                  <a:gd name="T8" fmla="*/ 4077 w 8"/>
                  <a:gd name="T9" fmla="*/ 2417 h 9"/>
                  <a:gd name="T10" fmla="*/ 2164 w 8"/>
                  <a:gd name="T11" fmla="*/ 5642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930" name="Freeform 645"/>
              <p:cNvSpPr>
                <a:spLocks noChangeArrowheads="1"/>
              </p:cNvSpPr>
              <p:nvPr/>
            </p:nvSpPr>
            <p:spPr bwMode="auto">
              <a:xfrm>
                <a:off x="5291" y="498"/>
                <a:ext cx="13" cy="13"/>
              </a:xfrm>
              <a:custGeom>
                <a:avLst/>
                <a:gdLst>
                  <a:gd name="T0" fmla="*/ 2417 w 9"/>
                  <a:gd name="T1" fmla="*/ 5642 h 9"/>
                  <a:gd name="T2" fmla="*/ 0 w 9"/>
                  <a:gd name="T3" fmla="*/ 3225 h 9"/>
                  <a:gd name="T4" fmla="*/ 0 w 9"/>
                  <a:gd name="T5" fmla="*/ 2417 h 9"/>
                  <a:gd name="T6" fmla="*/ 2417 w 9"/>
                  <a:gd name="T7" fmla="*/ 0 h 9"/>
                  <a:gd name="T8" fmla="*/ 5642 w 9"/>
                  <a:gd name="T9" fmla="*/ 2417 h 9"/>
                  <a:gd name="T10" fmla="*/ 2417 w 9"/>
                  <a:gd name="T11" fmla="*/ 5642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931" name="Freeform 646"/>
              <p:cNvSpPr>
                <a:spLocks noChangeArrowheads="1"/>
              </p:cNvSpPr>
              <p:nvPr/>
            </p:nvSpPr>
            <p:spPr bwMode="auto">
              <a:xfrm>
                <a:off x="5229" y="512"/>
                <a:ext cx="13" cy="12"/>
              </a:xfrm>
              <a:custGeom>
                <a:avLst/>
                <a:gdLst>
                  <a:gd name="T0" fmla="*/ 3194 w 9"/>
                  <a:gd name="T1" fmla="*/ 3489 h 9"/>
                  <a:gd name="T2" fmla="*/ 3194 w 9"/>
                  <a:gd name="T3" fmla="*/ 3489 h 9"/>
                  <a:gd name="T4" fmla="*/ 0 w 9"/>
                  <a:gd name="T5" fmla="*/ 1495 h 9"/>
                  <a:gd name="T6" fmla="*/ 3194 w 9"/>
                  <a:gd name="T7" fmla="*/ 0 h 9"/>
                  <a:gd name="T8" fmla="*/ 7173 w 9"/>
                  <a:gd name="T9" fmla="*/ 1495 h 9"/>
                  <a:gd name="T10" fmla="*/ 3194 w 9"/>
                  <a:gd name="T11" fmla="*/ 3489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4" y="9"/>
                      <a:pt x="4" y="9"/>
                      <a:pt x="4" y="9"/>
                    </a:cubicBezTo>
                    <a:cubicBezTo>
                      <a:pt x="2" y="9"/>
                      <a:pt x="0" y="7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932" name="Freeform 647"/>
              <p:cNvSpPr>
                <a:spLocks noChangeArrowheads="1"/>
              </p:cNvSpPr>
              <p:nvPr/>
            </p:nvSpPr>
            <p:spPr bwMode="auto">
              <a:xfrm>
                <a:off x="5146" y="512"/>
                <a:ext cx="13" cy="12"/>
              </a:xfrm>
              <a:custGeom>
                <a:avLst/>
                <a:gdLst>
                  <a:gd name="T0" fmla="*/ 3860 w 9"/>
                  <a:gd name="T1" fmla="*/ 3489 h 9"/>
                  <a:gd name="T2" fmla="*/ 3194 w 9"/>
                  <a:gd name="T3" fmla="*/ 3489 h 9"/>
                  <a:gd name="T4" fmla="*/ 0 w 9"/>
                  <a:gd name="T5" fmla="*/ 1495 h 9"/>
                  <a:gd name="T6" fmla="*/ 0 w 9"/>
                  <a:gd name="T7" fmla="*/ 1495 h 9"/>
                  <a:gd name="T8" fmla="*/ 3194 w 9"/>
                  <a:gd name="T9" fmla="*/ 0 h 9"/>
                  <a:gd name="T10" fmla="*/ 7173 w 9"/>
                  <a:gd name="T11" fmla="*/ 1495 h 9"/>
                  <a:gd name="T12" fmla="*/ 3860 w 9"/>
                  <a:gd name="T13" fmla="*/ 3489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4" y="9"/>
                      <a:pt x="4" y="9"/>
                      <a:pt x="4" y="9"/>
                    </a:cubicBezTo>
                    <a:cubicBezTo>
                      <a:pt x="2" y="9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933" name="Freeform 648"/>
              <p:cNvSpPr>
                <a:spLocks noChangeArrowheads="1"/>
              </p:cNvSpPr>
              <p:nvPr/>
            </p:nvSpPr>
            <p:spPr bwMode="auto">
              <a:xfrm>
                <a:off x="5085" y="498"/>
                <a:ext cx="13" cy="13"/>
              </a:xfrm>
              <a:custGeom>
                <a:avLst/>
                <a:gdLst>
                  <a:gd name="T0" fmla="*/ 2417 w 9"/>
                  <a:gd name="T1" fmla="*/ 5642 h 9"/>
                  <a:gd name="T2" fmla="*/ 0 w 9"/>
                  <a:gd name="T3" fmla="*/ 3225 h 9"/>
                  <a:gd name="T4" fmla="*/ 0 w 9"/>
                  <a:gd name="T5" fmla="*/ 2417 h 9"/>
                  <a:gd name="T6" fmla="*/ 2417 w 9"/>
                  <a:gd name="T7" fmla="*/ 0 h 9"/>
                  <a:gd name="T8" fmla="*/ 5642 w 9"/>
                  <a:gd name="T9" fmla="*/ 2417 h 9"/>
                  <a:gd name="T10" fmla="*/ 2417 w 9"/>
                  <a:gd name="T11" fmla="*/ 5642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934" name="Freeform 649"/>
              <p:cNvSpPr>
                <a:spLocks noChangeArrowheads="1"/>
              </p:cNvSpPr>
              <p:nvPr/>
            </p:nvSpPr>
            <p:spPr bwMode="auto">
              <a:xfrm>
                <a:off x="4940" y="512"/>
                <a:ext cx="12" cy="12"/>
              </a:xfrm>
              <a:custGeom>
                <a:avLst/>
                <a:gdLst>
                  <a:gd name="T0" fmla="*/ 1993 w 9"/>
                  <a:gd name="T1" fmla="*/ 3489 h 9"/>
                  <a:gd name="T2" fmla="*/ 1495 w 9"/>
                  <a:gd name="T3" fmla="*/ 3489 h 9"/>
                  <a:gd name="T4" fmla="*/ 0 w 9"/>
                  <a:gd name="T5" fmla="*/ 1495 h 9"/>
                  <a:gd name="T6" fmla="*/ 1993 w 9"/>
                  <a:gd name="T7" fmla="*/ 0 h 9"/>
                  <a:gd name="T8" fmla="*/ 3489 w 9"/>
                  <a:gd name="T9" fmla="*/ 1495 h 9"/>
                  <a:gd name="T10" fmla="*/ 1993 w 9"/>
                  <a:gd name="T11" fmla="*/ 3489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4" y="9"/>
                      <a:pt x="4" y="9"/>
                      <a:pt x="4" y="9"/>
                    </a:cubicBezTo>
                    <a:cubicBezTo>
                      <a:pt x="2" y="9"/>
                      <a:pt x="0" y="7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935" name="Freeform 650"/>
              <p:cNvSpPr>
                <a:spLocks noChangeArrowheads="1"/>
              </p:cNvSpPr>
              <p:nvPr/>
            </p:nvSpPr>
            <p:spPr bwMode="auto">
              <a:xfrm>
                <a:off x="4983" y="512"/>
                <a:ext cx="11" cy="12"/>
              </a:xfrm>
              <a:custGeom>
                <a:avLst/>
                <a:gdLst>
                  <a:gd name="T0" fmla="*/ 2164 w 8"/>
                  <a:gd name="T1" fmla="*/ 3489 h 9"/>
                  <a:gd name="T2" fmla="*/ 2164 w 8"/>
                  <a:gd name="T3" fmla="*/ 3489 h 9"/>
                  <a:gd name="T4" fmla="*/ 0 w 8"/>
                  <a:gd name="T5" fmla="*/ 1495 h 9"/>
                  <a:gd name="T6" fmla="*/ 0 w 8"/>
                  <a:gd name="T7" fmla="*/ 1495 h 9"/>
                  <a:gd name="T8" fmla="*/ 2164 w 8"/>
                  <a:gd name="T9" fmla="*/ 0 h 9"/>
                  <a:gd name="T10" fmla="*/ 4077 w 8"/>
                  <a:gd name="T11" fmla="*/ 1495 h 9"/>
                  <a:gd name="T12" fmla="*/ 2164 w 8"/>
                  <a:gd name="T13" fmla="*/ 3489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4" y="9"/>
                      <a:pt x="4" y="9"/>
                      <a:pt x="4" y="9"/>
                    </a:cubicBezTo>
                    <a:cubicBezTo>
                      <a:pt x="2" y="9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936" name="Freeform 651"/>
              <p:cNvSpPr>
                <a:spLocks noChangeArrowheads="1"/>
              </p:cNvSpPr>
              <p:nvPr/>
            </p:nvSpPr>
            <p:spPr bwMode="auto">
              <a:xfrm>
                <a:off x="5354" y="512"/>
                <a:ext cx="13" cy="12"/>
              </a:xfrm>
              <a:custGeom>
                <a:avLst/>
                <a:gdLst>
                  <a:gd name="T0" fmla="*/ 2417 w 9"/>
                  <a:gd name="T1" fmla="*/ 3489 h 9"/>
                  <a:gd name="T2" fmla="*/ 2417 w 9"/>
                  <a:gd name="T3" fmla="*/ 3489 h 9"/>
                  <a:gd name="T4" fmla="*/ 0 w 9"/>
                  <a:gd name="T5" fmla="*/ 1495 h 9"/>
                  <a:gd name="T6" fmla="*/ 0 w 9"/>
                  <a:gd name="T7" fmla="*/ 1495 h 9"/>
                  <a:gd name="T8" fmla="*/ 2417 w 9"/>
                  <a:gd name="T9" fmla="*/ 0 h 9"/>
                  <a:gd name="T10" fmla="*/ 5642 w 9"/>
                  <a:gd name="T11" fmla="*/ 1495 h 9"/>
                  <a:gd name="T12" fmla="*/ 2417 w 9"/>
                  <a:gd name="T13" fmla="*/ 3489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4" y="9"/>
                      <a:pt x="4" y="9"/>
                      <a:pt x="4" y="9"/>
                    </a:cubicBezTo>
                    <a:cubicBezTo>
                      <a:pt x="2" y="9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937" name="Freeform 652"/>
              <p:cNvSpPr>
                <a:spLocks noChangeArrowheads="1"/>
              </p:cNvSpPr>
              <p:nvPr/>
            </p:nvSpPr>
            <p:spPr bwMode="auto">
              <a:xfrm>
                <a:off x="5270" y="512"/>
                <a:ext cx="12" cy="12"/>
              </a:xfrm>
              <a:custGeom>
                <a:avLst/>
                <a:gdLst>
                  <a:gd name="T0" fmla="*/ 1993 w 9"/>
                  <a:gd name="T1" fmla="*/ 3489 h 9"/>
                  <a:gd name="T2" fmla="*/ 1495 w 9"/>
                  <a:gd name="T3" fmla="*/ 3489 h 9"/>
                  <a:gd name="T4" fmla="*/ 0 w 9"/>
                  <a:gd name="T5" fmla="*/ 1495 h 9"/>
                  <a:gd name="T6" fmla="*/ 0 w 9"/>
                  <a:gd name="T7" fmla="*/ 1495 h 9"/>
                  <a:gd name="T8" fmla="*/ 1993 w 9"/>
                  <a:gd name="T9" fmla="*/ 0 h 9"/>
                  <a:gd name="T10" fmla="*/ 3489 w 9"/>
                  <a:gd name="T11" fmla="*/ 1495 h 9"/>
                  <a:gd name="T12" fmla="*/ 1993 w 9"/>
                  <a:gd name="T13" fmla="*/ 3489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4" y="9"/>
                      <a:pt x="4" y="9"/>
                      <a:pt x="4" y="9"/>
                    </a:cubicBezTo>
                    <a:cubicBezTo>
                      <a:pt x="2" y="9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938" name="Freeform 653"/>
              <p:cNvSpPr>
                <a:spLocks noChangeArrowheads="1"/>
              </p:cNvSpPr>
              <p:nvPr/>
            </p:nvSpPr>
            <p:spPr bwMode="auto">
              <a:xfrm>
                <a:off x="5208" y="498"/>
                <a:ext cx="12" cy="13"/>
              </a:xfrm>
              <a:custGeom>
                <a:avLst/>
                <a:gdLst>
                  <a:gd name="T0" fmla="*/ 1993 w 9"/>
                  <a:gd name="T1" fmla="*/ 5642 h 9"/>
                  <a:gd name="T2" fmla="*/ 0 w 9"/>
                  <a:gd name="T3" fmla="*/ 3225 h 9"/>
                  <a:gd name="T4" fmla="*/ 0 w 9"/>
                  <a:gd name="T5" fmla="*/ 2417 h 9"/>
                  <a:gd name="T6" fmla="*/ 1993 w 9"/>
                  <a:gd name="T7" fmla="*/ 0 h 9"/>
                  <a:gd name="T8" fmla="*/ 3489 w 9"/>
                  <a:gd name="T9" fmla="*/ 2417 h 9"/>
                  <a:gd name="T10" fmla="*/ 1993 w 9"/>
                  <a:gd name="T11" fmla="*/ 5642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939" name="Oval 654"/>
              <p:cNvSpPr>
                <a:spLocks noChangeArrowheads="1"/>
              </p:cNvSpPr>
              <p:nvPr/>
            </p:nvSpPr>
            <p:spPr bwMode="auto">
              <a:xfrm>
                <a:off x="5125" y="498"/>
                <a:ext cx="13" cy="13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US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940" name="Freeform 655"/>
              <p:cNvSpPr>
                <a:spLocks noChangeArrowheads="1"/>
              </p:cNvSpPr>
              <p:nvPr/>
            </p:nvSpPr>
            <p:spPr bwMode="auto">
              <a:xfrm>
                <a:off x="5063" y="512"/>
                <a:ext cx="13" cy="12"/>
              </a:xfrm>
              <a:custGeom>
                <a:avLst/>
                <a:gdLst>
                  <a:gd name="T0" fmla="*/ 3860 w 9"/>
                  <a:gd name="T1" fmla="*/ 3489 h 9"/>
                  <a:gd name="T2" fmla="*/ 3860 w 9"/>
                  <a:gd name="T3" fmla="*/ 3489 h 9"/>
                  <a:gd name="T4" fmla="*/ 0 w 9"/>
                  <a:gd name="T5" fmla="*/ 1495 h 9"/>
                  <a:gd name="T6" fmla="*/ 0 w 9"/>
                  <a:gd name="T7" fmla="*/ 1495 h 9"/>
                  <a:gd name="T8" fmla="*/ 3860 w 9"/>
                  <a:gd name="T9" fmla="*/ 0 h 9"/>
                  <a:gd name="T10" fmla="*/ 7173 w 9"/>
                  <a:gd name="T11" fmla="*/ 1495 h 9"/>
                  <a:gd name="T12" fmla="*/ 3860 w 9"/>
                  <a:gd name="T13" fmla="*/ 3489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2" y="9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941" name="Freeform 656"/>
              <p:cNvSpPr>
                <a:spLocks noChangeArrowheads="1"/>
              </p:cNvSpPr>
              <p:nvPr/>
            </p:nvSpPr>
            <p:spPr bwMode="auto">
              <a:xfrm>
                <a:off x="5476" y="533"/>
                <a:ext cx="12" cy="11"/>
              </a:xfrm>
              <a:custGeom>
                <a:avLst/>
                <a:gdLst>
                  <a:gd name="T0" fmla="*/ 1495 w 9"/>
                  <a:gd name="T1" fmla="*/ 4077 h 8"/>
                  <a:gd name="T2" fmla="*/ 0 w 9"/>
                  <a:gd name="T3" fmla="*/ 2164 h 8"/>
                  <a:gd name="T4" fmla="*/ 0 w 9"/>
                  <a:gd name="T5" fmla="*/ 2164 h 8"/>
                  <a:gd name="T6" fmla="*/ 1495 w 9"/>
                  <a:gd name="T7" fmla="*/ 0 h 8"/>
                  <a:gd name="T8" fmla="*/ 3489 w 9"/>
                  <a:gd name="T9" fmla="*/ 2164 h 8"/>
                  <a:gd name="T10" fmla="*/ 1495 w 9"/>
                  <a:gd name="T11" fmla="*/ 4077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8">
                    <a:moveTo>
                      <a:pt x="4" y="8"/>
                    </a:moveTo>
                    <a:cubicBezTo>
                      <a:pt x="2" y="8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6"/>
                      <a:pt x="7" y="8"/>
                      <a:pt x="4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942" name="Freeform 657"/>
              <p:cNvSpPr>
                <a:spLocks noChangeArrowheads="1"/>
              </p:cNvSpPr>
              <p:nvPr/>
            </p:nvSpPr>
            <p:spPr bwMode="auto">
              <a:xfrm>
                <a:off x="5435" y="533"/>
                <a:ext cx="11" cy="11"/>
              </a:xfrm>
              <a:custGeom>
                <a:avLst/>
                <a:gdLst>
                  <a:gd name="T0" fmla="*/ 2164 w 8"/>
                  <a:gd name="T1" fmla="*/ 4077 h 8"/>
                  <a:gd name="T2" fmla="*/ 0 w 8"/>
                  <a:gd name="T3" fmla="*/ 2164 h 8"/>
                  <a:gd name="T4" fmla="*/ 0 w 8"/>
                  <a:gd name="T5" fmla="*/ 2164 h 8"/>
                  <a:gd name="T6" fmla="*/ 2164 w 8"/>
                  <a:gd name="T7" fmla="*/ 0 h 8"/>
                  <a:gd name="T8" fmla="*/ 4077 w 8"/>
                  <a:gd name="T9" fmla="*/ 2164 h 8"/>
                  <a:gd name="T10" fmla="*/ 2164 w 8"/>
                  <a:gd name="T11" fmla="*/ 4077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8" h="8">
                    <a:moveTo>
                      <a:pt x="4" y="8"/>
                    </a:moveTo>
                    <a:cubicBezTo>
                      <a:pt x="2" y="8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6"/>
                      <a:pt x="6" y="8"/>
                      <a:pt x="4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943" name="Freeform 658"/>
              <p:cNvSpPr>
                <a:spLocks noChangeArrowheads="1"/>
              </p:cNvSpPr>
              <p:nvPr/>
            </p:nvSpPr>
            <p:spPr bwMode="auto">
              <a:xfrm>
                <a:off x="5415" y="519"/>
                <a:ext cx="13" cy="13"/>
              </a:xfrm>
              <a:custGeom>
                <a:avLst/>
                <a:gdLst>
                  <a:gd name="T0" fmla="*/ 3225 w 9"/>
                  <a:gd name="T1" fmla="*/ 5642 h 9"/>
                  <a:gd name="T2" fmla="*/ 2417 w 9"/>
                  <a:gd name="T3" fmla="*/ 5642 h 9"/>
                  <a:gd name="T4" fmla="*/ 0 w 9"/>
                  <a:gd name="T5" fmla="*/ 2417 h 9"/>
                  <a:gd name="T6" fmla="*/ 0 w 9"/>
                  <a:gd name="T7" fmla="*/ 2417 h 9"/>
                  <a:gd name="T8" fmla="*/ 2417 w 9"/>
                  <a:gd name="T9" fmla="*/ 0 h 9"/>
                  <a:gd name="T10" fmla="*/ 5642 w 9"/>
                  <a:gd name="T11" fmla="*/ 2417 h 9"/>
                  <a:gd name="T12" fmla="*/ 3225 w 9"/>
                  <a:gd name="T13" fmla="*/ 5642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4" y="9"/>
                      <a:pt x="4" y="9"/>
                      <a:pt x="4" y="9"/>
                    </a:cubicBezTo>
                    <a:cubicBezTo>
                      <a:pt x="2" y="9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8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944" name="Freeform 659"/>
              <p:cNvSpPr>
                <a:spLocks noChangeArrowheads="1"/>
              </p:cNvSpPr>
              <p:nvPr/>
            </p:nvSpPr>
            <p:spPr bwMode="auto">
              <a:xfrm>
                <a:off x="5331" y="519"/>
                <a:ext cx="13" cy="13"/>
              </a:xfrm>
              <a:custGeom>
                <a:avLst/>
                <a:gdLst>
                  <a:gd name="T0" fmla="*/ 3860 w 9"/>
                  <a:gd name="T1" fmla="*/ 5642 h 9"/>
                  <a:gd name="T2" fmla="*/ 3860 w 9"/>
                  <a:gd name="T3" fmla="*/ 5642 h 9"/>
                  <a:gd name="T4" fmla="*/ 0 w 9"/>
                  <a:gd name="T5" fmla="*/ 2417 h 9"/>
                  <a:gd name="T6" fmla="*/ 0 w 9"/>
                  <a:gd name="T7" fmla="*/ 2417 h 9"/>
                  <a:gd name="T8" fmla="*/ 3860 w 9"/>
                  <a:gd name="T9" fmla="*/ 0 h 9"/>
                  <a:gd name="T10" fmla="*/ 7173 w 9"/>
                  <a:gd name="T11" fmla="*/ 2417 h 9"/>
                  <a:gd name="T12" fmla="*/ 3860 w 9"/>
                  <a:gd name="T13" fmla="*/ 5642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2" y="9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8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945" name="Freeform 660"/>
              <p:cNvSpPr>
                <a:spLocks noChangeArrowheads="1"/>
              </p:cNvSpPr>
              <p:nvPr/>
            </p:nvSpPr>
            <p:spPr bwMode="auto">
              <a:xfrm>
                <a:off x="5188" y="533"/>
                <a:ext cx="11" cy="11"/>
              </a:xfrm>
              <a:custGeom>
                <a:avLst/>
                <a:gdLst>
                  <a:gd name="T0" fmla="*/ 2164 w 8"/>
                  <a:gd name="T1" fmla="*/ 4077 h 8"/>
                  <a:gd name="T2" fmla="*/ 0 w 8"/>
                  <a:gd name="T3" fmla="*/ 2164 h 8"/>
                  <a:gd name="T4" fmla="*/ 0 w 8"/>
                  <a:gd name="T5" fmla="*/ 2164 h 8"/>
                  <a:gd name="T6" fmla="*/ 2164 w 8"/>
                  <a:gd name="T7" fmla="*/ 0 h 8"/>
                  <a:gd name="T8" fmla="*/ 4077 w 8"/>
                  <a:gd name="T9" fmla="*/ 2164 h 8"/>
                  <a:gd name="T10" fmla="*/ 2164 w 8"/>
                  <a:gd name="T11" fmla="*/ 4077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8" h="8">
                    <a:moveTo>
                      <a:pt x="4" y="8"/>
                    </a:moveTo>
                    <a:cubicBezTo>
                      <a:pt x="1" y="8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1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6"/>
                      <a:pt x="6" y="8"/>
                      <a:pt x="4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946" name="Freeform 661"/>
              <p:cNvSpPr>
                <a:spLocks noChangeArrowheads="1"/>
              </p:cNvSpPr>
              <p:nvPr/>
            </p:nvSpPr>
            <p:spPr bwMode="auto">
              <a:xfrm>
                <a:off x="5455" y="519"/>
                <a:ext cx="13" cy="13"/>
              </a:xfrm>
              <a:custGeom>
                <a:avLst/>
                <a:gdLst>
                  <a:gd name="T0" fmla="*/ 3225 w 9"/>
                  <a:gd name="T1" fmla="*/ 5642 h 9"/>
                  <a:gd name="T2" fmla="*/ 3225 w 9"/>
                  <a:gd name="T3" fmla="*/ 5642 h 9"/>
                  <a:gd name="T4" fmla="*/ 0 w 9"/>
                  <a:gd name="T5" fmla="*/ 2417 h 9"/>
                  <a:gd name="T6" fmla="*/ 3225 w 9"/>
                  <a:gd name="T7" fmla="*/ 0 h 9"/>
                  <a:gd name="T8" fmla="*/ 5642 w 9"/>
                  <a:gd name="T9" fmla="*/ 2417 h 9"/>
                  <a:gd name="T10" fmla="*/ 3225 w 9"/>
                  <a:gd name="T11" fmla="*/ 5642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2" y="8"/>
                      <a:pt x="0" y="7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8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947" name="Freeform 662"/>
              <p:cNvSpPr>
                <a:spLocks noChangeArrowheads="1"/>
              </p:cNvSpPr>
              <p:nvPr/>
            </p:nvSpPr>
            <p:spPr bwMode="auto">
              <a:xfrm>
                <a:off x="5744" y="519"/>
                <a:ext cx="13" cy="13"/>
              </a:xfrm>
              <a:custGeom>
                <a:avLst/>
                <a:gdLst>
                  <a:gd name="T0" fmla="*/ 3860 w 9"/>
                  <a:gd name="T1" fmla="*/ 5642 h 9"/>
                  <a:gd name="T2" fmla="*/ 3194 w 9"/>
                  <a:gd name="T3" fmla="*/ 5642 h 9"/>
                  <a:gd name="T4" fmla="*/ 0 w 9"/>
                  <a:gd name="T5" fmla="*/ 2417 h 9"/>
                  <a:gd name="T6" fmla="*/ 3194 w 9"/>
                  <a:gd name="T7" fmla="*/ 0 h 9"/>
                  <a:gd name="T8" fmla="*/ 7173 w 9"/>
                  <a:gd name="T9" fmla="*/ 2417 h 9"/>
                  <a:gd name="T10" fmla="*/ 3860 w 9"/>
                  <a:gd name="T11" fmla="*/ 5642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4" y="9"/>
                      <a:pt x="4" y="9"/>
                      <a:pt x="4" y="9"/>
                    </a:cubicBezTo>
                    <a:cubicBezTo>
                      <a:pt x="2" y="8"/>
                      <a:pt x="0" y="7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8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948" name="Freeform 663"/>
              <p:cNvSpPr>
                <a:spLocks noChangeArrowheads="1"/>
              </p:cNvSpPr>
              <p:nvPr/>
            </p:nvSpPr>
            <p:spPr bwMode="auto">
              <a:xfrm>
                <a:off x="5723" y="533"/>
                <a:ext cx="13" cy="11"/>
              </a:xfrm>
              <a:custGeom>
                <a:avLst/>
                <a:gdLst>
                  <a:gd name="T0" fmla="*/ 3225 w 9"/>
                  <a:gd name="T1" fmla="*/ 4077 h 8"/>
                  <a:gd name="T2" fmla="*/ 0 w 9"/>
                  <a:gd name="T3" fmla="*/ 2164 h 8"/>
                  <a:gd name="T4" fmla="*/ 0 w 9"/>
                  <a:gd name="T5" fmla="*/ 2164 h 8"/>
                  <a:gd name="T6" fmla="*/ 3225 w 9"/>
                  <a:gd name="T7" fmla="*/ 0 h 8"/>
                  <a:gd name="T8" fmla="*/ 5642 w 9"/>
                  <a:gd name="T9" fmla="*/ 2164 h 8"/>
                  <a:gd name="T10" fmla="*/ 3225 w 9"/>
                  <a:gd name="T11" fmla="*/ 4077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8">
                    <a:moveTo>
                      <a:pt x="5" y="8"/>
                    </a:moveTo>
                    <a:cubicBezTo>
                      <a:pt x="2" y="8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6"/>
                      <a:pt x="7" y="8"/>
                      <a:pt x="5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949" name="Freeform 664"/>
              <p:cNvSpPr>
                <a:spLocks noChangeArrowheads="1"/>
              </p:cNvSpPr>
              <p:nvPr/>
            </p:nvSpPr>
            <p:spPr bwMode="auto">
              <a:xfrm>
                <a:off x="5704" y="519"/>
                <a:ext cx="11" cy="13"/>
              </a:xfrm>
              <a:custGeom>
                <a:avLst/>
                <a:gdLst>
                  <a:gd name="T0" fmla="*/ 2164 w 8"/>
                  <a:gd name="T1" fmla="*/ 5642 h 9"/>
                  <a:gd name="T2" fmla="*/ 2164 w 8"/>
                  <a:gd name="T3" fmla="*/ 5642 h 9"/>
                  <a:gd name="T4" fmla="*/ 0 w 8"/>
                  <a:gd name="T5" fmla="*/ 2417 h 9"/>
                  <a:gd name="T6" fmla="*/ 0 w 8"/>
                  <a:gd name="T7" fmla="*/ 2417 h 9"/>
                  <a:gd name="T8" fmla="*/ 2164 w 8"/>
                  <a:gd name="T9" fmla="*/ 0 h 9"/>
                  <a:gd name="T10" fmla="*/ 4077 w 8"/>
                  <a:gd name="T11" fmla="*/ 2417 h 9"/>
                  <a:gd name="T12" fmla="*/ 2164 w 8"/>
                  <a:gd name="T13" fmla="*/ 5642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4" y="9"/>
                      <a:pt x="4" y="9"/>
                      <a:pt x="4" y="9"/>
                    </a:cubicBezTo>
                    <a:cubicBezTo>
                      <a:pt x="2" y="9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7"/>
                      <a:pt x="7" y="8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950" name="Oval 665"/>
              <p:cNvSpPr>
                <a:spLocks noChangeArrowheads="1"/>
              </p:cNvSpPr>
              <p:nvPr/>
            </p:nvSpPr>
            <p:spPr bwMode="auto">
              <a:xfrm>
                <a:off x="5683" y="533"/>
                <a:ext cx="13" cy="11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US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951" name="Freeform 666"/>
              <p:cNvSpPr>
                <a:spLocks noChangeArrowheads="1"/>
              </p:cNvSpPr>
              <p:nvPr/>
            </p:nvSpPr>
            <p:spPr bwMode="auto">
              <a:xfrm>
                <a:off x="5662" y="519"/>
                <a:ext cx="13" cy="13"/>
              </a:xfrm>
              <a:custGeom>
                <a:avLst/>
                <a:gdLst>
                  <a:gd name="T0" fmla="*/ 3860 w 9"/>
                  <a:gd name="T1" fmla="*/ 5642 h 9"/>
                  <a:gd name="T2" fmla="*/ 3860 w 9"/>
                  <a:gd name="T3" fmla="*/ 5642 h 9"/>
                  <a:gd name="T4" fmla="*/ 0 w 9"/>
                  <a:gd name="T5" fmla="*/ 2417 h 9"/>
                  <a:gd name="T6" fmla="*/ 0 w 9"/>
                  <a:gd name="T7" fmla="*/ 2417 h 9"/>
                  <a:gd name="T8" fmla="*/ 3860 w 9"/>
                  <a:gd name="T9" fmla="*/ 0 h 9"/>
                  <a:gd name="T10" fmla="*/ 7173 w 9"/>
                  <a:gd name="T11" fmla="*/ 2417 h 9"/>
                  <a:gd name="T12" fmla="*/ 3860 w 9"/>
                  <a:gd name="T13" fmla="*/ 5642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2" y="9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8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952" name="Freeform 667"/>
              <p:cNvSpPr>
                <a:spLocks noChangeArrowheads="1"/>
              </p:cNvSpPr>
              <p:nvPr/>
            </p:nvSpPr>
            <p:spPr bwMode="auto">
              <a:xfrm>
                <a:off x="5393" y="533"/>
                <a:ext cx="13" cy="11"/>
              </a:xfrm>
              <a:custGeom>
                <a:avLst/>
                <a:gdLst>
                  <a:gd name="T0" fmla="*/ 3225 w 9"/>
                  <a:gd name="T1" fmla="*/ 4077 h 8"/>
                  <a:gd name="T2" fmla="*/ 0 w 9"/>
                  <a:gd name="T3" fmla="*/ 2164 h 8"/>
                  <a:gd name="T4" fmla="*/ 0 w 9"/>
                  <a:gd name="T5" fmla="*/ 2164 h 8"/>
                  <a:gd name="T6" fmla="*/ 3225 w 9"/>
                  <a:gd name="T7" fmla="*/ 0 h 8"/>
                  <a:gd name="T8" fmla="*/ 5642 w 9"/>
                  <a:gd name="T9" fmla="*/ 2164 h 8"/>
                  <a:gd name="T10" fmla="*/ 3225 w 9"/>
                  <a:gd name="T11" fmla="*/ 4077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8">
                    <a:moveTo>
                      <a:pt x="5" y="8"/>
                    </a:moveTo>
                    <a:cubicBezTo>
                      <a:pt x="2" y="8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6"/>
                      <a:pt x="7" y="8"/>
                      <a:pt x="5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953" name="Freeform 668"/>
              <p:cNvSpPr>
                <a:spLocks noChangeArrowheads="1"/>
              </p:cNvSpPr>
              <p:nvPr/>
            </p:nvSpPr>
            <p:spPr bwMode="auto">
              <a:xfrm>
                <a:off x="5312" y="533"/>
                <a:ext cx="11" cy="11"/>
              </a:xfrm>
              <a:custGeom>
                <a:avLst/>
                <a:gdLst>
                  <a:gd name="T0" fmla="*/ 2164 w 8"/>
                  <a:gd name="T1" fmla="*/ 4077 h 8"/>
                  <a:gd name="T2" fmla="*/ 0 w 8"/>
                  <a:gd name="T3" fmla="*/ 2164 h 8"/>
                  <a:gd name="T4" fmla="*/ 0 w 8"/>
                  <a:gd name="T5" fmla="*/ 2164 h 8"/>
                  <a:gd name="T6" fmla="*/ 2164 w 8"/>
                  <a:gd name="T7" fmla="*/ 0 h 8"/>
                  <a:gd name="T8" fmla="*/ 4077 w 8"/>
                  <a:gd name="T9" fmla="*/ 2164 h 8"/>
                  <a:gd name="T10" fmla="*/ 2164 w 8"/>
                  <a:gd name="T11" fmla="*/ 4077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8" h="8">
                    <a:moveTo>
                      <a:pt x="4" y="8"/>
                    </a:moveTo>
                    <a:cubicBezTo>
                      <a:pt x="2" y="8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6"/>
                      <a:pt x="6" y="8"/>
                      <a:pt x="4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954" name="Freeform 669"/>
              <p:cNvSpPr>
                <a:spLocks noChangeArrowheads="1"/>
              </p:cNvSpPr>
              <p:nvPr/>
            </p:nvSpPr>
            <p:spPr bwMode="auto">
              <a:xfrm>
                <a:off x="5250" y="519"/>
                <a:ext cx="11" cy="13"/>
              </a:xfrm>
              <a:custGeom>
                <a:avLst/>
                <a:gdLst>
                  <a:gd name="T0" fmla="*/ 2164 w 8"/>
                  <a:gd name="T1" fmla="*/ 5642 h 9"/>
                  <a:gd name="T2" fmla="*/ 2164 w 8"/>
                  <a:gd name="T3" fmla="*/ 5642 h 9"/>
                  <a:gd name="T4" fmla="*/ 0 w 8"/>
                  <a:gd name="T5" fmla="*/ 2417 h 9"/>
                  <a:gd name="T6" fmla="*/ 0 w 8"/>
                  <a:gd name="T7" fmla="*/ 2417 h 9"/>
                  <a:gd name="T8" fmla="*/ 2164 w 8"/>
                  <a:gd name="T9" fmla="*/ 0 h 9"/>
                  <a:gd name="T10" fmla="*/ 4077 w 8"/>
                  <a:gd name="T11" fmla="*/ 2417 h 9"/>
                  <a:gd name="T12" fmla="*/ 2164 w 8"/>
                  <a:gd name="T13" fmla="*/ 5642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4" y="9"/>
                      <a:pt x="4" y="9"/>
                      <a:pt x="4" y="9"/>
                    </a:cubicBezTo>
                    <a:cubicBezTo>
                      <a:pt x="1" y="9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7"/>
                      <a:pt x="6" y="8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955" name="Freeform 670"/>
              <p:cNvSpPr>
                <a:spLocks noChangeArrowheads="1"/>
              </p:cNvSpPr>
              <p:nvPr/>
            </p:nvSpPr>
            <p:spPr bwMode="auto">
              <a:xfrm>
                <a:off x="5168" y="519"/>
                <a:ext cx="11" cy="13"/>
              </a:xfrm>
              <a:custGeom>
                <a:avLst/>
                <a:gdLst>
                  <a:gd name="T0" fmla="*/ 2164 w 8"/>
                  <a:gd name="T1" fmla="*/ 5642 h 9"/>
                  <a:gd name="T2" fmla="*/ 2164 w 8"/>
                  <a:gd name="T3" fmla="*/ 5642 h 9"/>
                  <a:gd name="T4" fmla="*/ 0 w 8"/>
                  <a:gd name="T5" fmla="*/ 2417 h 9"/>
                  <a:gd name="T6" fmla="*/ 0 w 8"/>
                  <a:gd name="T7" fmla="*/ 2417 h 9"/>
                  <a:gd name="T8" fmla="*/ 2164 w 8"/>
                  <a:gd name="T9" fmla="*/ 0 h 9"/>
                  <a:gd name="T10" fmla="*/ 4077 w 8"/>
                  <a:gd name="T11" fmla="*/ 2417 h 9"/>
                  <a:gd name="T12" fmla="*/ 2164 w 8"/>
                  <a:gd name="T13" fmla="*/ 5642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4" y="9"/>
                      <a:pt x="4" y="9"/>
                      <a:pt x="4" y="9"/>
                    </a:cubicBezTo>
                    <a:cubicBezTo>
                      <a:pt x="2" y="9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8" y="2"/>
                      <a:pt x="8" y="4"/>
                    </a:cubicBezTo>
                    <a:cubicBezTo>
                      <a:pt x="8" y="7"/>
                      <a:pt x="7" y="8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956" name="Freeform 671"/>
              <p:cNvSpPr>
                <a:spLocks noChangeArrowheads="1"/>
              </p:cNvSpPr>
              <p:nvPr/>
            </p:nvSpPr>
            <p:spPr bwMode="auto">
              <a:xfrm>
                <a:off x="5106" y="533"/>
                <a:ext cx="11" cy="11"/>
              </a:xfrm>
              <a:custGeom>
                <a:avLst/>
                <a:gdLst>
                  <a:gd name="T0" fmla="*/ 2164 w 8"/>
                  <a:gd name="T1" fmla="*/ 4077 h 8"/>
                  <a:gd name="T2" fmla="*/ 0 w 8"/>
                  <a:gd name="T3" fmla="*/ 2164 h 8"/>
                  <a:gd name="T4" fmla="*/ 0 w 8"/>
                  <a:gd name="T5" fmla="*/ 2164 h 8"/>
                  <a:gd name="T6" fmla="*/ 2164 w 8"/>
                  <a:gd name="T7" fmla="*/ 0 h 8"/>
                  <a:gd name="T8" fmla="*/ 4077 w 8"/>
                  <a:gd name="T9" fmla="*/ 2164 h 8"/>
                  <a:gd name="T10" fmla="*/ 2164 w 8"/>
                  <a:gd name="T11" fmla="*/ 4077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8" h="8">
                    <a:moveTo>
                      <a:pt x="4" y="8"/>
                    </a:moveTo>
                    <a:cubicBezTo>
                      <a:pt x="2" y="8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6"/>
                      <a:pt x="6" y="8"/>
                      <a:pt x="4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957" name="Freeform 672"/>
              <p:cNvSpPr>
                <a:spLocks noChangeArrowheads="1"/>
              </p:cNvSpPr>
              <p:nvPr/>
            </p:nvSpPr>
            <p:spPr bwMode="auto">
              <a:xfrm>
                <a:off x="4961" y="519"/>
                <a:ext cx="13" cy="13"/>
              </a:xfrm>
              <a:custGeom>
                <a:avLst/>
                <a:gdLst>
                  <a:gd name="T0" fmla="*/ 3194 w 9"/>
                  <a:gd name="T1" fmla="*/ 5642 h 9"/>
                  <a:gd name="T2" fmla="*/ 3194 w 9"/>
                  <a:gd name="T3" fmla="*/ 5642 h 9"/>
                  <a:gd name="T4" fmla="*/ 0 w 9"/>
                  <a:gd name="T5" fmla="*/ 2417 h 9"/>
                  <a:gd name="T6" fmla="*/ 0 w 9"/>
                  <a:gd name="T7" fmla="*/ 2417 h 9"/>
                  <a:gd name="T8" fmla="*/ 3194 w 9"/>
                  <a:gd name="T9" fmla="*/ 0 h 9"/>
                  <a:gd name="T10" fmla="*/ 7173 w 9"/>
                  <a:gd name="T11" fmla="*/ 2417 h 9"/>
                  <a:gd name="T12" fmla="*/ 3194 w 9"/>
                  <a:gd name="T13" fmla="*/ 5642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4" y="9"/>
                      <a:pt x="4" y="9"/>
                      <a:pt x="4" y="9"/>
                    </a:cubicBezTo>
                    <a:cubicBezTo>
                      <a:pt x="2" y="9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8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958" name="Freeform 673"/>
              <p:cNvSpPr>
                <a:spLocks noChangeArrowheads="1"/>
              </p:cNvSpPr>
              <p:nvPr/>
            </p:nvSpPr>
            <p:spPr bwMode="auto">
              <a:xfrm>
                <a:off x="5373" y="519"/>
                <a:ext cx="11" cy="13"/>
              </a:xfrm>
              <a:custGeom>
                <a:avLst/>
                <a:gdLst>
                  <a:gd name="T0" fmla="*/ 2164 w 8"/>
                  <a:gd name="T1" fmla="*/ 5642 h 9"/>
                  <a:gd name="T2" fmla="*/ 2164 w 8"/>
                  <a:gd name="T3" fmla="*/ 5642 h 9"/>
                  <a:gd name="T4" fmla="*/ 0 w 8"/>
                  <a:gd name="T5" fmla="*/ 2417 h 9"/>
                  <a:gd name="T6" fmla="*/ 0 w 8"/>
                  <a:gd name="T7" fmla="*/ 2417 h 9"/>
                  <a:gd name="T8" fmla="*/ 2164 w 8"/>
                  <a:gd name="T9" fmla="*/ 0 h 9"/>
                  <a:gd name="T10" fmla="*/ 4077 w 8"/>
                  <a:gd name="T11" fmla="*/ 2417 h 9"/>
                  <a:gd name="T12" fmla="*/ 2164 w 8"/>
                  <a:gd name="T13" fmla="*/ 5642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4" y="9"/>
                      <a:pt x="4" y="9"/>
                      <a:pt x="4" y="9"/>
                    </a:cubicBezTo>
                    <a:cubicBezTo>
                      <a:pt x="2" y="9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7"/>
                      <a:pt x="6" y="8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959" name="Freeform 674"/>
              <p:cNvSpPr>
                <a:spLocks noChangeArrowheads="1"/>
              </p:cNvSpPr>
              <p:nvPr/>
            </p:nvSpPr>
            <p:spPr bwMode="auto">
              <a:xfrm>
                <a:off x="5291" y="519"/>
                <a:ext cx="13" cy="13"/>
              </a:xfrm>
              <a:custGeom>
                <a:avLst/>
                <a:gdLst>
                  <a:gd name="T0" fmla="*/ 2417 w 9"/>
                  <a:gd name="T1" fmla="*/ 5642 h 9"/>
                  <a:gd name="T2" fmla="*/ 2417 w 9"/>
                  <a:gd name="T3" fmla="*/ 5642 h 9"/>
                  <a:gd name="T4" fmla="*/ 0 w 9"/>
                  <a:gd name="T5" fmla="*/ 2417 h 9"/>
                  <a:gd name="T6" fmla="*/ 0 w 9"/>
                  <a:gd name="T7" fmla="*/ 2417 h 9"/>
                  <a:gd name="T8" fmla="*/ 2417 w 9"/>
                  <a:gd name="T9" fmla="*/ 0 h 9"/>
                  <a:gd name="T10" fmla="*/ 5642 w 9"/>
                  <a:gd name="T11" fmla="*/ 2417 h 9"/>
                  <a:gd name="T12" fmla="*/ 2417 w 9"/>
                  <a:gd name="T13" fmla="*/ 5642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4" y="9"/>
                      <a:pt x="4" y="9"/>
                      <a:pt x="4" y="9"/>
                    </a:cubicBezTo>
                    <a:cubicBezTo>
                      <a:pt x="2" y="9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8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960" name="Oval 675"/>
              <p:cNvSpPr>
                <a:spLocks noChangeArrowheads="1"/>
              </p:cNvSpPr>
              <p:nvPr/>
            </p:nvSpPr>
            <p:spPr bwMode="auto">
              <a:xfrm>
                <a:off x="5229" y="533"/>
                <a:ext cx="13" cy="11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US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961" name="Freeform 676"/>
              <p:cNvSpPr>
                <a:spLocks noChangeArrowheads="1"/>
              </p:cNvSpPr>
              <p:nvPr/>
            </p:nvSpPr>
            <p:spPr bwMode="auto">
              <a:xfrm>
                <a:off x="5146" y="533"/>
                <a:ext cx="13" cy="11"/>
              </a:xfrm>
              <a:custGeom>
                <a:avLst/>
                <a:gdLst>
                  <a:gd name="T0" fmla="*/ 3194 w 9"/>
                  <a:gd name="T1" fmla="*/ 4077 h 8"/>
                  <a:gd name="T2" fmla="*/ 0 w 9"/>
                  <a:gd name="T3" fmla="*/ 2164 h 8"/>
                  <a:gd name="T4" fmla="*/ 0 w 9"/>
                  <a:gd name="T5" fmla="*/ 2164 h 8"/>
                  <a:gd name="T6" fmla="*/ 3194 w 9"/>
                  <a:gd name="T7" fmla="*/ 0 h 8"/>
                  <a:gd name="T8" fmla="*/ 7173 w 9"/>
                  <a:gd name="T9" fmla="*/ 2164 h 8"/>
                  <a:gd name="T10" fmla="*/ 3194 w 9"/>
                  <a:gd name="T11" fmla="*/ 4077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8">
                    <a:moveTo>
                      <a:pt x="4" y="8"/>
                    </a:moveTo>
                    <a:cubicBezTo>
                      <a:pt x="2" y="8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6"/>
                      <a:pt x="7" y="8"/>
                      <a:pt x="4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962" name="Freeform 677"/>
              <p:cNvSpPr>
                <a:spLocks noChangeArrowheads="1"/>
              </p:cNvSpPr>
              <p:nvPr/>
            </p:nvSpPr>
            <p:spPr bwMode="auto">
              <a:xfrm>
                <a:off x="5085" y="519"/>
                <a:ext cx="13" cy="13"/>
              </a:xfrm>
              <a:custGeom>
                <a:avLst/>
                <a:gdLst>
                  <a:gd name="T0" fmla="*/ 3225 w 9"/>
                  <a:gd name="T1" fmla="*/ 5642 h 9"/>
                  <a:gd name="T2" fmla="*/ 2417 w 9"/>
                  <a:gd name="T3" fmla="*/ 5642 h 9"/>
                  <a:gd name="T4" fmla="*/ 0 w 9"/>
                  <a:gd name="T5" fmla="*/ 2417 h 9"/>
                  <a:gd name="T6" fmla="*/ 0 w 9"/>
                  <a:gd name="T7" fmla="*/ 2417 h 9"/>
                  <a:gd name="T8" fmla="*/ 2417 w 9"/>
                  <a:gd name="T9" fmla="*/ 0 h 9"/>
                  <a:gd name="T10" fmla="*/ 5642 w 9"/>
                  <a:gd name="T11" fmla="*/ 2417 h 9"/>
                  <a:gd name="T12" fmla="*/ 3225 w 9"/>
                  <a:gd name="T13" fmla="*/ 5642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4" y="9"/>
                      <a:pt x="4" y="9"/>
                      <a:pt x="4" y="9"/>
                    </a:cubicBezTo>
                    <a:cubicBezTo>
                      <a:pt x="2" y="9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8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963" name="Freeform 678"/>
              <p:cNvSpPr>
                <a:spLocks noChangeArrowheads="1"/>
              </p:cNvSpPr>
              <p:nvPr/>
            </p:nvSpPr>
            <p:spPr bwMode="auto">
              <a:xfrm>
                <a:off x="5002" y="519"/>
                <a:ext cx="12" cy="13"/>
              </a:xfrm>
              <a:custGeom>
                <a:avLst/>
                <a:gdLst>
                  <a:gd name="T0" fmla="*/ 1993 w 9"/>
                  <a:gd name="T1" fmla="*/ 5642 h 9"/>
                  <a:gd name="T2" fmla="*/ 1993 w 9"/>
                  <a:gd name="T3" fmla="*/ 5642 h 9"/>
                  <a:gd name="T4" fmla="*/ 0 w 9"/>
                  <a:gd name="T5" fmla="*/ 2417 h 9"/>
                  <a:gd name="T6" fmla="*/ 0 w 9"/>
                  <a:gd name="T7" fmla="*/ 2417 h 9"/>
                  <a:gd name="T8" fmla="*/ 1993 w 9"/>
                  <a:gd name="T9" fmla="*/ 0 h 9"/>
                  <a:gd name="T10" fmla="*/ 3489 w 9"/>
                  <a:gd name="T11" fmla="*/ 2417 h 9"/>
                  <a:gd name="T12" fmla="*/ 1993 w 9"/>
                  <a:gd name="T13" fmla="*/ 5642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2" y="9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8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964" name="Oval 679"/>
              <p:cNvSpPr>
                <a:spLocks noChangeArrowheads="1"/>
              </p:cNvSpPr>
              <p:nvPr/>
            </p:nvSpPr>
            <p:spPr bwMode="auto">
              <a:xfrm>
                <a:off x="4940" y="533"/>
                <a:ext cx="12" cy="11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US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965" name="Freeform 680"/>
              <p:cNvSpPr>
                <a:spLocks noChangeArrowheads="1"/>
              </p:cNvSpPr>
              <p:nvPr/>
            </p:nvSpPr>
            <p:spPr bwMode="auto">
              <a:xfrm>
                <a:off x="5354" y="533"/>
                <a:ext cx="13" cy="11"/>
              </a:xfrm>
              <a:custGeom>
                <a:avLst/>
                <a:gdLst>
                  <a:gd name="T0" fmla="*/ 2417 w 9"/>
                  <a:gd name="T1" fmla="*/ 4077 h 8"/>
                  <a:gd name="T2" fmla="*/ 0 w 9"/>
                  <a:gd name="T3" fmla="*/ 2164 h 8"/>
                  <a:gd name="T4" fmla="*/ 0 w 9"/>
                  <a:gd name="T5" fmla="*/ 2164 h 8"/>
                  <a:gd name="T6" fmla="*/ 2417 w 9"/>
                  <a:gd name="T7" fmla="*/ 0 h 8"/>
                  <a:gd name="T8" fmla="*/ 5642 w 9"/>
                  <a:gd name="T9" fmla="*/ 2164 h 8"/>
                  <a:gd name="T10" fmla="*/ 2417 w 9"/>
                  <a:gd name="T11" fmla="*/ 4077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8">
                    <a:moveTo>
                      <a:pt x="4" y="8"/>
                    </a:moveTo>
                    <a:cubicBezTo>
                      <a:pt x="2" y="8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6"/>
                      <a:pt x="7" y="8"/>
                      <a:pt x="4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966" name="Freeform 681"/>
              <p:cNvSpPr>
                <a:spLocks noChangeArrowheads="1"/>
              </p:cNvSpPr>
              <p:nvPr/>
            </p:nvSpPr>
            <p:spPr bwMode="auto">
              <a:xfrm>
                <a:off x="5208" y="519"/>
                <a:ext cx="12" cy="13"/>
              </a:xfrm>
              <a:custGeom>
                <a:avLst/>
                <a:gdLst>
                  <a:gd name="T0" fmla="*/ 1993 w 9"/>
                  <a:gd name="T1" fmla="*/ 5642 h 9"/>
                  <a:gd name="T2" fmla="*/ 1495 w 9"/>
                  <a:gd name="T3" fmla="*/ 5642 h 9"/>
                  <a:gd name="T4" fmla="*/ 0 w 9"/>
                  <a:gd name="T5" fmla="*/ 2417 h 9"/>
                  <a:gd name="T6" fmla="*/ 0 w 9"/>
                  <a:gd name="T7" fmla="*/ 2417 h 9"/>
                  <a:gd name="T8" fmla="*/ 1993 w 9"/>
                  <a:gd name="T9" fmla="*/ 0 h 9"/>
                  <a:gd name="T10" fmla="*/ 3489 w 9"/>
                  <a:gd name="T11" fmla="*/ 2417 h 9"/>
                  <a:gd name="T12" fmla="*/ 1993 w 9"/>
                  <a:gd name="T13" fmla="*/ 5642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4" y="9"/>
                      <a:pt x="4" y="9"/>
                      <a:pt x="4" y="9"/>
                    </a:cubicBezTo>
                    <a:cubicBezTo>
                      <a:pt x="2" y="9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8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967" name="Freeform 682"/>
              <p:cNvSpPr>
                <a:spLocks noChangeArrowheads="1"/>
              </p:cNvSpPr>
              <p:nvPr/>
            </p:nvSpPr>
            <p:spPr bwMode="auto">
              <a:xfrm>
                <a:off x="5125" y="519"/>
                <a:ext cx="13" cy="13"/>
              </a:xfrm>
              <a:custGeom>
                <a:avLst/>
                <a:gdLst>
                  <a:gd name="T0" fmla="*/ 3225 w 9"/>
                  <a:gd name="T1" fmla="*/ 5642 h 9"/>
                  <a:gd name="T2" fmla="*/ 3225 w 9"/>
                  <a:gd name="T3" fmla="*/ 5642 h 9"/>
                  <a:gd name="T4" fmla="*/ 0 w 9"/>
                  <a:gd name="T5" fmla="*/ 2417 h 9"/>
                  <a:gd name="T6" fmla="*/ 3225 w 9"/>
                  <a:gd name="T7" fmla="*/ 0 h 9"/>
                  <a:gd name="T8" fmla="*/ 5642 w 9"/>
                  <a:gd name="T9" fmla="*/ 2417 h 9"/>
                  <a:gd name="T10" fmla="*/ 3225 w 9"/>
                  <a:gd name="T11" fmla="*/ 5642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2" y="8"/>
                      <a:pt x="0" y="7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8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968" name="Freeform 683"/>
              <p:cNvSpPr>
                <a:spLocks noChangeArrowheads="1"/>
              </p:cNvSpPr>
              <p:nvPr/>
            </p:nvSpPr>
            <p:spPr bwMode="auto">
              <a:xfrm>
                <a:off x="5063" y="533"/>
                <a:ext cx="13" cy="11"/>
              </a:xfrm>
              <a:custGeom>
                <a:avLst/>
                <a:gdLst>
                  <a:gd name="T0" fmla="*/ 3860 w 9"/>
                  <a:gd name="T1" fmla="*/ 4077 h 8"/>
                  <a:gd name="T2" fmla="*/ 0 w 9"/>
                  <a:gd name="T3" fmla="*/ 2164 h 8"/>
                  <a:gd name="T4" fmla="*/ 0 w 9"/>
                  <a:gd name="T5" fmla="*/ 2164 h 8"/>
                  <a:gd name="T6" fmla="*/ 3860 w 9"/>
                  <a:gd name="T7" fmla="*/ 0 h 8"/>
                  <a:gd name="T8" fmla="*/ 7173 w 9"/>
                  <a:gd name="T9" fmla="*/ 2164 h 8"/>
                  <a:gd name="T10" fmla="*/ 3860 w 9"/>
                  <a:gd name="T11" fmla="*/ 4077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8">
                    <a:moveTo>
                      <a:pt x="5" y="8"/>
                    </a:moveTo>
                    <a:cubicBezTo>
                      <a:pt x="2" y="8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6"/>
                      <a:pt x="7" y="8"/>
                      <a:pt x="5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969" name="Freeform 684"/>
              <p:cNvSpPr>
                <a:spLocks noChangeArrowheads="1"/>
              </p:cNvSpPr>
              <p:nvPr/>
            </p:nvSpPr>
            <p:spPr bwMode="auto">
              <a:xfrm>
                <a:off x="4983" y="533"/>
                <a:ext cx="11" cy="11"/>
              </a:xfrm>
              <a:custGeom>
                <a:avLst/>
                <a:gdLst>
                  <a:gd name="T0" fmla="*/ 2164 w 8"/>
                  <a:gd name="T1" fmla="*/ 4077 h 8"/>
                  <a:gd name="T2" fmla="*/ 0 w 8"/>
                  <a:gd name="T3" fmla="*/ 2164 h 8"/>
                  <a:gd name="T4" fmla="*/ 0 w 8"/>
                  <a:gd name="T5" fmla="*/ 2164 h 8"/>
                  <a:gd name="T6" fmla="*/ 2164 w 8"/>
                  <a:gd name="T7" fmla="*/ 0 h 8"/>
                  <a:gd name="T8" fmla="*/ 4077 w 8"/>
                  <a:gd name="T9" fmla="*/ 2164 h 8"/>
                  <a:gd name="T10" fmla="*/ 2164 w 8"/>
                  <a:gd name="T11" fmla="*/ 4077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8" h="8">
                    <a:moveTo>
                      <a:pt x="4" y="8"/>
                    </a:moveTo>
                    <a:cubicBezTo>
                      <a:pt x="2" y="8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6"/>
                      <a:pt x="6" y="8"/>
                      <a:pt x="4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970" name="Freeform 685"/>
              <p:cNvSpPr>
                <a:spLocks noChangeArrowheads="1"/>
              </p:cNvSpPr>
              <p:nvPr/>
            </p:nvSpPr>
            <p:spPr bwMode="auto">
              <a:xfrm>
                <a:off x="5023" y="533"/>
                <a:ext cx="13" cy="11"/>
              </a:xfrm>
              <a:custGeom>
                <a:avLst/>
                <a:gdLst>
                  <a:gd name="T0" fmla="*/ 2417 w 9"/>
                  <a:gd name="T1" fmla="*/ 4077 h 8"/>
                  <a:gd name="T2" fmla="*/ 0 w 9"/>
                  <a:gd name="T3" fmla="*/ 2164 h 8"/>
                  <a:gd name="T4" fmla="*/ 0 w 9"/>
                  <a:gd name="T5" fmla="*/ 2164 h 8"/>
                  <a:gd name="T6" fmla="*/ 2417 w 9"/>
                  <a:gd name="T7" fmla="*/ 0 h 8"/>
                  <a:gd name="T8" fmla="*/ 5642 w 9"/>
                  <a:gd name="T9" fmla="*/ 2164 h 8"/>
                  <a:gd name="T10" fmla="*/ 2417 w 9"/>
                  <a:gd name="T11" fmla="*/ 4077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8">
                    <a:moveTo>
                      <a:pt x="4" y="8"/>
                    </a:moveTo>
                    <a:cubicBezTo>
                      <a:pt x="2" y="8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6"/>
                      <a:pt x="7" y="8"/>
                      <a:pt x="4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971" name="Freeform 686"/>
              <p:cNvSpPr>
                <a:spLocks noChangeArrowheads="1"/>
              </p:cNvSpPr>
              <p:nvPr/>
            </p:nvSpPr>
            <p:spPr bwMode="auto">
              <a:xfrm>
                <a:off x="5476" y="554"/>
                <a:ext cx="12" cy="11"/>
              </a:xfrm>
              <a:custGeom>
                <a:avLst/>
                <a:gdLst>
                  <a:gd name="T0" fmla="*/ 1993 w 9"/>
                  <a:gd name="T1" fmla="*/ 4077 h 8"/>
                  <a:gd name="T2" fmla="*/ 1495 w 9"/>
                  <a:gd name="T3" fmla="*/ 4077 h 8"/>
                  <a:gd name="T4" fmla="*/ 0 w 9"/>
                  <a:gd name="T5" fmla="*/ 2164 h 8"/>
                  <a:gd name="T6" fmla="*/ 0 w 9"/>
                  <a:gd name="T7" fmla="*/ 2164 h 8"/>
                  <a:gd name="T8" fmla="*/ 1495 w 9"/>
                  <a:gd name="T9" fmla="*/ 0 h 8"/>
                  <a:gd name="T10" fmla="*/ 3489 w 9"/>
                  <a:gd name="T11" fmla="*/ 2164 h 8"/>
                  <a:gd name="T12" fmla="*/ 1993 w 9"/>
                  <a:gd name="T13" fmla="*/ 4077 h 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8">
                    <a:moveTo>
                      <a:pt x="5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7" y="0"/>
                      <a:pt x="9" y="1"/>
                      <a:pt x="9" y="4"/>
                    </a:cubicBezTo>
                    <a:cubicBezTo>
                      <a:pt x="9" y="6"/>
                      <a:pt x="7" y="8"/>
                      <a:pt x="5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972" name="Freeform 687"/>
              <p:cNvSpPr>
                <a:spLocks noChangeArrowheads="1"/>
              </p:cNvSpPr>
              <p:nvPr/>
            </p:nvSpPr>
            <p:spPr bwMode="auto">
              <a:xfrm>
                <a:off x="5435" y="554"/>
                <a:ext cx="11" cy="11"/>
              </a:xfrm>
              <a:custGeom>
                <a:avLst/>
                <a:gdLst>
                  <a:gd name="T0" fmla="*/ 2164 w 8"/>
                  <a:gd name="T1" fmla="*/ 4077 h 8"/>
                  <a:gd name="T2" fmla="*/ 2164 w 8"/>
                  <a:gd name="T3" fmla="*/ 4077 h 8"/>
                  <a:gd name="T4" fmla="*/ 0 w 8"/>
                  <a:gd name="T5" fmla="*/ 2164 h 8"/>
                  <a:gd name="T6" fmla="*/ 0 w 8"/>
                  <a:gd name="T7" fmla="*/ 2164 h 8"/>
                  <a:gd name="T8" fmla="*/ 2164 w 8"/>
                  <a:gd name="T9" fmla="*/ 0 h 8"/>
                  <a:gd name="T10" fmla="*/ 4077 w 8"/>
                  <a:gd name="T11" fmla="*/ 2164 h 8"/>
                  <a:gd name="T12" fmla="*/ 2164 w 8"/>
                  <a:gd name="T13" fmla="*/ 4077 h 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8" h="8">
                    <a:moveTo>
                      <a:pt x="4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6" y="0"/>
                      <a:pt x="8" y="1"/>
                      <a:pt x="8" y="4"/>
                    </a:cubicBezTo>
                    <a:cubicBezTo>
                      <a:pt x="8" y="6"/>
                      <a:pt x="7" y="8"/>
                      <a:pt x="4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973" name="Freeform 688"/>
              <p:cNvSpPr>
                <a:spLocks noChangeArrowheads="1"/>
              </p:cNvSpPr>
              <p:nvPr/>
            </p:nvSpPr>
            <p:spPr bwMode="auto">
              <a:xfrm>
                <a:off x="5415" y="540"/>
                <a:ext cx="13" cy="11"/>
              </a:xfrm>
              <a:custGeom>
                <a:avLst/>
                <a:gdLst>
                  <a:gd name="T0" fmla="*/ 2417 w 9"/>
                  <a:gd name="T1" fmla="*/ 4077 h 8"/>
                  <a:gd name="T2" fmla="*/ 0 w 9"/>
                  <a:gd name="T3" fmla="*/ 2164 h 8"/>
                  <a:gd name="T4" fmla="*/ 0 w 9"/>
                  <a:gd name="T5" fmla="*/ 2164 h 8"/>
                  <a:gd name="T6" fmla="*/ 2417 w 9"/>
                  <a:gd name="T7" fmla="*/ 0 h 8"/>
                  <a:gd name="T8" fmla="*/ 3225 w 9"/>
                  <a:gd name="T9" fmla="*/ 0 h 8"/>
                  <a:gd name="T10" fmla="*/ 5642 w 9"/>
                  <a:gd name="T11" fmla="*/ 2164 h 8"/>
                  <a:gd name="T12" fmla="*/ 2417 w 9"/>
                  <a:gd name="T13" fmla="*/ 4077 h 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8">
                    <a:moveTo>
                      <a:pt x="4" y="8"/>
                    </a:moveTo>
                    <a:cubicBezTo>
                      <a:pt x="2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6"/>
                      <a:pt x="7" y="8"/>
                      <a:pt x="4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974" name="Freeform 689"/>
              <p:cNvSpPr>
                <a:spLocks noChangeArrowheads="1"/>
              </p:cNvSpPr>
              <p:nvPr/>
            </p:nvSpPr>
            <p:spPr bwMode="auto">
              <a:xfrm>
                <a:off x="5331" y="540"/>
                <a:ext cx="13" cy="11"/>
              </a:xfrm>
              <a:custGeom>
                <a:avLst/>
                <a:gdLst>
                  <a:gd name="T0" fmla="*/ 3860 w 9"/>
                  <a:gd name="T1" fmla="*/ 4077 h 8"/>
                  <a:gd name="T2" fmla="*/ 0 w 9"/>
                  <a:gd name="T3" fmla="*/ 2164 h 8"/>
                  <a:gd name="T4" fmla="*/ 0 w 9"/>
                  <a:gd name="T5" fmla="*/ 2164 h 8"/>
                  <a:gd name="T6" fmla="*/ 3860 w 9"/>
                  <a:gd name="T7" fmla="*/ 0 h 8"/>
                  <a:gd name="T8" fmla="*/ 3860 w 9"/>
                  <a:gd name="T9" fmla="*/ 0 h 8"/>
                  <a:gd name="T10" fmla="*/ 7173 w 9"/>
                  <a:gd name="T11" fmla="*/ 2164 h 8"/>
                  <a:gd name="T12" fmla="*/ 3860 w 9"/>
                  <a:gd name="T13" fmla="*/ 4077 h 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8">
                    <a:moveTo>
                      <a:pt x="5" y="8"/>
                    </a:moveTo>
                    <a:cubicBezTo>
                      <a:pt x="2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6"/>
                      <a:pt x="7" y="8"/>
                      <a:pt x="5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975" name="Freeform 690"/>
              <p:cNvSpPr>
                <a:spLocks noChangeArrowheads="1"/>
              </p:cNvSpPr>
              <p:nvPr/>
            </p:nvSpPr>
            <p:spPr bwMode="auto">
              <a:xfrm>
                <a:off x="5044" y="540"/>
                <a:ext cx="11" cy="11"/>
              </a:xfrm>
              <a:custGeom>
                <a:avLst/>
                <a:gdLst>
                  <a:gd name="T0" fmla="*/ 2164 w 8"/>
                  <a:gd name="T1" fmla="*/ 4077 h 8"/>
                  <a:gd name="T2" fmla="*/ 0 w 8"/>
                  <a:gd name="T3" fmla="*/ 2164 h 8"/>
                  <a:gd name="T4" fmla="*/ 0 w 8"/>
                  <a:gd name="T5" fmla="*/ 2164 h 8"/>
                  <a:gd name="T6" fmla="*/ 2164 w 8"/>
                  <a:gd name="T7" fmla="*/ 0 h 8"/>
                  <a:gd name="T8" fmla="*/ 2164 w 8"/>
                  <a:gd name="T9" fmla="*/ 0 h 8"/>
                  <a:gd name="T10" fmla="*/ 4077 w 8"/>
                  <a:gd name="T11" fmla="*/ 2164 h 8"/>
                  <a:gd name="T12" fmla="*/ 2164 w 8"/>
                  <a:gd name="T13" fmla="*/ 4077 h 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8" h="8">
                    <a:moveTo>
                      <a:pt x="4" y="8"/>
                    </a:moveTo>
                    <a:cubicBezTo>
                      <a:pt x="2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6"/>
                      <a:pt x="6" y="8"/>
                      <a:pt x="4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976" name="Freeform 691"/>
              <p:cNvSpPr>
                <a:spLocks noChangeArrowheads="1"/>
              </p:cNvSpPr>
              <p:nvPr/>
            </p:nvSpPr>
            <p:spPr bwMode="auto">
              <a:xfrm>
                <a:off x="5455" y="540"/>
                <a:ext cx="13" cy="11"/>
              </a:xfrm>
              <a:custGeom>
                <a:avLst/>
                <a:gdLst>
                  <a:gd name="T0" fmla="*/ 3225 w 9"/>
                  <a:gd name="T1" fmla="*/ 4077 h 8"/>
                  <a:gd name="T2" fmla="*/ 0 w 9"/>
                  <a:gd name="T3" fmla="*/ 2164 h 8"/>
                  <a:gd name="T4" fmla="*/ 3225 w 9"/>
                  <a:gd name="T5" fmla="*/ 0 h 8"/>
                  <a:gd name="T6" fmla="*/ 3225 w 9"/>
                  <a:gd name="T7" fmla="*/ 0 h 8"/>
                  <a:gd name="T8" fmla="*/ 5642 w 9"/>
                  <a:gd name="T9" fmla="*/ 2164 h 8"/>
                  <a:gd name="T10" fmla="*/ 3225 w 9"/>
                  <a:gd name="T11" fmla="*/ 4077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8">
                    <a:moveTo>
                      <a:pt x="5" y="8"/>
                    </a:moveTo>
                    <a:cubicBezTo>
                      <a:pt x="2" y="8"/>
                      <a:pt x="0" y="6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6"/>
                      <a:pt x="7" y="8"/>
                      <a:pt x="5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977" name="Freeform 692"/>
              <p:cNvSpPr>
                <a:spLocks noChangeArrowheads="1"/>
              </p:cNvSpPr>
              <p:nvPr/>
            </p:nvSpPr>
            <p:spPr bwMode="auto">
              <a:xfrm>
                <a:off x="5744" y="540"/>
                <a:ext cx="13" cy="11"/>
              </a:xfrm>
              <a:custGeom>
                <a:avLst/>
                <a:gdLst>
                  <a:gd name="T0" fmla="*/ 3194 w 9"/>
                  <a:gd name="T1" fmla="*/ 4077 h 8"/>
                  <a:gd name="T2" fmla="*/ 0 w 9"/>
                  <a:gd name="T3" fmla="*/ 2164 h 8"/>
                  <a:gd name="T4" fmla="*/ 3194 w 9"/>
                  <a:gd name="T5" fmla="*/ 0 h 8"/>
                  <a:gd name="T6" fmla="*/ 3860 w 9"/>
                  <a:gd name="T7" fmla="*/ 0 h 8"/>
                  <a:gd name="T8" fmla="*/ 7173 w 9"/>
                  <a:gd name="T9" fmla="*/ 2164 h 8"/>
                  <a:gd name="T10" fmla="*/ 3194 w 9"/>
                  <a:gd name="T11" fmla="*/ 4077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8">
                    <a:moveTo>
                      <a:pt x="4" y="8"/>
                    </a:moveTo>
                    <a:cubicBezTo>
                      <a:pt x="2" y="8"/>
                      <a:pt x="0" y="6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6"/>
                      <a:pt x="7" y="8"/>
                      <a:pt x="4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978" name="Freeform 693"/>
              <p:cNvSpPr>
                <a:spLocks noChangeArrowheads="1"/>
              </p:cNvSpPr>
              <p:nvPr/>
            </p:nvSpPr>
            <p:spPr bwMode="auto">
              <a:xfrm>
                <a:off x="5723" y="554"/>
                <a:ext cx="13" cy="11"/>
              </a:xfrm>
              <a:custGeom>
                <a:avLst/>
                <a:gdLst>
                  <a:gd name="T0" fmla="*/ 3225 w 9"/>
                  <a:gd name="T1" fmla="*/ 4077 h 8"/>
                  <a:gd name="T2" fmla="*/ 3225 w 9"/>
                  <a:gd name="T3" fmla="*/ 4077 h 8"/>
                  <a:gd name="T4" fmla="*/ 0 w 9"/>
                  <a:gd name="T5" fmla="*/ 2164 h 8"/>
                  <a:gd name="T6" fmla="*/ 0 w 9"/>
                  <a:gd name="T7" fmla="*/ 2164 h 8"/>
                  <a:gd name="T8" fmla="*/ 3225 w 9"/>
                  <a:gd name="T9" fmla="*/ 0 h 8"/>
                  <a:gd name="T10" fmla="*/ 5642 w 9"/>
                  <a:gd name="T11" fmla="*/ 2164 h 8"/>
                  <a:gd name="T12" fmla="*/ 3225 w 9"/>
                  <a:gd name="T13" fmla="*/ 4077 h 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8">
                    <a:moveTo>
                      <a:pt x="5" y="8"/>
                    </a:moveTo>
                    <a:cubicBezTo>
                      <a:pt x="5" y="8"/>
                      <a:pt x="5" y="8"/>
                      <a:pt x="5" y="8"/>
                    </a:cubicBezTo>
                    <a:cubicBezTo>
                      <a:pt x="2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1"/>
                      <a:pt x="2" y="0"/>
                      <a:pt x="5" y="0"/>
                    </a:cubicBezTo>
                    <a:cubicBezTo>
                      <a:pt x="7" y="0"/>
                      <a:pt x="9" y="1"/>
                      <a:pt x="9" y="4"/>
                    </a:cubicBezTo>
                    <a:cubicBezTo>
                      <a:pt x="9" y="6"/>
                      <a:pt x="7" y="8"/>
                      <a:pt x="5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979" name="Freeform 694"/>
              <p:cNvSpPr>
                <a:spLocks noChangeArrowheads="1"/>
              </p:cNvSpPr>
              <p:nvPr/>
            </p:nvSpPr>
            <p:spPr bwMode="auto">
              <a:xfrm>
                <a:off x="5704" y="540"/>
                <a:ext cx="11" cy="11"/>
              </a:xfrm>
              <a:custGeom>
                <a:avLst/>
                <a:gdLst>
                  <a:gd name="T0" fmla="*/ 2164 w 8"/>
                  <a:gd name="T1" fmla="*/ 4077 h 8"/>
                  <a:gd name="T2" fmla="*/ 0 w 8"/>
                  <a:gd name="T3" fmla="*/ 2164 h 8"/>
                  <a:gd name="T4" fmla="*/ 0 w 8"/>
                  <a:gd name="T5" fmla="*/ 2164 h 8"/>
                  <a:gd name="T6" fmla="*/ 2164 w 8"/>
                  <a:gd name="T7" fmla="*/ 0 h 8"/>
                  <a:gd name="T8" fmla="*/ 2164 w 8"/>
                  <a:gd name="T9" fmla="*/ 0 h 8"/>
                  <a:gd name="T10" fmla="*/ 4077 w 8"/>
                  <a:gd name="T11" fmla="*/ 2164 h 8"/>
                  <a:gd name="T12" fmla="*/ 2164 w 8"/>
                  <a:gd name="T13" fmla="*/ 4077 h 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8" h="8">
                    <a:moveTo>
                      <a:pt x="4" y="8"/>
                    </a:moveTo>
                    <a:cubicBezTo>
                      <a:pt x="2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7" y="0"/>
                      <a:pt x="8" y="2"/>
                      <a:pt x="8" y="4"/>
                    </a:cubicBezTo>
                    <a:cubicBezTo>
                      <a:pt x="8" y="6"/>
                      <a:pt x="6" y="8"/>
                      <a:pt x="4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980" name="Freeform 695"/>
              <p:cNvSpPr>
                <a:spLocks noChangeArrowheads="1"/>
              </p:cNvSpPr>
              <p:nvPr/>
            </p:nvSpPr>
            <p:spPr bwMode="auto">
              <a:xfrm>
                <a:off x="5683" y="554"/>
                <a:ext cx="13" cy="11"/>
              </a:xfrm>
              <a:custGeom>
                <a:avLst/>
                <a:gdLst>
                  <a:gd name="T0" fmla="*/ 2417 w 9"/>
                  <a:gd name="T1" fmla="*/ 4077 h 8"/>
                  <a:gd name="T2" fmla="*/ 2417 w 9"/>
                  <a:gd name="T3" fmla="*/ 4077 h 8"/>
                  <a:gd name="T4" fmla="*/ 0 w 9"/>
                  <a:gd name="T5" fmla="*/ 2164 h 8"/>
                  <a:gd name="T6" fmla="*/ 2417 w 9"/>
                  <a:gd name="T7" fmla="*/ 0 h 8"/>
                  <a:gd name="T8" fmla="*/ 5642 w 9"/>
                  <a:gd name="T9" fmla="*/ 2164 h 8"/>
                  <a:gd name="T10" fmla="*/ 2417 w 9"/>
                  <a:gd name="T11" fmla="*/ 4077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8">
                    <a:moveTo>
                      <a:pt x="4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0" y="6"/>
                      <a:pt x="0" y="4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7" y="0"/>
                      <a:pt x="9" y="1"/>
                      <a:pt x="9" y="4"/>
                    </a:cubicBezTo>
                    <a:cubicBezTo>
                      <a:pt x="9" y="6"/>
                      <a:pt x="7" y="8"/>
                      <a:pt x="4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981" name="Freeform 696"/>
              <p:cNvSpPr>
                <a:spLocks noChangeArrowheads="1"/>
              </p:cNvSpPr>
              <p:nvPr/>
            </p:nvSpPr>
            <p:spPr bwMode="auto">
              <a:xfrm>
                <a:off x="5393" y="554"/>
                <a:ext cx="13" cy="11"/>
              </a:xfrm>
              <a:custGeom>
                <a:avLst/>
                <a:gdLst>
                  <a:gd name="T0" fmla="*/ 3225 w 9"/>
                  <a:gd name="T1" fmla="*/ 4077 h 8"/>
                  <a:gd name="T2" fmla="*/ 3225 w 9"/>
                  <a:gd name="T3" fmla="*/ 4077 h 8"/>
                  <a:gd name="T4" fmla="*/ 0 w 9"/>
                  <a:gd name="T5" fmla="*/ 2164 h 8"/>
                  <a:gd name="T6" fmla="*/ 0 w 9"/>
                  <a:gd name="T7" fmla="*/ 2164 h 8"/>
                  <a:gd name="T8" fmla="*/ 3225 w 9"/>
                  <a:gd name="T9" fmla="*/ 0 h 8"/>
                  <a:gd name="T10" fmla="*/ 5642 w 9"/>
                  <a:gd name="T11" fmla="*/ 2164 h 8"/>
                  <a:gd name="T12" fmla="*/ 3225 w 9"/>
                  <a:gd name="T13" fmla="*/ 4077 h 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8">
                    <a:moveTo>
                      <a:pt x="5" y="8"/>
                    </a:moveTo>
                    <a:cubicBezTo>
                      <a:pt x="5" y="8"/>
                      <a:pt x="5" y="8"/>
                      <a:pt x="5" y="8"/>
                    </a:cubicBezTo>
                    <a:cubicBezTo>
                      <a:pt x="2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1"/>
                      <a:pt x="2" y="0"/>
                      <a:pt x="5" y="0"/>
                    </a:cubicBezTo>
                    <a:cubicBezTo>
                      <a:pt x="7" y="0"/>
                      <a:pt x="9" y="1"/>
                      <a:pt x="9" y="4"/>
                    </a:cubicBezTo>
                    <a:cubicBezTo>
                      <a:pt x="9" y="6"/>
                      <a:pt x="7" y="8"/>
                      <a:pt x="5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982" name="Freeform 697"/>
              <p:cNvSpPr>
                <a:spLocks noChangeArrowheads="1"/>
              </p:cNvSpPr>
              <p:nvPr/>
            </p:nvSpPr>
            <p:spPr bwMode="auto">
              <a:xfrm>
                <a:off x="5312" y="554"/>
                <a:ext cx="11" cy="11"/>
              </a:xfrm>
              <a:custGeom>
                <a:avLst/>
                <a:gdLst>
                  <a:gd name="T0" fmla="*/ 2164 w 8"/>
                  <a:gd name="T1" fmla="*/ 4077 h 8"/>
                  <a:gd name="T2" fmla="*/ 2164 w 8"/>
                  <a:gd name="T3" fmla="*/ 4077 h 8"/>
                  <a:gd name="T4" fmla="*/ 0 w 8"/>
                  <a:gd name="T5" fmla="*/ 2164 h 8"/>
                  <a:gd name="T6" fmla="*/ 0 w 8"/>
                  <a:gd name="T7" fmla="*/ 2164 h 8"/>
                  <a:gd name="T8" fmla="*/ 2164 w 8"/>
                  <a:gd name="T9" fmla="*/ 0 h 8"/>
                  <a:gd name="T10" fmla="*/ 4077 w 8"/>
                  <a:gd name="T11" fmla="*/ 2164 h 8"/>
                  <a:gd name="T12" fmla="*/ 2164 w 8"/>
                  <a:gd name="T13" fmla="*/ 4077 h 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8" h="8">
                    <a:moveTo>
                      <a:pt x="4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6" y="0"/>
                      <a:pt x="8" y="1"/>
                      <a:pt x="8" y="4"/>
                    </a:cubicBezTo>
                    <a:cubicBezTo>
                      <a:pt x="8" y="6"/>
                      <a:pt x="6" y="8"/>
                      <a:pt x="4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983" name="Freeform 698"/>
              <p:cNvSpPr>
                <a:spLocks noChangeArrowheads="1"/>
              </p:cNvSpPr>
              <p:nvPr/>
            </p:nvSpPr>
            <p:spPr bwMode="auto">
              <a:xfrm>
                <a:off x="5168" y="540"/>
                <a:ext cx="11" cy="11"/>
              </a:xfrm>
              <a:custGeom>
                <a:avLst/>
                <a:gdLst>
                  <a:gd name="T0" fmla="*/ 2164 w 8"/>
                  <a:gd name="T1" fmla="*/ 4077 h 8"/>
                  <a:gd name="T2" fmla="*/ 0 w 8"/>
                  <a:gd name="T3" fmla="*/ 2164 h 8"/>
                  <a:gd name="T4" fmla="*/ 0 w 8"/>
                  <a:gd name="T5" fmla="*/ 2164 h 8"/>
                  <a:gd name="T6" fmla="*/ 2164 w 8"/>
                  <a:gd name="T7" fmla="*/ 0 h 8"/>
                  <a:gd name="T8" fmla="*/ 2164 w 8"/>
                  <a:gd name="T9" fmla="*/ 0 h 8"/>
                  <a:gd name="T10" fmla="*/ 4077 w 8"/>
                  <a:gd name="T11" fmla="*/ 2164 h 8"/>
                  <a:gd name="T12" fmla="*/ 2164 w 8"/>
                  <a:gd name="T13" fmla="*/ 4077 h 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8" h="8">
                    <a:moveTo>
                      <a:pt x="4" y="8"/>
                    </a:moveTo>
                    <a:cubicBezTo>
                      <a:pt x="2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7" y="0"/>
                      <a:pt x="8" y="2"/>
                      <a:pt x="8" y="4"/>
                    </a:cubicBezTo>
                    <a:cubicBezTo>
                      <a:pt x="8" y="6"/>
                      <a:pt x="7" y="8"/>
                      <a:pt x="4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984" name="Freeform 699"/>
              <p:cNvSpPr>
                <a:spLocks noChangeArrowheads="1"/>
              </p:cNvSpPr>
              <p:nvPr/>
            </p:nvSpPr>
            <p:spPr bwMode="auto">
              <a:xfrm>
                <a:off x="5106" y="554"/>
                <a:ext cx="11" cy="11"/>
              </a:xfrm>
              <a:custGeom>
                <a:avLst/>
                <a:gdLst>
                  <a:gd name="T0" fmla="*/ 2164 w 8"/>
                  <a:gd name="T1" fmla="*/ 4077 h 8"/>
                  <a:gd name="T2" fmla="*/ 2164 w 8"/>
                  <a:gd name="T3" fmla="*/ 4077 h 8"/>
                  <a:gd name="T4" fmla="*/ 0 w 8"/>
                  <a:gd name="T5" fmla="*/ 2164 h 8"/>
                  <a:gd name="T6" fmla="*/ 0 w 8"/>
                  <a:gd name="T7" fmla="*/ 2164 h 8"/>
                  <a:gd name="T8" fmla="*/ 2164 w 8"/>
                  <a:gd name="T9" fmla="*/ 0 h 8"/>
                  <a:gd name="T10" fmla="*/ 4077 w 8"/>
                  <a:gd name="T11" fmla="*/ 2164 h 8"/>
                  <a:gd name="T12" fmla="*/ 2164 w 8"/>
                  <a:gd name="T13" fmla="*/ 4077 h 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8" h="8">
                    <a:moveTo>
                      <a:pt x="4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6" y="0"/>
                      <a:pt x="8" y="1"/>
                      <a:pt x="8" y="4"/>
                    </a:cubicBezTo>
                    <a:cubicBezTo>
                      <a:pt x="8" y="6"/>
                      <a:pt x="7" y="8"/>
                      <a:pt x="4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985" name="Freeform 700"/>
              <p:cNvSpPr>
                <a:spLocks noChangeArrowheads="1"/>
              </p:cNvSpPr>
              <p:nvPr/>
            </p:nvSpPr>
            <p:spPr bwMode="auto">
              <a:xfrm>
                <a:off x="5023" y="554"/>
                <a:ext cx="13" cy="11"/>
              </a:xfrm>
              <a:custGeom>
                <a:avLst/>
                <a:gdLst>
                  <a:gd name="T0" fmla="*/ 2417 w 9"/>
                  <a:gd name="T1" fmla="*/ 4077 h 8"/>
                  <a:gd name="T2" fmla="*/ 2417 w 9"/>
                  <a:gd name="T3" fmla="*/ 4077 h 8"/>
                  <a:gd name="T4" fmla="*/ 0 w 9"/>
                  <a:gd name="T5" fmla="*/ 2164 h 8"/>
                  <a:gd name="T6" fmla="*/ 0 w 9"/>
                  <a:gd name="T7" fmla="*/ 2164 h 8"/>
                  <a:gd name="T8" fmla="*/ 2417 w 9"/>
                  <a:gd name="T9" fmla="*/ 0 h 8"/>
                  <a:gd name="T10" fmla="*/ 5642 w 9"/>
                  <a:gd name="T11" fmla="*/ 2164 h 8"/>
                  <a:gd name="T12" fmla="*/ 2417 w 9"/>
                  <a:gd name="T13" fmla="*/ 4077 h 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8">
                    <a:moveTo>
                      <a:pt x="4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7" y="0"/>
                      <a:pt x="9" y="1"/>
                      <a:pt x="9" y="4"/>
                    </a:cubicBezTo>
                    <a:cubicBezTo>
                      <a:pt x="9" y="6"/>
                      <a:pt x="7" y="8"/>
                      <a:pt x="4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986" name="Freeform 701"/>
              <p:cNvSpPr>
                <a:spLocks noChangeArrowheads="1"/>
              </p:cNvSpPr>
              <p:nvPr/>
            </p:nvSpPr>
            <p:spPr bwMode="auto">
              <a:xfrm>
                <a:off x="4961" y="540"/>
                <a:ext cx="13" cy="11"/>
              </a:xfrm>
              <a:custGeom>
                <a:avLst/>
                <a:gdLst>
                  <a:gd name="T0" fmla="*/ 3194 w 9"/>
                  <a:gd name="T1" fmla="*/ 4077 h 8"/>
                  <a:gd name="T2" fmla="*/ 0 w 9"/>
                  <a:gd name="T3" fmla="*/ 2164 h 8"/>
                  <a:gd name="T4" fmla="*/ 0 w 9"/>
                  <a:gd name="T5" fmla="*/ 2164 h 8"/>
                  <a:gd name="T6" fmla="*/ 3194 w 9"/>
                  <a:gd name="T7" fmla="*/ 0 h 8"/>
                  <a:gd name="T8" fmla="*/ 3194 w 9"/>
                  <a:gd name="T9" fmla="*/ 0 h 8"/>
                  <a:gd name="T10" fmla="*/ 7173 w 9"/>
                  <a:gd name="T11" fmla="*/ 2164 h 8"/>
                  <a:gd name="T12" fmla="*/ 3194 w 9"/>
                  <a:gd name="T13" fmla="*/ 4077 h 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8">
                    <a:moveTo>
                      <a:pt x="4" y="8"/>
                    </a:moveTo>
                    <a:cubicBezTo>
                      <a:pt x="2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6"/>
                      <a:pt x="7" y="8"/>
                      <a:pt x="4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987" name="Freeform 702"/>
              <p:cNvSpPr>
                <a:spLocks noChangeArrowheads="1"/>
              </p:cNvSpPr>
              <p:nvPr/>
            </p:nvSpPr>
            <p:spPr bwMode="auto">
              <a:xfrm>
                <a:off x="5373" y="540"/>
                <a:ext cx="11" cy="11"/>
              </a:xfrm>
              <a:custGeom>
                <a:avLst/>
                <a:gdLst>
                  <a:gd name="T0" fmla="*/ 2164 w 8"/>
                  <a:gd name="T1" fmla="*/ 4077 h 8"/>
                  <a:gd name="T2" fmla="*/ 0 w 8"/>
                  <a:gd name="T3" fmla="*/ 2164 h 8"/>
                  <a:gd name="T4" fmla="*/ 0 w 8"/>
                  <a:gd name="T5" fmla="*/ 2164 h 8"/>
                  <a:gd name="T6" fmla="*/ 2164 w 8"/>
                  <a:gd name="T7" fmla="*/ 0 h 8"/>
                  <a:gd name="T8" fmla="*/ 2164 w 8"/>
                  <a:gd name="T9" fmla="*/ 0 h 8"/>
                  <a:gd name="T10" fmla="*/ 4077 w 8"/>
                  <a:gd name="T11" fmla="*/ 2164 h 8"/>
                  <a:gd name="T12" fmla="*/ 2164 w 8"/>
                  <a:gd name="T13" fmla="*/ 4077 h 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8" h="8">
                    <a:moveTo>
                      <a:pt x="4" y="8"/>
                    </a:moveTo>
                    <a:cubicBezTo>
                      <a:pt x="2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6"/>
                      <a:pt x="6" y="8"/>
                      <a:pt x="4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988" name="Freeform 703"/>
              <p:cNvSpPr>
                <a:spLocks noChangeArrowheads="1"/>
              </p:cNvSpPr>
              <p:nvPr/>
            </p:nvSpPr>
            <p:spPr bwMode="auto">
              <a:xfrm>
                <a:off x="5291" y="540"/>
                <a:ext cx="13" cy="11"/>
              </a:xfrm>
              <a:custGeom>
                <a:avLst/>
                <a:gdLst>
                  <a:gd name="T0" fmla="*/ 2417 w 9"/>
                  <a:gd name="T1" fmla="*/ 4077 h 8"/>
                  <a:gd name="T2" fmla="*/ 0 w 9"/>
                  <a:gd name="T3" fmla="*/ 2164 h 8"/>
                  <a:gd name="T4" fmla="*/ 0 w 9"/>
                  <a:gd name="T5" fmla="*/ 2164 h 8"/>
                  <a:gd name="T6" fmla="*/ 2417 w 9"/>
                  <a:gd name="T7" fmla="*/ 0 h 8"/>
                  <a:gd name="T8" fmla="*/ 2417 w 9"/>
                  <a:gd name="T9" fmla="*/ 0 h 8"/>
                  <a:gd name="T10" fmla="*/ 5642 w 9"/>
                  <a:gd name="T11" fmla="*/ 2164 h 8"/>
                  <a:gd name="T12" fmla="*/ 2417 w 9"/>
                  <a:gd name="T13" fmla="*/ 4077 h 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8">
                    <a:moveTo>
                      <a:pt x="4" y="8"/>
                    </a:moveTo>
                    <a:cubicBezTo>
                      <a:pt x="2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6"/>
                      <a:pt x="7" y="8"/>
                      <a:pt x="4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989" name="Freeform 704"/>
              <p:cNvSpPr>
                <a:spLocks noChangeArrowheads="1"/>
              </p:cNvSpPr>
              <p:nvPr/>
            </p:nvSpPr>
            <p:spPr bwMode="auto">
              <a:xfrm>
                <a:off x="5229" y="554"/>
                <a:ext cx="13" cy="11"/>
              </a:xfrm>
              <a:custGeom>
                <a:avLst/>
                <a:gdLst>
                  <a:gd name="T0" fmla="*/ 3194 w 9"/>
                  <a:gd name="T1" fmla="*/ 4077 h 8"/>
                  <a:gd name="T2" fmla="*/ 3194 w 9"/>
                  <a:gd name="T3" fmla="*/ 4077 h 8"/>
                  <a:gd name="T4" fmla="*/ 0 w 9"/>
                  <a:gd name="T5" fmla="*/ 2164 h 8"/>
                  <a:gd name="T6" fmla="*/ 3194 w 9"/>
                  <a:gd name="T7" fmla="*/ 0 h 8"/>
                  <a:gd name="T8" fmla="*/ 7173 w 9"/>
                  <a:gd name="T9" fmla="*/ 2164 h 8"/>
                  <a:gd name="T10" fmla="*/ 3194 w 9"/>
                  <a:gd name="T11" fmla="*/ 4077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8">
                    <a:moveTo>
                      <a:pt x="4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0" y="6"/>
                      <a:pt x="0" y="4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7" y="0"/>
                      <a:pt x="9" y="1"/>
                      <a:pt x="9" y="4"/>
                    </a:cubicBezTo>
                    <a:cubicBezTo>
                      <a:pt x="9" y="6"/>
                      <a:pt x="7" y="8"/>
                      <a:pt x="4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990" name="Freeform 705"/>
              <p:cNvSpPr>
                <a:spLocks noChangeArrowheads="1"/>
              </p:cNvSpPr>
              <p:nvPr/>
            </p:nvSpPr>
            <p:spPr bwMode="auto">
              <a:xfrm>
                <a:off x="5146" y="554"/>
                <a:ext cx="13" cy="11"/>
              </a:xfrm>
              <a:custGeom>
                <a:avLst/>
                <a:gdLst>
                  <a:gd name="T0" fmla="*/ 3860 w 9"/>
                  <a:gd name="T1" fmla="*/ 4077 h 8"/>
                  <a:gd name="T2" fmla="*/ 3194 w 9"/>
                  <a:gd name="T3" fmla="*/ 4077 h 8"/>
                  <a:gd name="T4" fmla="*/ 0 w 9"/>
                  <a:gd name="T5" fmla="*/ 2164 h 8"/>
                  <a:gd name="T6" fmla="*/ 0 w 9"/>
                  <a:gd name="T7" fmla="*/ 2164 h 8"/>
                  <a:gd name="T8" fmla="*/ 3194 w 9"/>
                  <a:gd name="T9" fmla="*/ 0 h 8"/>
                  <a:gd name="T10" fmla="*/ 7173 w 9"/>
                  <a:gd name="T11" fmla="*/ 2164 h 8"/>
                  <a:gd name="T12" fmla="*/ 3860 w 9"/>
                  <a:gd name="T13" fmla="*/ 4077 h 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8">
                    <a:moveTo>
                      <a:pt x="5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7" y="0"/>
                      <a:pt x="9" y="1"/>
                      <a:pt x="9" y="4"/>
                    </a:cubicBezTo>
                    <a:cubicBezTo>
                      <a:pt x="9" y="6"/>
                      <a:pt x="7" y="8"/>
                      <a:pt x="5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991" name="Freeform 706"/>
              <p:cNvSpPr>
                <a:spLocks noChangeArrowheads="1"/>
              </p:cNvSpPr>
              <p:nvPr/>
            </p:nvSpPr>
            <p:spPr bwMode="auto">
              <a:xfrm>
                <a:off x="5085" y="540"/>
                <a:ext cx="13" cy="11"/>
              </a:xfrm>
              <a:custGeom>
                <a:avLst/>
                <a:gdLst>
                  <a:gd name="T0" fmla="*/ 2417 w 9"/>
                  <a:gd name="T1" fmla="*/ 4077 h 8"/>
                  <a:gd name="T2" fmla="*/ 0 w 9"/>
                  <a:gd name="T3" fmla="*/ 2164 h 8"/>
                  <a:gd name="T4" fmla="*/ 0 w 9"/>
                  <a:gd name="T5" fmla="*/ 2164 h 8"/>
                  <a:gd name="T6" fmla="*/ 2417 w 9"/>
                  <a:gd name="T7" fmla="*/ 0 h 8"/>
                  <a:gd name="T8" fmla="*/ 3225 w 9"/>
                  <a:gd name="T9" fmla="*/ 0 h 8"/>
                  <a:gd name="T10" fmla="*/ 5642 w 9"/>
                  <a:gd name="T11" fmla="*/ 2164 h 8"/>
                  <a:gd name="T12" fmla="*/ 2417 w 9"/>
                  <a:gd name="T13" fmla="*/ 4077 h 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8">
                    <a:moveTo>
                      <a:pt x="4" y="8"/>
                    </a:moveTo>
                    <a:cubicBezTo>
                      <a:pt x="2" y="8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6"/>
                      <a:pt x="7" y="8"/>
                      <a:pt x="4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992" name="Freeform 707"/>
              <p:cNvSpPr>
                <a:spLocks noChangeArrowheads="1"/>
              </p:cNvSpPr>
              <p:nvPr/>
            </p:nvSpPr>
            <p:spPr bwMode="auto">
              <a:xfrm>
                <a:off x="5002" y="540"/>
                <a:ext cx="12" cy="11"/>
              </a:xfrm>
              <a:custGeom>
                <a:avLst/>
                <a:gdLst>
                  <a:gd name="T0" fmla="*/ 1993 w 9"/>
                  <a:gd name="T1" fmla="*/ 4077 h 8"/>
                  <a:gd name="T2" fmla="*/ 0 w 9"/>
                  <a:gd name="T3" fmla="*/ 2164 h 8"/>
                  <a:gd name="T4" fmla="*/ 0 w 9"/>
                  <a:gd name="T5" fmla="*/ 2164 h 8"/>
                  <a:gd name="T6" fmla="*/ 1993 w 9"/>
                  <a:gd name="T7" fmla="*/ 0 h 8"/>
                  <a:gd name="T8" fmla="*/ 1993 w 9"/>
                  <a:gd name="T9" fmla="*/ 0 h 8"/>
                  <a:gd name="T10" fmla="*/ 3489 w 9"/>
                  <a:gd name="T11" fmla="*/ 2164 h 8"/>
                  <a:gd name="T12" fmla="*/ 1993 w 9"/>
                  <a:gd name="T13" fmla="*/ 4077 h 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8">
                    <a:moveTo>
                      <a:pt x="5" y="8"/>
                    </a:moveTo>
                    <a:cubicBezTo>
                      <a:pt x="2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6"/>
                      <a:pt x="7" y="8"/>
                      <a:pt x="5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993" name="Freeform 708"/>
              <p:cNvSpPr>
                <a:spLocks noChangeArrowheads="1"/>
              </p:cNvSpPr>
              <p:nvPr/>
            </p:nvSpPr>
            <p:spPr bwMode="auto">
              <a:xfrm>
                <a:off x="4940" y="554"/>
                <a:ext cx="12" cy="11"/>
              </a:xfrm>
              <a:custGeom>
                <a:avLst/>
                <a:gdLst>
                  <a:gd name="T0" fmla="*/ 1993 w 9"/>
                  <a:gd name="T1" fmla="*/ 4077 h 8"/>
                  <a:gd name="T2" fmla="*/ 1495 w 9"/>
                  <a:gd name="T3" fmla="*/ 4077 h 8"/>
                  <a:gd name="T4" fmla="*/ 0 w 9"/>
                  <a:gd name="T5" fmla="*/ 2164 h 8"/>
                  <a:gd name="T6" fmla="*/ 1993 w 9"/>
                  <a:gd name="T7" fmla="*/ 0 h 8"/>
                  <a:gd name="T8" fmla="*/ 3489 w 9"/>
                  <a:gd name="T9" fmla="*/ 2164 h 8"/>
                  <a:gd name="T10" fmla="*/ 1993 w 9"/>
                  <a:gd name="T11" fmla="*/ 4077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8">
                    <a:moveTo>
                      <a:pt x="5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0" y="6"/>
                      <a:pt x="0" y="4"/>
                    </a:cubicBezTo>
                    <a:cubicBezTo>
                      <a:pt x="0" y="1"/>
                      <a:pt x="2" y="0"/>
                      <a:pt x="5" y="0"/>
                    </a:cubicBezTo>
                    <a:cubicBezTo>
                      <a:pt x="7" y="0"/>
                      <a:pt x="9" y="1"/>
                      <a:pt x="9" y="4"/>
                    </a:cubicBezTo>
                    <a:cubicBezTo>
                      <a:pt x="9" y="6"/>
                      <a:pt x="7" y="8"/>
                      <a:pt x="5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994" name="Freeform 709"/>
              <p:cNvSpPr>
                <a:spLocks noChangeArrowheads="1"/>
              </p:cNvSpPr>
              <p:nvPr/>
            </p:nvSpPr>
            <p:spPr bwMode="auto">
              <a:xfrm>
                <a:off x="5354" y="554"/>
                <a:ext cx="13" cy="11"/>
              </a:xfrm>
              <a:custGeom>
                <a:avLst/>
                <a:gdLst>
                  <a:gd name="T0" fmla="*/ 2417 w 9"/>
                  <a:gd name="T1" fmla="*/ 4077 h 8"/>
                  <a:gd name="T2" fmla="*/ 2417 w 9"/>
                  <a:gd name="T3" fmla="*/ 4077 h 8"/>
                  <a:gd name="T4" fmla="*/ 0 w 9"/>
                  <a:gd name="T5" fmla="*/ 2164 h 8"/>
                  <a:gd name="T6" fmla="*/ 0 w 9"/>
                  <a:gd name="T7" fmla="*/ 2164 h 8"/>
                  <a:gd name="T8" fmla="*/ 2417 w 9"/>
                  <a:gd name="T9" fmla="*/ 0 h 8"/>
                  <a:gd name="T10" fmla="*/ 5642 w 9"/>
                  <a:gd name="T11" fmla="*/ 2164 h 8"/>
                  <a:gd name="T12" fmla="*/ 2417 w 9"/>
                  <a:gd name="T13" fmla="*/ 4077 h 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8">
                    <a:moveTo>
                      <a:pt x="4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7" y="0"/>
                      <a:pt x="9" y="1"/>
                      <a:pt x="9" y="4"/>
                    </a:cubicBezTo>
                    <a:cubicBezTo>
                      <a:pt x="9" y="6"/>
                      <a:pt x="7" y="8"/>
                      <a:pt x="4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995" name="Freeform 710"/>
              <p:cNvSpPr>
                <a:spLocks noChangeArrowheads="1"/>
              </p:cNvSpPr>
              <p:nvPr/>
            </p:nvSpPr>
            <p:spPr bwMode="auto">
              <a:xfrm>
                <a:off x="5208" y="540"/>
                <a:ext cx="12" cy="11"/>
              </a:xfrm>
              <a:custGeom>
                <a:avLst/>
                <a:gdLst>
                  <a:gd name="T0" fmla="*/ 1993 w 9"/>
                  <a:gd name="T1" fmla="*/ 4077 h 8"/>
                  <a:gd name="T2" fmla="*/ 0 w 9"/>
                  <a:gd name="T3" fmla="*/ 2164 h 8"/>
                  <a:gd name="T4" fmla="*/ 0 w 9"/>
                  <a:gd name="T5" fmla="*/ 2164 h 8"/>
                  <a:gd name="T6" fmla="*/ 1495 w 9"/>
                  <a:gd name="T7" fmla="*/ 0 h 8"/>
                  <a:gd name="T8" fmla="*/ 1993 w 9"/>
                  <a:gd name="T9" fmla="*/ 0 h 8"/>
                  <a:gd name="T10" fmla="*/ 3489 w 9"/>
                  <a:gd name="T11" fmla="*/ 2164 h 8"/>
                  <a:gd name="T12" fmla="*/ 1993 w 9"/>
                  <a:gd name="T13" fmla="*/ 4077 h 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8">
                    <a:moveTo>
                      <a:pt x="5" y="8"/>
                    </a:moveTo>
                    <a:cubicBezTo>
                      <a:pt x="2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6"/>
                      <a:pt x="7" y="8"/>
                      <a:pt x="5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996" name="Freeform 711"/>
              <p:cNvSpPr>
                <a:spLocks noChangeArrowheads="1"/>
              </p:cNvSpPr>
              <p:nvPr/>
            </p:nvSpPr>
            <p:spPr bwMode="auto">
              <a:xfrm>
                <a:off x="5125" y="540"/>
                <a:ext cx="13" cy="11"/>
              </a:xfrm>
              <a:custGeom>
                <a:avLst/>
                <a:gdLst>
                  <a:gd name="T0" fmla="*/ 3225 w 9"/>
                  <a:gd name="T1" fmla="*/ 4077 h 8"/>
                  <a:gd name="T2" fmla="*/ 0 w 9"/>
                  <a:gd name="T3" fmla="*/ 2164 h 8"/>
                  <a:gd name="T4" fmla="*/ 3225 w 9"/>
                  <a:gd name="T5" fmla="*/ 0 h 8"/>
                  <a:gd name="T6" fmla="*/ 3225 w 9"/>
                  <a:gd name="T7" fmla="*/ 0 h 8"/>
                  <a:gd name="T8" fmla="*/ 5642 w 9"/>
                  <a:gd name="T9" fmla="*/ 2164 h 8"/>
                  <a:gd name="T10" fmla="*/ 3225 w 9"/>
                  <a:gd name="T11" fmla="*/ 4077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8">
                    <a:moveTo>
                      <a:pt x="5" y="8"/>
                    </a:moveTo>
                    <a:cubicBezTo>
                      <a:pt x="2" y="8"/>
                      <a:pt x="0" y="6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6"/>
                      <a:pt x="7" y="8"/>
                      <a:pt x="5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997" name="Freeform 712"/>
              <p:cNvSpPr>
                <a:spLocks noChangeArrowheads="1"/>
              </p:cNvSpPr>
              <p:nvPr/>
            </p:nvSpPr>
            <p:spPr bwMode="auto">
              <a:xfrm>
                <a:off x="5063" y="554"/>
                <a:ext cx="13" cy="11"/>
              </a:xfrm>
              <a:custGeom>
                <a:avLst/>
                <a:gdLst>
                  <a:gd name="T0" fmla="*/ 3860 w 9"/>
                  <a:gd name="T1" fmla="*/ 4077 h 8"/>
                  <a:gd name="T2" fmla="*/ 3860 w 9"/>
                  <a:gd name="T3" fmla="*/ 4077 h 8"/>
                  <a:gd name="T4" fmla="*/ 0 w 9"/>
                  <a:gd name="T5" fmla="*/ 2164 h 8"/>
                  <a:gd name="T6" fmla="*/ 0 w 9"/>
                  <a:gd name="T7" fmla="*/ 2164 h 8"/>
                  <a:gd name="T8" fmla="*/ 3860 w 9"/>
                  <a:gd name="T9" fmla="*/ 0 h 8"/>
                  <a:gd name="T10" fmla="*/ 7173 w 9"/>
                  <a:gd name="T11" fmla="*/ 2164 h 8"/>
                  <a:gd name="T12" fmla="*/ 3860 w 9"/>
                  <a:gd name="T13" fmla="*/ 4077 h 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8">
                    <a:moveTo>
                      <a:pt x="5" y="8"/>
                    </a:moveTo>
                    <a:cubicBezTo>
                      <a:pt x="5" y="8"/>
                      <a:pt x="5" y="8"/>
                      <a:pt x="5" y="8"/>
                    </a:cubicBezTo>
                    <a:cubicBezTo>
                      <a:pt x="2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1"/>
                      <a:pt x="2" y="0"/>
                      <a:pt x="5" y="0"/>
                    </a:cubicBezTo>
                    <a:cubicBezTo>
                      <a:pt x="7" y="0"/>
                      <a:pt x="9" y="1"/>
                      <a:pt x="9" y="4"/>
                    </a:cubicBezTo>
                    <a:cubicBezTo>
                      <a:pt x="9" y="6"/>
                      <a:pt x="7" y="8"/>
                      <a:pt x="5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998" name="Freeform 713"/>
              <p:cNvSpPr>
                <a:spLocks noChangeArrowheads="1"/>
              </p:cNvSpPr>
              <p:nvPr/>
            </p:nvSpPr>
            <p:spPr bwMode="auto">
              <a:xfrm>
                <a:off x="4983" y="554"/>
                <a:ext cx="11" cy="11"/>
              </a:xfrm>
              <a:custGeom>
                <a:avLst/>
                <a:gdLst>
                  <a:gd name="T0" fmla="*/ 2164 w 8"/>
                  <a:gd name="T1" fmla="*/ 4077 h 8"/>
                  <a:gd name="T2" fmla="*/ 2164 w 8"/>
                  <a:gd name="T3" fmla="*/ 4077 h 8"/>
                  <a:gd name="T4" fmla="*/ 0 w 8"/>
                  <a:gd name="T5" fmla="*/ 2164 h 8"/>
                  <a:gd name="T6" fmla="*/ 0 w 8"/>
                  <a:gd name="T7" fmla="*/ 2164 h 8"/>
                  <a:gd name="T8" fmla="*/ 2164 w 8"/>
                  <a:gd name="T9" fmla="*/ 0 h 8"/>
                  <a:gd name="T10" fmla="*/ 4077 w 8"/>
                  <a:gd name="T11" fmla="*/ 2164 h 8"/>
                  <a:gd name="T12" fmla="*/ 2164 w 8"/>
                  <a:gd name="T13" fmla="*/ 4077 h 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8" h="8">
                    <a:moveTo>
                      <a:pt x="4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6" y="0"/>
                      <a:pt x="8" y="1"/>
                      <a:pt x="8" y="4"/>
                    </a:cubicBezTo>
                    <a:cubicBezTo>
                      <a:pt x="8" y="6"/>
                      <a:pt x="6" y="8"/>
                      <a:pt x="4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999" name="Freeform 714"/>
              <p:cNvSpPr>
                <a:spLocks noChangeArrowheads="1"/>
              </p:cNvSpPr>
              <p:nvPr/>
            </p:nvSpPr>
            <p:spPr bwMode="auto">
              <a:xfrm>
                <a:off x="5476" y="573"/>
                <a:ext cx="12" cy="13"/>
              </a:xfrm>
              <a:custGeom>
                <a:avLst/>
                <a:gdLst>
                  <a:gd name="T0" fmla="*/ 1993 w 9"/>
                  <a:gd name="T1" fmla="*/ 7173 h 9"/>
                  <a:gd name="T2" fmla="*/ 1495 w 9"/>
                  <a:gd name="T3" fmla="*/ 7173 h 9"/>
                  <a:gd name="T4" fmla="*/ 0 w 9"/>
                  <a:gd name="T5" fmla="*/ 3860 h 9"/>
                  <a:gd name="T6" fmla="*/ 0 w 9"/>
                  <a:gd name="T7" fmla="*/ 3860 h 9"/>
                  <a:gd name="T8" fmla="*/ 1495 w 9"/>
                  <a:gd name="T9" fmla="*/ 0 h 9"/>
                  <a:gd name="T10" fmla="*/ 3489 w 9"/>
                  <a:gd name="T11" fmla="*/ 3860 h 9"/>
                  <a:gd name="T12" fmla="*/ 1993 w 9"/>
                  <a:gd name="T13" fmla="*/ 7173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4" y="9"/>
                      <a:pt x="4" y="9"/>
                      <a:pt x="4" y="9"/>
                    </a:cubicBez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5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000" name="Freeform 715"/>
              <p:cNvSpPr>
                <a:spLocks noChangeArrowheads="1"/>
              </p:cNvSpPr>
              <p:nvPr/>
            </p:nvSpPr>
            <p:spPr bwMode="auto">
              <a:xfrm>
                <a:off x="5435" y="573"/>
                <a:ext cx="11" cy="13"/>
              </a:xfrm>
              <a:custGeom>
                <a:avLst/>
                <a:gdLst>
                  <a:gd name="T0" fmla="*/ 2164 w 8"/>
                  <a:gd name="T1" fmla="*/ 7173 h 9"/>
                  <a:gd name="T2" fmla="*/ 2164 w 8"/>
                  <a:gd name="T3" fmla="*/ 7173 h 9"/>
                  <a:gd name="T4" fmla="*/ 0 w 8"/>
                  <a:gd name="T5" fmla="*/ 3860 h 9"/>
                  <a:gd name="T6" fmla="*/ 0 w 8"/>
                  <a:gd name="T7" fmla="*/ 3860 h 9"/>
                  <a:gd name="T8" fmla="*/ 2164 w 8"/>
                  <a:gd name="T9" fmla="*/ 0 h 9"/>
                  <a:gd name="T10" fmla="*/ 4077 w 8"/>
                  <a:gd name="T11" fmla="*/ 3860 h 9"/>
                  <a:gd name="T12" fmla="*/ 2164 w 8"/>
                  <a:gd name="T13" fmla="*/ 7173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4" y="9"/>
                      <a:pt x="4" y="9"/>
                      <a:pt x="4" y="9"/>
                    </a:cubicBez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5"/>
                    </a:cubicBezTo>
                    <a:cubicBezTo>
                      <a:pt x="8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001" name="Freeform 716"/>
              <p:cNvSpPr>
                <a:spLocks noChangeArrowheads="1"/>
              </p:cNvSpPr>
              <p:nvPr/>
            </p:nvSpPr>
            <p:spPr bwMode="auto">
              <a:xfrm>
                <a:off x="5415" y="559"/>
                <a:ext cx="13" cy="13"/>
              </a:xfrm>
              <a:custGeom>
                <a:avLst/>
                <a:gdLst>
                  <a:gd name="T0" fmla="*/ 2417 w 9"/>
                  <a:gd name="T1" fmla="*/ 7173 h 9"/>
                  <a:gd name="T2" fmla="*/ 0 w 9"/>
                  <a:gd name="T3" fmla="*/ 3860 h 9"/>
                  <a:gd name="T4" fmla="*/ 0 w 9"/>
                  <a:gd name="T5" fmla="*/ 3860 h 9"/>
                  <a:gd name="T6" fmla="*/ 2417 w 9"/>
                  <a:gd name="T7" fmla="*/ 0 h 9"/>
                  <a:gd name="T8" fmla="*/ 5642 w 9"/>
                  <a:gd name="T9" fmla="*/ 3860 h 9"/>
                  <a:gd name="T10" fmla="*/ 2417 w 9"/>
                  <a:gd name="T11" fmla="*/ 7173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5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002" name="Freeform 717"/>
              <p:cNvSpPr>
                <a:spLocks noChangeArrowheads="1"/>
              </p:cNvSpPr>
              <p:nvPr/>
            </p:nvSpPr>
            <p:spPr bwMode="auto">
              <a:xfrm>
                <a:off x="5331" y="559"/>
                <a:ext cx="13" cy="13"/>
              </a:xfrm>
              <a:custGeom>
                <a:avLst/>
                <a:gdLst>
                  <a:gd name="T0" fmla="*/ 3860 w 9"/>
                  <a:gd name="T1" fmla="*/ 7173 h 9"/>
                  <a:gd name="T2" fmla="*/ 0 w 9"/>
                  <a:gd name="T3" fmla="*/ 3860 h 9"/>
                  <a:gd name="T4" fmla="*/ 0 w 9"/>
                  <a:gd name="T5" fmla="*/ 3860 h 9"/>
                  <a:gd name="T6" fmla="*/ 3860 w 9"/>
                  <a:gd name="T7" fmla="*/ 0 h 9"/>
                  <a:gd name="T8" fmla="*/ 7173 w 9"/>
                  <a:gd name="T9" fmla="*/ 3860 h 9"/>
                  <a:gd name="T10" fmla="*/ 3860 w 9"/>
                  <a:gd name="T11" fmla="*/ 7173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5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003" name="Freeform 718"/>
              <p:cNvSpPr>
                <a:spLocks noChangeArrowheads="1"/>
              </p:cNvSpPr>
              <p:nvPr/>
            </p:nvSpPr>
            <p:spPr bwMode="auto">
              <a:xfrm>
                <a:off x="5044" y="559"/>
                <a:ext cx="11" cy="13"/>
              </a:xfrm>
              <a:custGeom>
                <a:avLst/>
                <a:gdLst>
                  <a:gd name="T0" fmla="*/ 2164 w 8"/>
                  <a:gd name="T1" fmla="*/ 7173 h 9"/>
                  <a:gd name="T2" fmla="*/ 0 w 8"/>
                  <a:gd name="T3" fmla="*/ 3860 h 9"/>
                  <a:gd name="T4" fmla="*/ 0 w 8"/>
                  <a:gd name="T5" fmla="*/ 3860 h 9"/>
                  <a:gd name="T6" fmla="*/ 2164 w 8"/>
                  <a:gd name="T7" fmla="*/ 0 h 9"/>
                  <a:gd name="T8" fmla="*/ 4077 w 8"/>
                  <a:gd name="T9" fmla="*/ 3860 h 9"/>
                  <a:gd name="T10" fmla="*/ 2164 w 8"/>
                  <a:gd name="T11" fmla="*/ 7173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5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004" name="Oval 719"/>
              <p:cNvSpPr>
                <a:spLocks noChangeArrowheads="1"/>
              </p:cNvSpPr>
              <p:nvPr/>
            </p:nvSpPr>
            <p:spPr bwMode="auto">
              <a:xfrm>
                <a:off x="5455" y="559"/>
                <a:ext cx="13" cy="13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US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005" name="Oval 720"/>
              <p:cNvSpPr>
                <a:spLocks noChangeArrowheads="1"/>
              </p:cNvSpPr>
              <p:nvPr/>
            </p:nvSpPr>
            <p:spPr bwMode="auto">
              <a:xfrm>
                <a:off x="5744" y="559"/>
                <a:ext cx="13" cy="13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US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006" name="Freeform 721"/>
              <p:cNvSpPr>
                <a:spLocks noChangeArrowheads="1"/>
              </p:cNvSpPr>
              <p:nvPr/>
            </p:nvSpPr>
            <p:spPr bwMode="auto">
              <a:xfrm>
                <a:off x="5723" y="573"/>
                <a:ext cx="13" cy="13"/>
              </a:xfrm>
              <a:custGeom>
                <a:avLst/>
                <a:gdLst>
                  <a:gd name="T0" fmla="*/ 3225 w 9"/>
                  <a:gd name="T1" fmla="*/ 7173 h 9"/>
                  <a:gd name="T2" fmla="*/ 3225 w 9"/>
                  <a:gd name="T3" fmla="*/ 7173 h 9"/>
                  <a:gd name="T4" fmla="*/ 0 w 9"/>
                  <a:gd name="T5" fmla="*/ 3860 h 9"/>
                  <a:gd name="T6" fmla="*/ 0 w 9"/>
                  <a:gd name="T7" fmla="*/ 3860 h 9"/>
                  <a:gd name="T8" fmla="*/ 3225 w 9"/>
                  <a:gd name="T9" fmla="*/ 0 h 9"/>
                  <a:gd name="T10" fmla="*/ 5642 w 9"/>
                  <a:gd name="T11" fmla="*/ 3860 h 9"/>
                  <a:gd name="T12" fmla="*/ 3225 w 9"/>
                  <a:gd name="T13" fmla="*/ 7173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5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007" name="Freeform 722"/>
              <p:cNvSpPr>
                <a:spLocks noChangeArrowheads="1"/>
              </p:cNvSpPr>
              <p:nvPr/>
            </p:nvSpPr>
            <p:spPr bwMode="auto">
              <a:xfrm>
                <a:off x="5704" y="559"/>
                <a:ext cx="11" cy="13"/>
              </a:xfrm>
              <a:custGeom>
                <a:avLst/>
                <a:gdLst>
                  <a:gd name="T0" fmla="*/ 2164 w 8"/>
                  <a:gd name="T1" fmla="*/ 7173 h 9"/>
                  <a:gd name="T2" fmla="*/ 0 w 8"/>
                  <a:gd name="T3" fmla="*/ 3860 h 9"/>
                  <a:gd name="T4" fmla="*/ 0 w 8"/>
                  <a:gd name="T5" fmla="*/ 3860 h 9"/>
                  <a:gd name="T6" fmla="*/ 2164 w 8"/>
                  <a:gd name="T7" fmla="*/ 0 h 9"/>
                  <a:gd name="T8" fmla="*/ 4077 w 8"/>
                  <a:gd name="T9" fmla="*/ 3860 h 9"/>
                  <a:gd name="T10" fmla="*/ 2164 w 8"/>
                  <a:gd name="T11" fmla="*/ 7173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5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008" name="Freeform 723"/>
              <p:cNvSpPr>
                <a:spLocks noChangeArrowheads="1"/>
              </p:cNvSpPr>
              <p:nvPr/>
            </p:nvSpPr>
            <p:spPr bwMode="auto">
              <a:xfrm>
                <a:off x="5683" y="573"/>
                <a:ext cx="13" cy="13"/>
              </a:xfrm>
              <a:custGeom>
                <a:avLst/>
                <a:gdLst>
                  <a:gd name="T0" fmla="*/ 2417 w 9"/>
                  <a:gd name="T1" fmla="*/ 7173 h 9"/>
                  <a:gd name="T2" fmla="*/ 2417 w 9"/>
                  <a:gd name="T3" fmla="*/ 7173 h 9"/>
                  <a:gd name="T4" fmla="*/ 0 w 9"/>
                  <a:gd name="T5" fmla="*/ 3860 h 9"/>
                  <a:gd name="T6" fmla="*/ 2417 w 9"/>
                  <a:gd name="T7" fmla="*/ 0 h 9"/>
                  <a:gd name="T8" fmla="*/ 5642 w 9"/>
                  <a:gd name="T9" fmla="*/ 3860 h 9"/>
                  <a:gd name="T10" fmla="*/ 2417 w 9"/>
                  <a:gd name="T11" fmla="*/ 7173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4" y="9"/>
                      <a:pt x="4" y="9"/>
                      <a:pt x="4" y="9"/>
                    </a:cubicBezTo>
                    <a:cubicBezTo>
                      <a:pt x="2" y="9"/>
                      <a:pt x="0" y="7"/>
                      <a:pt x="0" y="5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5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009" name="Freeform 724"/>
              <p:cNvSpPr>
                <a:spLocks noChangeArrowheads="1"/>
              </p:cNvSpPr>
              <p:nvPr/>
            </p:nvSpPr>
            <p:spPr bwMode="auto">
              <a:xfrm>
                <a:off x="5393" y="573"/>
                <a:ext cx="13" cy="13"/>
              </a:xfrm>
              <a:custGeom>
                <a:avLst/>
                <a:gdLst>
                  <a:gd name="T0" fmla="*/ 3225 w 9"/>
                  <a:gd name="T1" fmla="*/ 7173 h 9"/>
                  <a:gd name="T2" fmla="*/ 3225 w 9"/>
                  <a:gd name="T3" fmla="*/ 7173 h 9"/>
                  <a:gd name="T4" fmla="*/ 0 w 9"/>
                  <a:gd name="T5" fmla="*/ 3860 h 9"/>
                  <a:gd name="T6" fmla="*/ 0 w 9"/>
                  <a:gd name="T7" fmla="*/ 3860 h 9"/>
                  <a:gd name="T8" fmla="*/ 3225 w 9"/>
                  <a:gd name="T9" fmla="*/ 0 h 9"/>
                  <a:gd name="T10" fmla="*/ 5642 w 9"/>
                  <a:gd name="T11" fmla="*/ 3860 h 9"/>
                  <a:gd name="T12" fmla="*/ 3225 w 9"/>
                  <a:gd name="T13" fmla="*/ 7173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5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010" name="Freeform 725"/>
              <p:cNvSpPr>
                <a:spLocks noChangeArrowheads="1"/>
              </p:cNvSpPr>
              <p:nvPr/>
            </p:nvSpPr>
            <p:spPr bwMode="auto">
              <a:xfrm>
                <a:off x="5312" y="573"/>
                <a:ext cx="11" cy="13"/>
              </a:xfrm>
              <a:custGeom>
                <a:avLst/>
                <a:gdLst>
                  <a:gd name="T0" fmla="*/ 2164 w 8"/>
                  <a:gd name="T1" fmla="*/ 7173 h 9"/>
                  <a:gd name="T2" fmla="*/ 2164 w 8"/>
                  <a:gd name="T3" fmla="*/ 7173 h 9"/>
                  <a:gd name="T4" fmla="*/ 0 w 8"/>
                  <a:gd name="T5" fmla="*/ 3860 h 9"/>
                  <a:gd name="T6" fmla="*/ 0 w 8"/>
                  <a:gd name="T7" fmla="*/ 3860 h 9"/>
                  <a:gd name="T8" fmla="*/ 2164 w 8"/>
                  <a:gd name="T9" fmla="*/ 0 h 9"/>
                  <a:gd name="T10" fmla="*/ 4077 w 8"/>
                  <a:gd name="T11" fmla="*/ 3860 h 9"/>
                  <a:gd name="T12" fmla="*/ 2164 w 8"/>
                  <a:gd name="T13" fmla="*/ 7173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4" y="9"/>
                      <a:pt x="4" y="9"/>
                      <a:pt x="4" y="9"/>
                    </a:cubicBez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5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011" name="Freeform 726"/>
              <p:cNvSpPr>
                <a:spLocks noChangeArrowheads="1"/>
              </p:cNvSpPr>
              <p:nvPr/>
            </p:nvSpPr>
            <p:spPr bwMode="auto">
              <a:xfrm>
                <a:off x="5250" y="559"/>
                <a:ext cx="11" cy="13"/>
              </a:xfrm>
              <a:custGeom>
                <a:avLst/>
                <a:gdLst>
                  <a:gd name="T0" fmla="*/ 2164 w 8"/>
                  <a:gd name="T1" fmla="*/ 7173 h 9"/>
                  <a:gd name="T2" fmla="*/ 0 w 8"/>
                  <a:gd name="T3" fmla="*/ 3860 h 9"/>
                  <a:gd name="T4" fmla="*/ 0 w 8"/>
                  <a:gd name="T5" fmla="*/ 3860 h 9"/>
                  <a:gd name="T6" fmla="*/ 2164 w 8"/>
                  <a:gd name="T7" fmla="*/ 0 h 9"/>
                  <a:gd name="T8" fmla="*/ 4077 w 8"/>
                  <a:gd name="T9" fmla="*/ 3860 h 9"/>
                  <a:gd name="T10" fmla="*/ 2164 w 8"/>
                  <a:gd name="T11" fmla="*/ 7173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5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012" name="Freeform 727"/>
              <p:cNvSpPr>
                <a:spLocks noChangeArrowheads="1"/>
              </p:cNvSpPr>
              <p:nvPr/>
            </p:nvSpPr>
            <p:spPr bwMode="auto">
              <a:xfrm>
                <a:off x="5023" y="573"/>
                <a:ext cx="13" cy="13"/>
              </a:xfrm>
              <a:custGeom>
                <a:avLst/>
                <a:gdLst>
                  <a:gd name="T0" fmla="*/ 2417 w 9"/>
                  <a:gd name="T1" fmla="*/ 7173 h 9"/>
                  <a:gd name="T2" fmla="*/ 2417 w 9"/>
                  <a:gd name="T3" fmla="*/ 7173 h 9"/>
                  <a:gd name="T4" fmla="*/ 0 w 9"/>
                  <a:gd name="T5" fmla="*/ 3860 h 9"/>
                  <a:gd name="T6" fmla="*/ 0 w 9"/>
                  <a:gd name="T7" fmla="*/ 3860 h 9"/>
                  <a:gd name="T8" fmla="*/ 2417 w 9"/>
                  <a:gd name="T9" fmla="*/ 0 h 9"/>
                  <a:gd name="T10" fmla="*/ 5642 w 9"/>
                  <a:gd name="T11" fmla="*/ 3860 h 9"/>
                  <a:gd name="T12" fmla="*/ 2417 w 9"/>
                  <a:gd name="T13" fmla="*/ 7173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4" y="9"/>
                      <a:pt x="4" y="9"/>
                      <a:pt x="4" y="9"/>
                    </a:cubicBez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5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013" name="Freeform 728"/>
              <p:cNvSpPr>
                <a:spLocks noChangeArrowheads="1"/>
              </p:cNvSpPr>
              <p:nvPr/>
            </p:nvSpPr>
            <p:spPr bwMode="auto">
              <a:xfrm>
                <a:off x="4961" y="559"/>
                <a:ext cx="13" cy="13"/>
              </a:xfrm>
              <a:custGeom>
                <a:avLst/>
                <a:gdLst>
                  <a:gd name="T0" fmla="*/ 3194 w 9"/>
                  <a:gd name="T1" fmla="*/ 7173 h 9"/>
                  <a:gd name="T2" fmla="*/ 0 w 9"/>
                  <a:gd name="T3" fmla="*/ 3860 h 9"/>
                  <a:gd name="T4" fmla="*/ 0 w 9"/>
                  <a:gd name="T5" fmla="*/ 3860 h 9"/>
                  <a:gd name="T6" fmla="*/ 3194 w 9"/>
                  <a:gd name="T7" fmla="*/ 0 h 9"/>
                  <a:gd name="T8" fmla="*/ 7173 w 9"/>
                  <a:gd name="T9" fmla="*/ 3860 h 9"/>
                  <a:gd name="T10" fmla="*/ 3194 w 9"/>
                  <a:gd name="T11" fmla="*/ 7173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5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014" name="Freeform 729"/>
              <p:cNvSpPr>
                <a:spLocks noChangeArrowheads="1"/>
              </p:cNvSpPr>
              <p:nvPr/>
            </p:nvSpPr>
            <p:spPr bwMode="auto">
              <a:xfrm>
                <a:off x="5373" y="559"/>
                <a:ext cx="11" cy="13"/>
              </a:xfrm>
              <a:custGeom>
                <a:avLst/>
                <a:gdLst>
                  <a:gd name="T0" fmla="*/ 2164 w 8"/>
                  <a:gd name="T1" fmla="*/ 7173 h 9"/>
                  <a:gd name="T2" fmla="*/ 0 w 8"/>
                  <a:gd name="T3" fmla="*/ 3860 h 9"/>
                  <a:gd name="T4" fmla="*/ 0 w 8"/>
                  <a:gd name="T5" fmla="*/ 3860 h 9"/>
                  <a:gd name="T6" fmla="*/ 2164 w 8"/>
                  <a:gd name="T7" fmla="*/ 0 h 9"/>
                  <a:gd name="T8" fmla="*/ 4077 w 8"/>
                  <a:gd name="T9" fmla="*/ 3860 h 9"/>
                  <a:gd name="T10" fmla="*/ 2164 w 8"/>
                  <a:gd name="T11" fmla="*/ 7173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5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015" name="Freeform 730"/>
              <p:cNvSpPr>
                <a:spLocks noChangeArrowheads="1"/>
              </p:cNvSpPr>
              <p:nvPr/>
            </p:nvSpPr>
            <p:spPr bwMode="auto">
              <a:xfrm>
                <a:off x="5229" y="573"/>
                <a:ext cx="13" cy="13"/>
              </a:xfrm>
              <a:custGeom>
                <a:avLst/>
                <a:gdLst>
                  <a:gd name="T0" fmla="*/ 3194 w 9"/>
                  <a:gd name="T1" fmla="*/ 7173 h 9"/>
                  <a:gd name="T2" fmla="*/ 3194 w 9"/>
                  <a:gd name="T3" fmla="*/ 7173 h 9"/>
                  <a:gd name="T4" fmla="*/ 0 w 9"/>
                  <a:gd name="T5" fmla="*/ 3860 h 9"/>
                  <a:gd name="T6" fmla="*/ 3194 w 9"/>
                  <a:gd name="T7" fmla="*/ 0 h 9"/>
                  <a:gd name="T8" fmla="*/ 7173 w 9"/>
                  <a:gd name="T9" fmla="*/ 3860 h 9"/>
                  <a:gd name="T10" fmla="*/ 3194 w 9"/>
                  <a:gd name="T11" fmla="*/ 7173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4" y="9"/>
                      <a:pt x="4" y="9"/>
                      <a:pt x="4" y="9"/>
                    </a:cubicBezTo>
                    <a:cubicBezTo>
                      <a:pt x="2" y="9"/>
                      <a:pt x="0" y="7"/>
                      <a:pt x="0" y="5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5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016" name="Freeform 731"/>
              <p:cNvSpPr>
                <a:spLocks noChangeArrowheads="1"/>
              </p:cNvSpPr>
              <p:nvPr/>
            </p:nvSpPr>
            <p:spPr bwMode="auto">
              <a:xfrm>
                <a:off x="5188" y="573"/>
                <a:ext cx="11" cy="13"/>
              </a:xfrm>
              <a:custGeom>
                <a:avLst/>
                <a:gdLst>
                  <a:gd name="T0" fmla="*/ 2164 w 8"/>
                  <a:gd name="T1" fmla="*/ 7173 h 9"/>
                  <a:gd name="T2" fmla="*/ 2164 w 8"/>
                  <a:gd name="T3" fmla="*/ 7173 h 9"/>
                  <a:gd name="T4" fmla="*/ 0 w 8"/>
                  <a:gd name="T5" fmla="*/ 3860 h 9"/>
                  <a:gd name="T6" fmla="*/ 0 w 8"/>
                  <a:gd name="T7" fmla="*/ 3860 h 9"/>
                  <a:gd name="T8" fmla="*/ 2164 w 8"/>
                  <a:gd name="T9" fmla="*/ 0 h 9"/>
                  <a:gd name="T10" fmla="*/ 4077 w 8"/>
                  <a:gd name="T11" fmla="*/ 3860 h 9"/>
                  <a:gd name="T12" fmla="*/ 2164 w 8"/>
                  <a:gd name="T13" fmla="*/ 7173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4" y="9"/>
                      <a:pt x="4" y="9"/>
                      <a:pt x="4" y="9"/>
                    </a:cubicBezTo>
                    <a:cubicBezTo>
                      <a:pt x="1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1" y="0"/>
                      <a:pt x="4" y="0"/>
                    </a:cubicBezTo>
                    <a:cubicBezTo>
                      <a:pt x="6" y="0"/>
                      <a:pt x="8" y="2"/>
                      <a:pt x="8" y="5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017" name="Freeform 732"/>
              <p:cNvSpPr>
                <a:spLocks noChangeArrowheads="1"/>
              </p:cNvSpPr>
              <p:nvPr/>
            </p:nvSpPr>
            <p:spPr bwMode="auto">
              <a:xfrm>
                <a:off x="5085" y="559"/>
                <a:ext cx="13" cy="13"/>
              </a:xfrm>
              <a:custGeom>
                <a:avLst/>
                <a:gdLst>
                  <a:gd name="T0" fmla="*/ 2417 w 9"/>
                  <a:gd name="T1" fmla="*/ 7173 h 9"/>
                  <a:gd name="T2" fmla="*/ 0 w 9"/>
                  <a:gd name="T3" fmla="*/ 3860 h 9"/>
                  <a:gd name="T4" fmla="*/ 0 w 9"/>
                  <a:gd name="T5" fmla="*/ 3860 h 9"/>
                  <a:gd name="T6" fmla="*/ 2417 w 9"/>
                  <a:gd name="T7" fmla="*/ 0 h 9"/>
                  <a:gd name="T8" fmla="*/ 5642 w 9"/>
                  <a:gd name="T9" fmla="*/ 3860 h 9"/>
                  <a:gd name="T10" fmla="*/ 2417 w 9"/>
                  <a:gd name="T11" fmla="*/ 7173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5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018" name="Freeform 733"/>
              <p:cNvSpPr>
                <a:spLocks noChangeArrowheads="1"/>
              </p:cNvSpPr>
              <p:nvPr/>
            </p:nvSpPr>
            <p:spPr bwMode="auto">
              <a:xfrm>
                <a:off x="5002" y="559"/>
                <a:ext cx="12" cy="13"/>
              </a:xfrm>
              <a:custGeom>
                <a:avLst/>
                <a:gdLst>
                  <a:gd name="T0" fmla="*/ 1993 w 9"/>
                  <a:gd name="T1" fmla="*/ 7173 h 9"/>
                  <a:gd name="T2" fmla="*/ 0 w 9"/>
                  <a:gd name="T3" fmla="*/ 3860 h 9"/>
                  <a:gd name="T4" fmla="*/ 0 w 9"/>
                  <a:gd name="T5" fmla="*/ 3860 h 9"/>
                  <a:gd name="T6" fmla="*/ 1993 w 9"/>
                  <a:gd name="T7" fmla="*/ 0 h 9"/>
                  <a:gd name="T8" fmla="*/ 3489 w 9"/>
                  <a:gd name="T9" fmla="*/ 3860 h 9"/>
                  <a:gd name="T10" fmla="*/ 1993 w 9"/>
                  <a:gd name="T11" fmla="*/ 7173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5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019" name="Freeform 734"/>
              <p:cNvSpPr>
                <a:spLocks noChangeArrowheads="1"/>
              </p:cNvSpPr>
              <p:nvPr/>
            </p:nvSpPr>
            <p:spPr bwMode="auto">
              <a:xfrm>
                <a:off x="4940" y="573"/>
                <a:ext cx="12" cy="13"/>
              </a:xfrm>
              <a:custGeom>
                <a:avLst/>
                <a:gdLst>
                  <a:gd name="T0" fmla="*/ 1993 w 9"/>
                  <a:gd name="T1" fmla="*/ 7173 h 9"/>
                  <a:gd name="T2" fmla="*/ 1495 w 9"/>
                  <a:gd name="T3" fmla="*/ 7173 h 9"/>
                  <a:gd name="T4" fmla="*/ 0 w 9"/>
                  <a:gd name="T5" fmla="*/ 3860 h 9"/>
                  <a:gd name="T6" fmla="*/ 1993 w 9"/>
                  <a:gd name="T7" fmla="*/ 0 h 9"/>
                  <a:gd name="T8" fmla="*/ 3489 w 9"/>
                  <a:gd name="T9" fmla="*/ 3860 h 9"/>
                  <a:gd name="T10" fmla="*/ 1993 w 9"/>
                  <a:gd name="T11" fmla="*/ 7173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4" y="9"/>
                      <a:pt x="4" y="9"/>
                      <a:pt x="4" y="9"/>
                    </a:cubicBezTo>
                    <a:cubicBezTo>
                      <a:pt x="2" y="9"/>
                      <a:pt x="0" y="7"/>
                      <a:pt x="0" y="5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5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020" name="Freeform 735"/>
              <p:cNvSpPr>
                <a:spLocks noChangeArrowheads="1"/>
              </p:cNvSpPr>
              <p:nvPr/>
            </p:nvSpPr>
            <p:spPr bwMode="auto">
              <a:xfrm>
                <a:off x="5354" y="573"/>
                <a:ext cx="13" cy="13"/>
              </a:xfrm>
              <a:custGeom>
                <a:avLst/>
                <a:gdLst>
                  <a:gd name="T0" fmla="*/ 2417 w 9"/>
                  <a:gd name="T1" fmla="*/ 7173 h 9"/>
                  <a:gd name="T2" fmla="*/ 2417 w 9"/>
                  <a:gd name="T3" fmla="*/ 7173 h 9"/>
                  <a:gd name="T4" fmla="*/ 0 w 9"/>
                  <a:gd name="T5" fmla="*/ 3860 h 9"/>
                  <a:gd name="T6" fmla="*/ 0 w 9"/>
                  <a:gd name="T7" fmla="*/ 3860 h 9"/>
                  <a:gd name="T8" fmla="*/ 2417 w 9"/>
                  <a:gd name="T9" fmla="*/ 0 h 9"/>
                  <a:gd name="T10" fmla="*/ 5642 w 9"/>
                  <a:gd name="T11" fmla="*/ 3860 h 9"/>
                  <a:gd name="T12" fmla="*/ 2417 w 9"/>
                  <a:gd name="T13" fmla="*/ 7173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4" y="9"/>
                      <a:pt x="4" y="9"/>
                      <a:pt x="4" y="9"/>
                    </a:cubicBez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5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021" name="Freeform 736"/>
              <p:cNvSpPr>
                <a:spLocks noChangeArrowheads="1"/>
              </p:cNvSpPr>
              <p:nvPr/>
            </p:nvSpPr>
            <p:spPr bwMode="auto">
              <a:xfrm>
                <a:off x="5063" y="573"/>
                <a:ext cx="13" cy="13"/>
              </a:xfrm>
              <a:custGeom>
                <a:avLst/>
                <a:gdLst>
                  <a:gd name="T0" fmla="*/ 3860 w 9"/>
                  <a:gd name="T1" fmla="*/ 7173 h 9"/>
                  <a:gd name="T2" fmla="*/ 3860 w 9"/>
                  <a:gd name="T3" fmla="*/ 7173 h 9"/>
                  <a:gd name="T4" fmla="*/ 0 w 9"/>
                  <a:gd name="T5" fmla="*/ 3860 h 9"/>
                  <a:gd name="T6" fmla="*/ 0 w 9"/>
                  <a:gd name="T7" fmla="*/ 3860 h 9"/>
                  <a:gd name="T8" fmla="*/ 3860 w 9"/>
                  <a:gd name="T9" fmla="*/ 0 h 9"/>
                  <a:gd name="T10" fmla="*/ 7173 w 9"/>
                  <a:gd name="T11" fmla="*/ 3860 h 9"/>
                  <a:gd name="T12" fmla="*/ 3860 w 9"/>
                  <a:gd name="T13" fmla="*/ 7173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5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022" name="Freeform 737"/>
              <p:cNvSpPr>
                <a:spLocks noChangeArrowheads="1"/>
              </p:cNvSpPr>
              <p:nvPr/>
            </p:nvSpPr>
            <p:spPr bwMode="auto">
              <a:xfrm>
                <a:off x="4983" y="573"/>
                <a:ext cx="11" cy="13"/>
              </a:xfrm>
              <a:custGeom>
                <a:avLst/>
                <a:gdLst>
                  <a:gd name="T0" fmla="*/ 2164 w 8"/>
                  <a:gd name="T1" fmla="*/ 7173 h 9"/>
                  <a:gd name="T2" fmla="*/ 2164 w 8"/>
                  <a:gd name="T3" fmla="*/ 7173 h 9"/>
                  <a:gd name="T4" fmla="*/ 0 w 8"/>
                  <a:gd name="T5" fmla="*/ 3860 h 9"/>
                  <a:gd name="T6" fmla="*/ 0 w 8"/>
                  <a:gd name="T7" fmla="*/ 3860 h 9"/>
                  <a:gd name="T8" fmla="*/ 2164 w 8"/>
                  <a:gd name="T9" fmla="*/ 0 h 9"/>
                  <a:gd name="T10" fmla="*/ 4077 w 8"/>
                  <a:gd name="T11" fmla="*/ 3860 h 9"/>
                  <a:gd name="T12" fmla="*/ 2164 w 8"/>
                  <a:gd name="T13" fmla="*/ 7173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4" y="9"/>
                      <a:pt x="4" y="9"/>
                      <a:pt x="4" y="9"/>
                    </a:cubicBez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5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023" name="Freeform 738"/>
              <p:cNvSpPr>
                <a:spLocks noChangeArrowheads="1"/>
              </p:cNvSpPr>
              <p:nvPr/>
            </p:nvSpPr>
            <p:spPr bwMode="auto">
              <a:xfrm>
                <a:off x="4921" y="559"/>
                <a:ext cx="11" cy="13"/>
              </a:xfrm>
              <a:custGeom>
                <a:avLst/>
                <a:gdLst>
                  <a:gd name="T0" fmla="*/ 2164 w 8"/>
                  <a:gd name="T1" fmla="*/ 7173 h 9"/>
                  <a:gd name="T2" fmla="*/ 0 w 8"/>
                  <a:gd name="T3" fmla="*/ 3860 h 9"/>
                  <a:gd name="T4" fmla="*/ 0 w 8"/>
                  <a:gd name="T5" fmla="*/ 3860 h 9"/>
                  <a:gd name="T6" fmla="*/ 2164 w 8"/>
                  <a:gd name="T7" fmla="*/ 0 h 9"/>
                  <a:gd name="T8" fmla="*/ 4077 w 8"/>
                  <a:gd name="T9" fmla="*/ 3860 h 9"/>
                  <a:gd name="T10" fmla="*/ 2164 w 8"/>
                  <a:gd name="T11" fmla="*/ 7173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5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024" name="Freeform 739"/>
              <p:cNvSpPr>
                <a:spLocks noChangeArrowheads="1"/>
              </p:cNvSpPr>
              <p:nvPr/>
            </p:nvSpPr>
            <p:spPr bwMode="auto">
              <a:xfrm>
                <a:off x="5476" y="595"/>
                <a:ext cx="12" cy="13"/>
              </a:xfrm>
              <a:custGeom>
                <a:avLst/>
                <a:gdLst>
                  <a:gd name="T0" fmla="*/ 1495 w 9"/>
                  <a:gd name="T1" fmla="*/ 5642 h 9"/>
                  <a:gd name="T2" fmla="*/ 0 w 9"/>
                  <a:gd name="T3" fmla="*/ 3225 h 9"/>
                  <a:gd name="T4" fmla="*/ 0 w 9"/>
                  <a:gd name="T5" fmla="*/ 2417 h 9"/>
                  <a:gd name="T6" fmla="*/ 1495 w 9"/>
                  <a:gd name="T7" fmla="*/ 0 h 9"/>
                  <a:gd name="T8" fmla="*/ 1993 w 9"/>
                  <a:gd name="T9" fmla="*/ 0 h 9"/>
                  <a:gd name="T10" fmla="*/ 3489 w 9"/>
                  <a:gd name="T11" fmla="*/ 2417 h 9"/>
                  <a:gd name="T12" fmla="*/ 1495 w 9"/>
                  <a:gd name="T13" fmla="*/ 5642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025" name="Freeform 740"/>
              <p:cNvSpPr>
                <a:spLocks noChangeArrowheads="1"/>
              </p:cNvSpPr>
              <p:nvPr/>
            </p:nvSpPr>
            <p:spPr bwMode="auto">
              <a:xfrm>
                <a:off x="5435" y="595"/>
                <a:ext cx="11" cy="13"/>
              </a:xfrm>
              <a:custGeom>
                <a:avLst/>
                <a:gdLst>
                  <a:gd name="T0" fmla="*/ 2164 w 8"/>
                  <a:gd name="T1" fmla="*/ 5642 h 9"/>
                  <a:gd name="T2" fmla="*/ 0 w 8"/>
                  <a:gd name="T3" fmla="*/ 3225 h 9"/>
                  <a:gd name="T4" fmla="*/ 0 w 8"/>
                  <a:gd name="T5" fmla="*/ 2417 h 9"/>
                  <a:gd name="T6" fmla="*/ 2164 w 8"/>
                  <a:gd name="T7" fmla="*/ 0 h 9"/>
                  <a:gd name="T8" fmla="*/ 2164 w 8"/>
                  <a:gd name="T9" fmla="*/ 0 h 9"/>
                  <a:gd name="T10" fmla="*/ 4077 w 8"/>
                  <a:gd name="T11" fmla="*/ 2417 h 9"/>
                  <a:gd name="T12" fmla="*/ 2164 w 8"/>
                  <a:gd name="T13" fmla="*/ 5642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7" y="0"/>
                      <a:pt x="8" y="2"/>
                      <a:pt x="8" y="4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026" name="Freeform 741"/>
              <p:cNvSpPr>
                <a:spLocks noChangeArrowheads="1"/>
              </p:cNvSpPr>
              <p:nvPr/>
            </p:nvSpPr>
            <p:spPr bwMode="auto">
              <a:xfrm>
                <a:off x="5415" y="581"/>
                <a:ext cx="13" cy="13"/>
              </a:xfrm>
              <a:custGeom>
                <a:avLst/>
                <a:gdLst>
                  <a:gd name="T0" fmla="*/ 3225 w 9"/>
                  <a:gd name="T1" fmla="*/ 5642 h 9"/>
                  <a:gd name="T2" fmla="*/ 2417 w 9"/>
                  <a:gd name="T3" fmla="*/ 5642 h 9"/>
                  <a:gd name="T4" fmla="*/ 0 w 9"/>
                  <a:gd name="T5" fmla="*/ 3225 h 9"/>
                  <a:gd name="T6" fmla="*/ 0 w 9"/>
                  <a:gd name="T7" fmla="*/ 3225 h 9"/>
                  <a:gd name="T8" fmla="*/ 2417 w 9"/>
                  <a:gd name="T9" fmla="*/ 0 h 9"/>
                  <a:gd name="T10" fmla="*/ 5642 w 9"/>
                  <a:gd name="T11" fmla="*/ 3225 h 9"/>
                  <a:gd name="T12" fmla="*/ 3225 w 9"/>
                  <a:gd name="T13" fmla="*/ 5642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4" y="9"/>
                      <a:pt x="4" y="9"/>
                      <a:pt x="4" y="9"/>
                    </a:cubicBez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5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027" name="Freeform 742"/>
              <p:cNvSpPr>
                <a:spLocks noChangeArrowheads="1"/>
              </p:cNvSpPr>
              <p:nvPr/>
            </p:nvSpPr>
            <p:spPr bwMode="auto">
              <a:xfrm>
                <a:off x="5331" y="581"/>
                <a:ext cx="13" cy="13"/>
              </a:xfrm>
              <a:custGeom>
                <a:avLst/>
                <a:gdLst>
                  <a:gd name="T0" fmla="*/ 3860 w 9"/>
                  <a:gd name="T1" fmla="*/ 5642 h 9"/>
                  <a:gd name="T2" fmla="*/ 3860 w 9"/>
                  <a:gd name="T3" fmla="*/ 5642 h 9"/>
                  <a:gd name="T4" fmla="*/ 0 w 9"/>
                  <a:gd name="T5" fmla="*/ 3225 h 9"/>
                  <a:gd name="T6" fmla="*/ 0 w 9"/>
                  <a:gd name="T7" fmla="*/ 3225 h 9"/>
                  <a:gd name="T8" fmla="*/ 3860 w 9"/>
                  <a:gd name="T9" fmla="*/ 0 h 9"/>
                  <a:gd name="T10" fmla="*/ 7173 w 9"/>
                  <a:gd name="T11" fmla="*/ 3225 h 9"/>
                  <a:gd name="T12" fmla="*/ 3860 w 9"/>
                  <a:gd name="T13" fmla="*/ 5642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5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028" name="Freeform 743"/>
              <p:cNvSpPr>
                <a:spLocks noChangeArrowheads="1"/>
              </p:cNvSpPr>
              <p:nvPr/>
            </p:nvSpPr>
            <p:spPr bwMode="auto">
              <a:xfrm>
                <a:off x="5044" y="581"/>
                <a:ext cx="11" cy="13"/>
              </a:xfrm>
              <a:custGeom>
                <a:avLst/>
                <a:gdLst>
                  <a:gd name="T0" fmla="*/ 2164 w 8"/>
                  <a:gd name="T1" fmla="*/ 5642 h 9"/>
                  <a:gd name="T2" fmla="*/ 2164 w 8"/>
                  <a:gd name="T3" fmla="*/ 5642 h 9"/>
                  <a:gd name="T4" fmla="*/ 0 w 8"/>
                  <a:gd name="T5" fmla="*/ 3225 h 9"/>
                  <a:gd name="T6" fmla="*/ 0 w 8"/>
                  <a:gd name="T7" fmla="*/ 3225 h 9"/>
                  <a:gd name="T8" fmla="*/ 2164 w 8"/>
                  <a:gd name="T9" fmla="*/ 0 h 9"/>
                  <a:gd name="T10" fmla="*/ 4077 w 8"/>
                  <a:gd name="T11" fmla="*/ 3225 h 9"/>
                  <a:gd name="T12" fmla="*/ 2164 w 8"/>
                  <a:gd name="T13" fmla="*/ 5642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4" y="9"/>
                      <a:pt x="4" y="9"/>
                      <a:pt x="4" y="9"/>
                    </a:cubicBez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5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029" name="Freeform 744"/>
              <p:cNvSpPr>
                <a:spLocks noChangeArrowheads="1"/>
              </p:cNvSpPr>
              <p:nvPr/>
            </p:nvSpPr>
            <p:spPr bwMode="auto">
              <a:xfrm>
                <a:off x="5601" y="595"/>
                <a:ext cx="12" cy="13"/>
              </a:xfrm>
              <a:custGeom>
                <a:avLst/>
                <a:gdLst>
                  <a:gd name="T0" fmla="*/ 1993 w 9"/>
                  <a:gd name="T1" fmla="*/ 5642 h 9"/>
                  <a:gd name="T2" fmla="*/ 0 w 9"/>
                  <a:gd name="T3" fmla="*/ 2417 h 9"/>
                  <a:gd name="T4" fmla="*/ 1495 w 9"/>
                  <a:gd name="T5" fmla="*/ 0 h 9"/>
                  <a:gd name="T6" fmla="*/ 1993 w 9"/>
                  <a:gd name="T7" fmla="*/ 0 h 9"/>
                  <a:gd name="T8" fmla="*/ 3489 w 9"/>
                  <a:gd name="T9" fmla="*/ 2417 h 9"/>
                  <a:gd name="T10" fmla="*/ 1993 w 9"/>
                  <a:gd name="T11" fmla="*/ 5642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2" y="9"/>
                      <a:pt x="0" y="7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030" name="Freeform 745"/>
              <p:cNvSpPr>
                <a:spLocks noChangeArrowheads="1"/>
              </p:cNvSpPr>
              <p:nvPr/>
            </p:nvSpPr>
            <p:spPr bwMode="auto">
              <a:xfrm>
                <a:off x="5581" y="581"/>
                <a:ext cx="10" cy="13"/>
              </a:xfrm>
              <a:custGeom>
                <a:avLst/>
                <a:gdLst>
                  <a:gd name="T0" fmla="*/ 868 w 8"/>
                  <a:gd name="T1" fmla="*/ 5642 h 9"/>
                  <a:gd name="T2" fmla="*/ 868 w 8"/>
                  <a:gd name="T3" fmla="*/ 5642 h 9"/>
                  <a:gd name="T4" fmla="*/ 0 w 8"/>
                  <a:gd name="T5" fmla="*/ 3225 h 9"/>
                  <a:gd name="T6" fmla="*/ 0 w 8"/>
                  <a:gd name="T7" fmla="*/ 3225 h 9"/>
                  <a:gd name="T8" fmla="*/ 868 w 8"/>
                  <a:gd name="T9" fmla="*/ 0 h 9"/>
                  <a:gd name="T10" fmla="*/ 1780 w 8"/>
                  <a:gd name="T11" fmla="*/ 3225 h 9"/>
                  <a:gd name="T12" fmla="*/ 868 w 8"/>
                  <a:gd name="T13" fmla="*/ 5642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4" y="9"/>
                      <a:pt x="4" y="9"/>
                      <a:pt x="4" y="9"/>
                    </a:cubicBez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5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031" name="Freeform 746"/>
              <p:cNvSpPr>
                <a:spLocks noChangeArrowheads="1"/>
              </p:cNvSpPr>
              <p:nvPr/>
            </p:nvSpPr>
            <p:spPr bwMode="auto">
              <a:xfrm>
                <a:off x="5559" y="595"/>
                <a:ext cx="13" cy="13"/>
              </a:xfrm>
              <a:custGeom>
                <a:avLst/>
                <a:gdLst>
                  <a:gd name="T0" fmla="*/ 3194 w 9"/>
                  <a:gd name="T1" fmla="*/ 5642 h 9"/>
                  <a:gd name="T2" fmla="*/ 0 w 9"/>
                  <a:gd name="T3" fmla="*/ 3225 h 9"/>
                  <a:gd name="T4" fmla="*/ 0 w 9"/>
                  <a:gd name="T5" fmla="*/ 2417 h 9"/>
                  <a:gd name="T6" fmla="*/ 3194 w 9"/>
                  <a:gd name="T7" fmla="*/ 0 h 9"/>
                  <a:gd name="T8" fmla="*/ 3194 w 9"/>
                  <a:gd name="T9" fmla="*/ 0 h 9"/>
                  <a:gd name="T10" fmla="*/ 7173 w 9"/>
                  <a:gd name="T11" fmla="*/ 2417 h 9"/>
                  <a:gd name="T12" fmla="*/ 3194 w 9"/>
                  <a:gd name="T13" fmla="*/ 5642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032" name="Freeform 747"/>
              <p:cNvSpPr>
                <a:spLocks noChangeArrowheads="1"/>
              </p:cNvSpPr>
              <p:nvPr/>
            </p:nvSpPr>
            <p:spPr bwMode="auto">
              <a:xfrm>
                <a:off x="5538" y="581"/>
                <a:ext cx="12" cy="13"/>
              </a:xfrm>
              <a:custGeom>
                <a:avLst/>
                <a:gdLst>
                  <a:gd name="T0" fmla="*/ 1993 w 9"/>
                  <a:gd name="T1" fmla="*/ 5642 h 9"/>
                  <a:gd name="T2" fmla="*/ 1495 w 9"/>
                  <a:gd name="T3" fmla="*/ 5642 h 9"/>
                  <a:gd name="T4" fmla="*/ 0 w 9"/>
                  <a:gd name="T5" fmla="*/ 3225 h 9"/>
                  <a:gd name="T6" fmla="*/ 0 w 9"/>
                  <a:gd name="T7" fmla="*/ 3225 h 9"/>
                  <a:gd name="T8" fmla="*/ 1993 w 9"/>
                  <a:gd name="T9" fmla="*/ 0 h 9"/>
                  <a:gd name="T10" fmla="*/ 3489 w 9"/>
                  <a:gd name="T11" fmla="*/ 3225 h 9"/>
                  <a:gd name="T12" fmla="*/ 1993 w 9"/>
                  <a:gd name="T13" fmla="*/ 5642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4" y="9"/>
                      <a:pt x="4" y="9"/>
                      <a:pt x="4" y="9"/>
                    </a:cubicBez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5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033" name="Freeform 748"/>
              <p:cNvSpPr>
                <a:spLocks noChangeArrowheads="1"/>
              </p:cNvSpPr>
              <p:nvPr/>
            </p:nvSpPr>
            <p:spPr bwMode="auto">
              <a:xfrm>
                <a:off x="5455" y="581"/>
                <a:ext cx="13" cy="13"/>
              </a:xfrm>
              <a:custGeom>
                <a:avLst/>
                <a:gdLst>
                  <a:gd name="T0" fmla="*/ 3225 w 9"/>
                  <a:gd name="T1" fmla="*/ 5642 h 9"/>
                  <a:gd name="T2" fmla="*/ 3225 w 9"/>
                  <a:gd name="T3" fmla="*/ 5642 h 9"/>
                  <a:gd name="T4" fmla="*/ 0 w 9"/>
                  <a:gd name="T5" fmla="*/ 3225 h 9"/>
                  <a:gd name="T6" fmla="*/ 3225 w 9"/>
                  <a:gd name="T7" fmla="*/ 0 h 9"/>
                  <a:gd name="T8" fmla="*/ 5642 w 9"/>
                  <a:gd name="T9" fmla="*/ 3225 h 9"/>
                  <a:gd name="T10" fmla="*/ 3225 w 9"/>
                  <a:gd name="T11" fmla="*/ 5642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2" y="9"/>
                      <a:pt x="0" y="7"/>
                      <a:pt x="0" y="5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5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034" name="Freeform 749"/>
              <p:cNvSpPr>
                <a:spLocks noChangeArrowheads="1"/>
              </p:cNvSpPr>
              <p:nvPr/>
            </p:nvSpPr>
            <p:spPr bwMode="auto">
              <a:xfrm>
                <a:off x="5744" y="581"/>
                <a:ext cx="13" cy="13"/>
              </a:xfrm>
              <a:custGeom>
                <a:avLst/>
                <a:gdLst>
                  <a:gd name="T0" fmla="*/ 3860 w 9"/>
                  <a:gd name="T1" fmla="*/ 5642 h 9"/>
                  <a:gd name="T2" fmla="*/ 3194 w 9"/>
                  <a:gd name="T3" fmla="*/ 5642 h 9"/>
                  <a:gd name="T4" fmla="*/ 0 w 9"/>
                  <a:gd name="T5" fmla="*/ 3225 h 9"/>
                  <a:gd name="T6" fmla="*/ 3194 w 9"/>
                  <a:gd name="T7" fmla="*/ 0 h 9"/>
                  <a:gd name="T8" fmla="*/ 7173 w 9"/>
                  <a:gd name="T9" fmla="*/ 3225 h 9"/>
                  <a:gd name="T10" fmla="*/ 3860 w 9"/>
                  <a:gd name="T11" fmla="*/ 5642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4" y="9"/>
                      <a:pt x="4" y="9"/>
                      <a:pt x="4" y="9"/>
                    </a:cubicBezTo>
                    <a:cubicBezTo>
                      <a:pt x="2" y="9"/>
                      <a:pt x="0" y="7"/>
                      <a:pt x="0" y="5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5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035" name="Freeform 750"/>
              <p:cNvSpPr>
                <a:spLocks noChangeArrowheads="1"/>
              </p:cNvSpPr>
              <p:nvPr/>
            </p:nvSpPr>
            <p:spPr bwMode="auto">
              <a:xfrm>
                <a:off x="5723" y="595"/>
                <a:ext cx="13" cy="13"/>
              </a:xfrm>
              <a:custGeom>
                <a:avLst/>
                <a:gdLst>
                  <a:gd name="T0" fmla="*/ 3225 w 9"/>
                  <a:gd name="T1" fmla="*/ 5642 h 9"/>
                  <a:gd name="T2" fmla="*/ 0 w 9"/>
                  <a:gd name="T3" fmla="*/ 3225 h 9"/>
                  <a:gd name="T4" fmla="*/ 0 w 9"/>
                  <a:gd name="T5" fmla="*/ 2417 h 9"/>
                  <a:gd name="T6" fmla="*/ 3225 w 9"/>
                  <a:gd name="T7" fmla="*/ 0 h 9"/>
                  <a:gd name="T8" fmla="*/ 3225 w 9"/>
                  <a:gd name="T9" fmla="*/ 0 h 9"/>
                  <a:gd name="T10" fmla="*/ 5642 w 9"/>
                  <a:gd name="T11" fmla="*/ 2417 h 9"/>
                  <a:gd name="T12" fmla="*/ 3225 w 9"/>
                  <a:gd name="T13" fmla="*/ 5642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036" name="Freeform 751"/>
              <p:cNvSpPr>
                <a:spLocks noChangeArrowheads="1"/>
              </p:cNvSpPr>
              <p:nvPr/>
            </p:nvSpPr>
            <p:spPr bwMode="auto">
              <a:xfrm>
                <a:off x="5704" y="581"/>
                <a:ext cx="11" cy="13"/>
              </a:xfrm>
              <a:custGeom>
                <a:avLst/>
                <a:gdLst>
                  <a:gd name="T0" fmla="*/ 2164 w 8"/>
                  <a:gd name="T1" fmla="*/ 5642 h 9"/>
                  <a:gd name="T2" fmla="*/ 2164 w 8"/>
                  <a:gd name="T3" fmla="*/ 5642 h 9"/>
                  <a:gd name="T4" fmla="*/ 0 w 8"/>
                  <a:gd name="T5" fmla="*/ 3225 h 9"/>
                  <a:gd name="T6" fmla="*/ 0 w 8"/>
                  <a:gd name="T7" fmla="*/ 3225 h 9"/>
                  <a:gd name="T8" fmla="*/ 2164 w 8"/>
                  <a:gd name="T9" fmla="*/ 0 h 9"/>
                  <a:gd name="T10" fmla="*/ 4077 w 8"/>
                  <a:gd name="T11" fmla="*/ 3225 h 9"/>
                  <a:gd name="T12" fmla="*/ 2164 w 8"/>
                  <a:gd name="T13" fmla="*/ 5642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4" y="9"/>
                      <a:pt x="4" y="9"/>
                      <a:pt x="4" y="9"/>
                    </a:cubicBez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5"/>
                    </a:cubicBezTo>
                    <a:cubicBezTo>
                      <a:pt x="8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037" name="Freeform 752"/>
              <p:cNvSpPr>
                <a:spLocks noChangeArrowheads="1"/>
              </p:cNvSpPr>
              <p:nvPr/>
            </p:nvSpPr>
            <p:spPr bwMode="auto">
              <a:xfrm>
                <a:off x="5683" y="595"/>
                <a:ext cx="13" cy="13"/>
              </a:xfrm>
              <a:custGeom>
                <a:avLst/>
                <a:gdLst>
                  <a:gd name="T0" fmla="*/ 2417 w 9"/>
                  <a:gd name="T1" fmla="*/ 5642 h 9"/>
                  <a:gd name="T2" fmla="*/ 0 w 9"/>
                  <a:gd name="T3" fmla="*/ 2417 h 9"/>
                  <a:gd name="T4" fmla="*/ 2417 w 9"/>
                  <a:gd name="T5" fmla="*/ 0 h 9"/>
                  <a:gd name="T6" fmla="*/ 2417 w 9"/>
                  <a:gd name="T7" fmla="*/ 0 h 9"/>
                  <a:gd name="T8" fmla="*/ 5642 w 9"/>
                  <a:gd name="T9" fmla="*/ 2417 h 9"/>
                  <a:gd name="T10" fmla="*/ 2417 w 9"/>
                  <a:gd name="T11" fmla="*/ 5642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2" y="9"/>
                      <a:pt x="0" y="7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038" name="Freeform 753"/>
              <p:cNvSpPr>
                <a:spLocks noChangeArrowheads="1"/>
              </p:cNvSpPr>
              <p:nvPr/>
            </p:nvSpPr>
            <p:spPr bwMode="auto">
              <a:xfrm>
                <a:off x="5662" y="581"/>
                <a:ext cx="13" cy="13"/>
              </a:xfrm>
              <a:custGeom>
                <a:avLst/>
                <a:gdLst>
                  <a:gd name="T0" fmla="*/ 3860 w 9"/>
                  <a:gd name="T1" fmla="*/ 5642 h 9"/>
                  <a:gd name="T2" fmla="*/ 3860 w 9"/>
                  <a:gd name="T3" fmla="*/ 5642 h 9"/>
                  <a:gd name="T4" fmla="*/ 0 w 9"/>
                  <a:gd name="T5" fmla="*/ 3225 h 9"/>
                  <a:gd name="T6" fmla="*/ 0 w 9"/>
                  <a:gd name="T7" fmla="*/ 3225 h 9"/>
                  <a:gd name="T8" fmla="*/ 3860 w 9"/>
                  <a:gd name="T9" fmla="*/ 0 h 9"/>
                  <a:gd name="T10" fmla="*/ 7173 w 9"/>
                  <a:gd name="T11" fmla="*/ 3225 h 9"/>
                  <a:gd name="T12" fmla="*/ 3860 w 9"/>
                  <a:gd name="T13" fmla="*/ 5642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5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039" name="Freeform 754"/>
              <p:cNvSpPr>
                <a:spLocks noChangeArrowheads="1"/>
              </p:cNvSpPr>
              <p:nvPr/>
            </p:nvSpPr>
            <p:spPr bwMode="auto">
              <a:xfrm>
                <a:off x="5642" y="595"/>
                <a:ext cx="11" cy="13"/>
              </a:xfrm>
              <a:custGeom>
                <a:avLst/>
                <a:gdLst>
                  <a:gd name="T0" fmla="*/ 2164 w 8"/>
                  <a:gd name="T1" fmla="*/ 5642 h 9"/>
                  <a:gd name="T2" fmla="*/ 0 w 8"/>
                  <a:gd name="T3" fmla="*/ 3225 h 9"/>
                  <a:gd name="T4" fmla="*/ 0 w 8"/>
                  <a:gd name="T5" fmla="*/ 2417 h 9"/>
                  <a:gd name="T6" fmla="*/ 2164 w 8"/>
                  <a:gd name="T7" fmla="*/ 0 h 9"/>
                  <a:gd name="T8" fmla="*/ 2164 w 8"/>
                  <a:gd name="T9" fmla="*/ 0 h 9"/>
                  <a:gd name="T10" fmla="*/ 4077 w 8"/>
                  <a:gd name="T11" fmla="*/ 2417 h 9"/>
                  <a:gd name="T12" fmla="*/ 4077 w 8"/>
                  <a:gd name="T13" fmla="*/ 3225 h 9"/>
                  <a:gd name="T14" fmla="*/ 2164 w 8"/>
                  <a:gd name="T15" fmla="*/ 5642 h 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040" name="Freeform 755"/>
              <p:cNvSpPr>
                <a:spLocks noChangeArrowheads="1"/>
              </p:cNvSpPr>
              <p:nvPr/>
            </p:nvSpPr>
            <p:spPr bwMode="auto">
              <a:xfrm>
                <a:off x="5621" y="581"/>
                <a:ext cx="13" cy="13"/>
              </a:xfrm>
              <a:custGeom>
                <a:avLst/>
                <a:gdLst>
                  <a:gd name="T0" fmla="*/ 2417 w 9"/>
                  <a:gd name="T1" fmla="*/ 5642 h 9"/>
                  <a:gd name="T2" fmla="*/ 2417 w 9"/>
                  <a:gd name="T3" fmla="*/ 5642 h 9"/>
                  <a:gd name="T4" fmla="*/ 0 w 9"/>
                  <a:gd name="T5" fmla="*/ 3225 h 9"/>
                  <a:gd name="T6" fmla="*/ 2417 w 9"/>
                  <a:gd name="T7" fmla="*/ 0 h 9"/>
                  <a:gd name="T8" fmla="*/ 5642 w 9"/>
                  <a:gd name="T9" fmla="*/ 3225 h 9"/>
                  <a:gd name="T10" fmla="*/ 2417 w 9"/>
                  <a:gd name="T11" fmla="*/ 5642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4" y="9"/>
                      <a:pt x="4" y="9"/>
                      <a:pt x="4" y="9"/>
                    </a:cubicBezTo>
                    <a:cubicBezTo>
                      <a:pt x="2" y="9"/>
                      <a:pt x="0" y="7"/>
                      <a:pt x="0" y="5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5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041" name="Freeform 756"/>
              <p:cNvSpPr>
                <a:spLocks noChangeArrowheads="1"/>
              </p:cNvSpPr>
              <p:nvPr/>
            </p:nvSpPr>
            <p:spPr bwMode="auto">
              <a:xfrm>
                <a:off x="5393" y="595"/>
                <a:ext cx="13" cy="13"/>
              </a:xfrm>
              <a:custGeom>
                <a:avLst/>
                <a:gdLst>
                  <a:gd name="T0" fmla="*/ 3225 w 9"/>
                  <a:gd name="T1" fmla="*/ 5642 h 9"/>
                  <a:gd name="T2" fmla="*/ 0 w 9"/>
                  <a:gd name="T3" fmla="*/ 3225 h 9"/>
                  <a:gd name="T4" fmla="*/ 0 w 9"/>
                  <a:gd name="T5" fmla="*/ 2417 h 9"/>
                  <a:gd name="T6" fmla="*/ 3225 w 9"/>
                  <a:gd name="T7" fmla="*/ 0 h 9"/>
                  <a:gd name="T8" fmla="*/ 3225 w 9"/>
                  <a:gd name="T9" fmla="*/ 0 h 9"/>
                  <a:gd name="T10" fmla="*/ 5642 w 9"/>
                  <a:gd name="T11" fmla="*/ 2417 h 9"/>
                  <a:gd name="T12" fmla="*/ 3225 w 9"/>
                  <a:gd name="T13" fmla="*/ 5642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042" name="Freeform 757"/>
              <p:cNvSpPr>
                <a:spLocks noChangeArrowheads="1"/>
              </p:cNvSpPr>
              <p:nvPr/>
            </p:nvSpPr>
            <p:spPr bwMode="auto">
              <a:xfrm>
                <a:off x="5250" y="581"/>
                <a:ext cx="11" cy="13"/>
              </a:xfrm>
              <a:custGeom>
                <a:avLst/>
                <a:gdLst>
                  <a:gd name="T0" fmla="*/ 2164 w 8"/>
                  <a:gd name="T1" fmla="*/ 5642 h 9"/>
                  <a:gd name="T2" fmla="*/ 2164 w 8"/>
                  <a:gd name="T3" fmla="*/ 5642 h 9"/>
                  <a:gd name="T4" fmla="*/ 0 w 8"/>
                  <a:gd name="T5" fmla="*/ 3225 h 9"/>
                  <a:gd name="T6" fmla="*/ 0 w 8"/>
                  <a:gd name="T7" fmla="*/ 3225 h 9"/>
                  <a:gd name="T8" fmla="*/ 2164 w 8"/>
                  <a:gd name="T9" fmla="*/ 0 h 9"/>
                  <a:gd name="T10" fmla="*/ 4077 w 8"/>
                  <a:gd name="T11" fmla="*/ 3225 h 9"/>
                  <a:gd name="T12" fmla="*/ 2164 w 8"/>
                  <a:gd name="T13" fmla="*/ 5642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4" y="9"/>
                      <a:pt x="4" y="9"/>
                      <a:pt x="4" y="9"/>
                    </a:cubicBezTo>
                    <a:cubicBezTo>
                      <a:pt x="1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5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043" name="Freeform 758"/>
              <p:cNvSpPr>
                <a:spLocks noChangeArrowheads="1"/>
              </p:cNvSpPr>
              <p:nvPr/>
            </p:nvSpPr>
            <p:spPr bwMode="auto">
              <a:xfrm>
                <a:off x="5023" y="595"/>
                <a:ext cx="13" cy="13"/>
              </a:xfrm>
              <a:custGeom>
                <a:avLst/>
                <a:gdLst>
                  <a:gd name="T0" fmla="*/ 2417 w 9"/>
                  <a:gd name="T1" fmla="*/ 5642 h 9"/>
                  <a:gd name="T2" fmla="*/ 0 w 9"/>
                  <a:gd name="T3" fmla="*/ 3225 h 9"/>
                  <a:gd name="T4" fmla="*/ 0 w 9"/>
                  <a:gd name="T5" fmla="*/ 2417 h 9"/>
                  <a:gd name="T6" fmla="*/ 2417 w 9"/>
                  <a:gd name="T7" fmla="*/ 0 h 9"/>
                  <a:gd name="T8" fmla="*/ 2417 w 9"/>
                  <a:gd name="T9" fmla="*/ 0 h 9"/>
                  <a:gd name="T10" fmla="*/ 5642 w 9"/>
                  <a:gd name="T11" fmla="*/ 2417 h 9"/>
                  <a:gd name="T12" fmla="*/ 2417 w 9"/>
                  <a:gd name="T13" fmla="*/ 5642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044" name="Freeform 759"/>
              <p:cNvSpPr>
                <a:spLocks noChangeArrowheads="1"/>
              </p:cNvSpPr>
              <p:nvPr/>
            </p:nvSpPr>
            <p:spPr bwMode="auto">
              <a:xfrm>
                <a:off x="4961" y="581"/>
                <a:ext cx="13" cy="13"/>
              </a:xfrm>
              <a:custGeom>
                <a:avLst/>
                <a:gdLst>
                  <a:gd name="T0" fmla="*/ 3194 w 9"/>
                  <a:gd name="T1" fmla="*/ 5642 h 9"/>
                  <a:gd name="T2" fmla="*/ 3194 w 9"/>
                  <a:gd name="T3" fmla="*/ 5642 h 9"/>
                  <a:gd name="T4" fmla="*/ 0 w 9"/>
                  <a:gd name="T5" fmla="*/ 3225 h 9"/>
                  <a:gd name="T6" fmla="*/ 0 w 9"/>
                  <a:gd name="T7" fmla="*/ 3225 h 9"/>
                  <a:gd name="T8" fmla="*/ 3194 w 9"/>
                  <a:gd name="T9" fmla="*/ 0 h 9"/>
                  <a:gd name="T10" fmla="*/ 7173 w 9"/>
                  <a:gd name="T11" fmla="*/ 3225 h 9"/>
                  <a:gd name="T12" fmla="*/ 3194 w 9"/>
                  <a:gd name="T13" fmla="*/ 5642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4" y="9"/>
                      <a:pt x="4" y="9"/>
                      <a:pt x="4" y="9"/>
                    </a:cubicBez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5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045" name="Freeform 760"/>
              <p:cNvSpPr>
                <a:spLocks noChangeArrowheads="1"/>
              </p:cNvSpPr>
              <p:nvPr/>
            </p:nvSpPr>
            <p:spPr bwMode="auto">
              <a:xfrm>
                <a:off x="5373" y="581"/>
                <a:ext cx="11" cy="13"/>
              </a:xfrm>
              <a:custGeom>
                <a:avLst/>
                <a:gdLst>
                  <a:gd name="T0" fmla="*/ 2164 w 8"/>
                  <a:gd name="T1" fmla="*/ 5642 h 9"/>
                  <a:gd name="T2" fmla="*/ 2164 w 8"/>
                  <a:gd name="T3" fmla="*/ 5642 h 9"/>
                  <a:gd name="T4" fmla="*/ 0 w 8"/>
                  <a:gd name="T5" fmla="*/ 3225 h 9"/>
                  <a:gd name="T6" fmla="*/ 0 w 8"/>
                  <a:gd name="T7" fmla="*/ 3225 h 9"/>
                  <a:gd name="T8" fmla="*/ 2164 w 8"/>
                  <a:gd name="T9" fmla="*/ 0 h 9"/>
                  <a:gd name="T10" fmla="*/ 4077 w 8"/>
                  <a:gd name="T11" fmla="*/ 3225 h 9"/>
                  <a:gd name="T12" fmla="*/ 2164 w 8"/>
                  <a:gd name="T13" fmla="*/ 5642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4" y="9"/>
                      <a:pt x="4" y="9"/>
                      <a:pt x="4" y="9"/>
                    </a:cubicBez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5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046" name="Freeform 761"/>
              <p:cNvSpPr>
                <a:spLocks noChangeArrowheads="1"/>
              </p:cNvSpPr>
              <p:nvPr/>
            </p:nvSpPr>
            <p:spPr bwMode="auto">
              <a:xfrm>
                <a:off x="5002" y="581"/>
                <a:ext cx="12" cy="13"/>
              </a:xfrm>
              <a:custGeom>
                <a:avLst/>
                <a:gdLst>
                  <a:gd name="T0" fmla="*/ 1993 w 9"/>
                  <a:gd name="T1" fmla="*/ 5642 h 9"/>
                  <a:gd name="T2" fmla="*/ 1993 w 9"/>
                  <a:gd name="T3" fmla="*/ 5642 h 9"/>
                  <a:gd name="T4" fmla="*/ 0 w 9"/>
                  <a:gd name="T5" fmla="*/ 3225 h 9"/>
                  <a:gd name="T6" fmla="*/ 0 w 9"/>
                  <a:gd name="T7" fmla="*/ 3225 h 9"/>
                  <a:gd name="T8" fmla="*/ 1993 w 9"/>
                  <a:gd name="T9" fmla="*/ 0 h 9"/>
                  <a:gd name="T10" fmla="*/ 3489 w 9"/>
                  <a:gd name="T11" fmla="*/ 3225 h 9"/>
                  <a:gd name="T12" fmla="*/ 1993 w 9"/>
                  <a:gd name="T13" fmla="*/ 5642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5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047" name="Freeform 762"/>
              <p:cNvSpPr>
                <a:spLocks noChangeArrowheads="1"/>
              </p:cNvSpPr>
              <p:nvPr/>
            </p:nvSpPr>
            <p:spPr bwMode="auto">
              <a:xfrm>
                <a:off x="4940" y="595"/>
                <a:ext cx="12" cy="13"/>
              </a:xfrm>
              <a:custGeom>
                <a:avLst/>
                <a:gdLst>
                  <a:gd name="T0" fmla="*/ 1993 w 9"/>
                  <a:gd name="T1" fmla="*/ 5642 h 9"/>
                  <a:gd name="T2" fmla="*/ 0 w 9"/>
                  <a:gd name="T3" fmla="*/ 2417 h 9"/>
                  <a:gd name="T4" fmla="*/ 1495 w 9"/>
                  <a:gd name="T5" fmla="*/ 0 h 9"/>
                  <a:gd name="T6" fmla="*/ 1993 w 9"/>
                  <a:gd name="T7" fmla="*/ 0 h 9"/>
                  <a:gd name="T8" fmla="*/ 3489 w 9"/>
                  <a:gd name="T9" fmla="*/ 2417 h 9"/>
                  <a:gd name="T10" fmla="*/ 1993 w 9"/>
                  <a:gd name="T11" fmla="*/ 5642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2" y="9"/>
                      <a:pt x="0" y="7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048" name="Freeform 763"/>
              <p:cNvSpPr>
                <a:spLocks noChangeArrowheads="1"/>
              </p:cNvSpPr>
              <p:nvPr/>
            </p:nvSpPr>
            <p:spPr bwMode="auto">
              <a:xfrm>
                <a:off x="5354" y="595"/>
                <a:ext cx="13" cy="13"/>
              </a:xfrm>
              <a:custGeom>
                <a:avLst/>
                <a:gdLst>
                  <a:gd name="T0" fmla="*/ 2417 w 9"/>
                  <a:gd name="T1" fmla="*/ 5642 h 9"/>
                  <a:gd name="T2" fmla="*/ 0 w 9"/>
                  <a:gd name="T3" fmla="*/ 3225 h 9"/>
                  <a:gd name="T4" fmla="*/ 0 w 9"/>
                  <a:gd name="T5" fmla="*/ 2417 h 9"/>
                  <a:gd name="T6" fmla="*/ 2417 w 9"/>
                  <a:gd name="T7" fmla="*/ 0 h 9"/>
                  <a:gd name="T8" fmla="*/ 2417 w 9"/>
                  <a:gd name="T9" fmla="*/ 0 h 9"/>
                  <a:gd name="T10" fmla="*/ 5642 w 9"/>
                  <a:gd name="T11" fmla="*/ 2417 h 9"/>
                  <a:gd name="T12" fmla="*/ 2417 w 9"/>
                  <a:gd name="T13" fmla="*/ 5642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049" name="Freeform 764"/>
              <p:cNvSpPr>
                <a:spLocks noChangeArrowheads="1"/>
              </p:cNvSpPr>
              <p:nvPr/>
            </p:nvSpPr>
            <p:spPr bwMode="auto">
              <a:xfrm>
                <a:off x="5270" y="595"/>
                <a:ext cx="12" cy="13"/>
              </a:xfrm>
              <a:custGeom>
                <a:avLst/>
                <a:gdLst>
                  <a:gd name="T0" fmla="*/ 1993 w 9"/>
                  <a:gd name="T1" fmla="*/ 5642 h 9"/>
                  <a:gd name="T2" fmla="*/ 0 w 9"/>
                  <a:gd name="T3" fmla="*/ 3225 h 9"/>
                  <a:gd name="T4" fmla="*/ 0 w 9"/>
                  <a:gd name="T5" fmla="*/ 2417 h 9"/>
                  <a:gd name="T6" fmla="*/ 1495 w 9"/>
                  <a:gd name="T7" fmla="*/ 0 h 9"/>
                  <a:gd name="T8" fmla="*/ 1993 w 9"/>
                  <a:gd name="T9" fmla="*/ 0 h 9"/>
                  <a:gd name="T10" fmla="*/ 3489 w 9"/>
                  <a:gd name="T11" fmla="*/ 2417 h 9"/>
                  <a:gd name="T12" fmla="*/ 1993 w 9"/>
                  <a:gd name="T13" fmla="*/ 5642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050" name="Freeform 765"/>
              <p:cNvSpPr>
                <a:spLocks noChangeArrowheads="1"/>
              </p:cNvSpPr>
              <p:nvPr/>
            </p:nvSpPr>
            <p:spPr bwMode="auto">
              <a:xfrm>
                <a:off x="4983" y="595"/>
                <a:ext cx="11" cy="13"/>
              </a:xfrm>
              <a:custGeom>
                <a:avLst/>
                <a:gdLst>
                  <a:gd name="T0" fmla="*/ 2164 w 8"/>
                  <a:gd name="T1" fmla="*/ 5642 h 9"/>
                  <a:gd name="T2" fmla="*/ 0 w 8"/>
                  <a:gd name="T3" fmla="*/ 3225 h 9"/>
                  <a:gd name="T4" fmla="*/ 0 w 8"/>
                  <a:gd name="T5" fmla="*/ 2417 h 9"/>
                  <a:gd name="T6" fmla="*/ 2164 w 8"/>
                  <a:gd name="T7" fmla="*/ 0 h 9"/>
                  <a:gd name="T8" fmla="*/ 2164 w 8"/>
                  <a:gd name="T9" fmla="*/ 0 h 9"/>
                  <a:gd name="T10" fmla="*/ 4077 w 8"/>
                  <a:gd name="T11" fmla="*/ 2417 h 9"/>
                  <a:gd name="T12" fmla="*/ 2164 w 8"/>
                  <a:gd name="T13" fmla="*/ 5642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051" name="Freeform 766"/>
              <p:cNvSpPr>
                <a:spLocks noChangeArrowheads="1"/>
              </p:cNvSpPr>
              <p:nvPr/>
            </p:nvSpPr>
            <p:spPr bwMode="auto">
              <a:xfrm>
                <a:off x="4921" y="581"/>
                <a:ext cx="11" cy="13"/>
              </a:xfrm>
              <a:custGeom>
                <a:avLst/>
                <a:gdLst>
                  <a:gd name="T0" fmla="*/ 2164 w 8"/>
                  <a:gd name="T1" fmla="*/ 5642 h 9"/>
                  <a:gd name="T2" fmla="*/ 2164 w 8"/>
                  <a:gd name="T3" fmla="*/ 5642 h 9"/>
                  <a:gd name="T4" fmla="*/ 0 w 8"/>
                  <a:gd name="T5" fmla="*/ 3225 h 9"/>
                  <a:gd name="T6" fmla="*/ 0 w 8"/>
                  <a:gd name="T7" fmla="*/ 3225 h 9"/>
                  <a:gd name="T8" fmla="*/ 2164 w 8"/>
                  <a:gd name="T9" fmla="*/ 0 h 9"/>
                  <a:gd name="T10" fmla="*/ 4077 w 8"/>
                  <a:gd name="T11" fmla="*/ 3225 h 9"/>
                  <a:gd name="T12" fmla="*/ 2164 w 8"/>
                  <a:gd name="T13" fmla="*/ 5642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4" y="9"/>
                      <a:pt x="4" y="9"/>
                      <a:pt x="4" y="9"/>
                    </a:cubicBezTo>
                    <a:cubicBezTo>
                      <a:pt x="1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5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052" name="Freeform 767"/>
              <p:cNvSpPr>
                <a:spLocks noChangeArrowheads="1"/>
              </p:cNvSpPr>
              <p:nvPr/>
            </p:nvSpPr>
            <p:spPr bwMode="auto">
              <a:xfrm>
                <a:off x="5476" y="616"/>
                <a:ext cx="12" cy="12"/>
              </a:xfrm>
              <a:custGeom>
                <a:avLst/>
                <a:gdLst>
                  <a:gd name="T0" fmla="*/ 1495 w 9"/>
                  <a:gd name="T1" fmla="*/ 3489 h 9"/>
                  <a:gd name="T2" fmla="*/ 0 w 9"/>
                  <a:gd name="T3" fmla="*/ 1495 h 9"/>
                  <a:gd name="T4" fmla="*/ 0 w 9"/>
                  <a:gd name="T5" fmla="*/ 1495 h 9"/>
                  <a:gd name="T6" fmla="*/ 1495 w 9"/>
                  <a:gd name="T7" fmla="*/ 0 h 9"/>
                  <a:gd name="T8" fmla="*/ 3489 w 9"/>
                  <a:gd name="T9" fmla="*/ 1495 h 9"/>
                  <a:gd name="T10" fmla="*/ 1495 w 9"/>
                  <a:gd name="T11" fmla="*/ 3489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2" y="9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053" name="Freeform 768"/>
              <p:cNvSpPr>
                <a:spLocks noChangeArrowheads="1"/>
              </p:cNvSpPr>
              <p:nvPr/>
            </p:nvSpPr>
            <p:spPr bwMode="auto">
              <a:xfrm>
                <a:off x="5415" y="602"/>
                <a:ext cx="13" cy="12"/>
              </a:xfrm>
              <a:custGeom>
                <a:avLst/>
                <a:gdLst>
                  <a:gd name="T0" fmla="*/ 2417 w 9"/>
                  <a:gd name="T1" fmla="*/ 3489 h 9"/>
                  <a:gd name="T2" fmla="*/ 0 w 9"/>
                  <a:gd name="T3" fmla="*/ 1993 h 9"/>
                  <a:gd name="T4" fmla="*/ 0 w 9"/>
                  <a:gd name="T5" fmla="*/ 1495 h 9"/>
                  <a:gd name="T6" fmla="*/ 2417 w 9"/>
                  <a:gd name="T7" fmla="*/ 0 h 9"/>
                  <a:gd name="T8" fmla="*/ 3225 w 9"/>
                  <a:gd name="T9" fmla="*/ 0 h 9"/>
                  <a:gd name="T10" fmla="*/ 5642 w 9"/>
                  <a:gd name="T11" fmla="*/ 1495 h 9"/>
                  <a:gd name="T12" fmla="*/ 2417 w 9"/>
                  <a:gd name="T13" fmla="*/ 3489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054" name="Freeform 769"/>
              <p:cNvSpPr>
                <a:spLocks noChangeArrowheads="1"/>
              </p:cNvSpPr>
              <p:nvPr/>
            </p:nvSpPr>
            <p:spPr bwMode="auto">
              <a:xfrm>
                <a:off x="5188" y="616"/>
                <a:ext cx="11" cy="12"/>
              </a:xfrm>
              <a:custGeom>
                <a:avLst/>
                <a:gdLst>
                  <a:gd name="T0" fmla="*/ 2164 w 8"/>
                  <a:gd name="T1" fmla="*/ 3489 h 9"/>
                  <a:gd name="T2" fmla="*/ 0 w 8"/>
                  <a:gd name="T3" fmla="*/ 1495 h 9"/>
                  <a:gd name="T4" fmla="*/ 0 w 8"/>
                  <a:gd name="T5" fmla="*/ 1495 h 9"/>
                  <a:gd name="T6" fmla="*/ 2164 w 8"/>
                  <a:gd name="T7" fmla="*/ 0 h 9"/>
                  <a:gd name="T8" fmla="*/ 4077 w 8"/>
                  <a:gd name="T9" fmla="*/ 1495 h 9"/>
                  <a:gd name="T10" fmla="*/ 2164 w 8"/>
                  <a:gd name="T11" fmla="*/ 3489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1" y="9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1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055" name="Freeform 770"/>
              <p:cNvSpPr>
                <a:spLocks noChangeArrowheads="1"/>
              </p:cNvSpPr>
              <p:nvPr/>
            </p:nvSpPr>
            <p:spPr bwMode="auto">
              <a:xfrm>
                <a:off x="5044" y="602"/>
                <a:ext cx="11" cy="12"/>
              </a:xfrm>
              <a:custGeom>
                <a:avLst/>
                <a:gdLst>
                  <a:gd name="T0" fmla="*/ 2164 w 8"/>
                  <a:gd name="T1" fmla="*/ 3489 h 9"/>
                  <a:gd name="T2" fmla="*/ 0 w 8"/>
                  <a:gd name="T3" fmla="*/ 1993 h 9"/>
                  <a:gd name="T4" fmla="*/ 0 w 8"/>
                  <a:gd name="T5" fmla="*/ 1495 h 9"/>
                  <a:gd name="T6" fmla="*/ 2164 w 8"/>
                  <a:gd name="T7" fmla="*/ 0 h 9"/>
                  <a:gd name="T8" fmla="*/ 2164 w 8"/>
                  <a:gd name="T9" fmla="*/ 0 h 9"/>
                  <a:gd name="T10" fmla="*/ 4077 w 8"/>
                  <a:gd name="T11" fmla="*/ 1495 h 9"/>
                  <a:gd name="T12" fmla="*/ 2164 w 8"/>
                  <a:gd name="T13" fmla="*/ 3489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056" name="Oval 771"/>
              <p:cNvSpPr>
                <a:spLocks noChangeArrowheads="1"/>
              </p:cNvSpPr>
              <p:nvPr/>
            </p:nvSpPr>
            <p:spPr bwMode="auto">
              <a:xfrm>
                <a:off x="5601" y="616"/>
                <a:ext cx="12" cy="12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US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057" name="Freeform 772"/>
              <p:cNvSpPr>
                <a:spLocks noChangeArrowheads="1"/>
              </p:cNvSpPr>
              <p:nvPr/>
            </p:nvSpPr>
            <p:spPr bwMode="auto">
              <a:xfrm>
                <a:off x="5581" y="602"/>
                <a:ext cx="10" cy="12"/>
              </a:xfrm>
              <a:custGeom>
                <a:avLst/>
                <a:gdLst>
                  <a:gd name="T0" fmla="*/ 868 w 8"/>
                  <a:gd name="T1" fmla="*/ 3489 h 9"/>
                  <a:gd name="T2" fmla="*/ 0 w 8"/>
                  <a:gd name="T3" fmla="*/ 1993 h 9"/>
                  <a:gd name="T4" fmla="*/ 0 w 8"/>
                  <a:gd name="T5" fmla="*/ 1495 h 9"/>
                  <a:gd name="T6" fmla="*/ 868 w 8"/>
                  <a:gd name="T7" fmla="*/ 0 h 9"/>
                  <a:gd name="T8" fmla="*/ 868 w 8"/>
                  <a:gd name="T9" fmla="*/ 0 h 9"/>
                  <a:gd name="T10" fmla="*/ 1780 w 8"/>
                  <a:gd name="T11" fmla="*/ 1495 h 9"/>
                  <a:gd name="T12" fmla="*/ 868 w 8"/>
                  <a:gd name="T13" fmla="*/ 3489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058" name="Freeform 773"/>
              <p:cNvSpPr>
                <a:spLocks noChangeArrowheads="1"/>
              </p:cNvSpPr>
              <p:nvPr/>
            </p:nvSpPr>
            <p:spPr bwMode="auto">
              <a:xfrm>
                <a:off x="5559" y="616"/>
                <a:ext cx="13" cy="12"/>
              </a:xfrm>
              <a:custGeom>
                <a:avLst/>
                <a:gdLst>
                  <a:gd name="T0" fmla="*/ 3194 w 9"/>
                  <a:gd name="T1" fmla="*/ 3489 h 9"/>
                  <a:gd name="T2" fmla="*/ 0 w 9"/>
                  <a:gd name="T3" fmla="*/ 1495 h 9"/>
                  <a:gd name="T4" fmla="*/ 0 w 9"/>
                  <a:gd name="T5" fmla="*/ 1495 h 9"/>
                  <a:gd name="T6" fmla="*/ 3194 w 9"/>
                  <a:gd name="T7" fmla="*/ 0 h 9"/>
                  <a:gd name="T8" fmla="*/ 7173 w 9"/>
                  <a:gd name="T9" fmla="*/ 1495 h 9"/>
                  <a:gd name="T10" fmla="*/ 3194 w 9"/>
                  <a:gd name="T11" fmla="*/ 3489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2" y="9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059" name="Freeform 774"/>
              <p:cNvSpPr>
                <a:spLocks noChangeArrowheads="1"/>
              </p:cNvSpPr>
              <p:nvPr/>
            </p:nvSpPr>
            <p:spPr bwMode="auto">
              <a:xfrm>
                <a:off x="5538" y="602"/>
                <a:ext cx="12" cy="12"/>
              </a:xfrm>
              <a:custGeom>
                <a:avLst/>
                <a:gdLst>
                  <a:gd name="T0" fmla="*/ 1993 w 9"/>
                  <a:gd name="T1" fmla="*/ 3489 h 9"/>
                  <a:gd name="T2" fmla="*/ 0 w 9"/>
                  <a:gd name="T3" fmla="*/ 1993 h 9"/>
                  <a:gd name="T4" fmla="*/ 0 w 9"/>
                  <a:gd name="T5" fmla="*/ 1495 h 9"/>
                  <a:gd name="T6" fmla="*/ 1495 w 9"/>
                  <a:gd name="T7" fmla="*/ 0 h 9"/>
                  <a:gd name="T8" fmla="*/ 1993 w 9"/>
                  <a:gd name="T9" fmla="*/ 0 h 9"/>
                  <a:gd name="T10" fmla="*/ 3489 w 9"/>
                  <a:gd name="T11" fmla="*/ 1495 h 9"/>
                  <a:gd name="T12" fmla="*/ 1993 w 9"/>
                  <a:gd name="T13" fmla="*/ 3489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060" name="Freeform 775"/>
              <p:cNvSpPr>
                <a:spLocks noChangeArrowheads="1"/>
              </p:cNvSpPr>
              <p:nvPr/>
            </p:nvSpPr>
            <p:spPr bwMode="auto">
              <a:xfrm>
                <a:off x="5518" y="616"/>
                <a:ext cx="11" cy="12"/>
              </a:xfrm>
              <a:custGeom>
                <a:avLst/>
                <a:gdLst>
                  <a:gd name="T0" fmla="*/ 2164 w 8"/>
                  <a:gd name="T1" fmla="*/ 3489 h 9"/>
                  <a:gd name="T2" fmla="*/ 0 w 8"/>
                  <a:gd name="T3" fmla="*/ 1495 h 9"/>
                  <a:gd name="T4" fmla="*/ 0 w 8"/>
                  <a:gd name="T5" fmla="*/ 1495 h 9"/>
                  <a:gd name="T6" fmla="*/ 2164 w 8"/>
                  <a:gd name="T7" fmla="*/ 0 h 9"/>
                  <a:gd name="T8" fmla="*/ 4077 w 8"/>
                  <a:gd name="T9" fmla="*/ 1495 h 9"/>
                  <a:gd name="T10" fmla="*/ 2164 w 8"/>
                  <a:gd name="T11" fmla="*/ 3489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2" y="9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061" name="Freeform 776"/>
              <p:cNvSpPr>
                <a:spLocks noChangeArrowheads="1"/>
              </p:cNvSpPr>
              <p:nvPr/>
            </p:nvSpPr>
            <p:spPr bwMode="auto">
              <a:xfrm>
                <a:off x="5498" y="602"/>
                <a:ext cx="12" cy="12"/>
              </a:xfrm>
              <a:custGeom>
                <a:avLst/>
                <a:gdLst>
                  <a:gd name="T0" fmla="*/ 1495 w 9"/>
                  <a:gd name="T1" fmla="*/ 3489 h 9"/>
                  <a:gd name="T2" fmla="*/ 0 w 9"/>
                  <a:gd name="T3" fmla="*/ 1993 h 9"/>
                  <a:gd name="T4" fmla="*/ 0 w 9"/>
                  <a:gd name="T5" fmla="*/ 1495 h 9"/>
                  <a:gd name="T6" fmla="*/ 1495 w 9"/>
                  <a:gd name="T7" fmla="*/ 0 h 9"/>
                  <a:gd name="T8" fmla="*/ 1495 w 9"/>
                  <a:gd name="T9" fmla="*/ 0 h 9"/>
                  <a:gd name="T10" fmla="*/ 3489 w 9"/>
                  <a:gd name="T11" fmla="*/ 1495 h 9"/>
                  <a:gd name="T12" fmla="*/ 1495 w 9"/>
                  <a:gd name="T13" fmla="*/ 3489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062" name="Freeform 777"/>
              <p:cNvSpPr>
                <a:spLocks noChangeArrowheads="1"/>
              </p:cNvSpPr>
              <p:nvPr/>
            </p:nvSpPr>
            <p:spPr bwMode="auto">
              <a:xfrm>
                <a:off x="5455" y="602"/>
                <a:ext cx="13" cy="12"/>
              </a:xfrm>
              <a:custGeom>
                <a:avLst/>
                <a:gdLst>
                  <a:gd name="T0" fmla="*/ 3225 w 9"/>
                  <a:gd name="T1" fmla="*/ 3489 h 9"/>
                  <a:gd name="T2" fmla="*/ 0 w 9"/>
                  <a:gd name="T3" fmla="*/ 1495 h 9"/>
                  <a:gd name="T4" fmla="*/ 3225 w 9"/>
                  <a:gd name="T5" fmla="*/ 0 h 9"/>
                  <a:gd name="T6" fmla="*/ 3225 w 9"/>
                  <a:gd name="T7" fmla="*/ 0 h 9"/>
                  <a:gd name="T8" fmla="*/ 5642 w 9"/>
                  <a:gd name="T9" fmla="*/ 1495 h 9"/>
                  <a:gd name="T10" fmla="*/ 3225 w 9"/>
                  <a:gd name="T11" fmla="*/ 3489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2" y="9"/>
                      <a:pt x="0" y="7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063" name="Freeform 778"/>
              <p:cNvSpPr>
                <a:spLocks noChangeArrowheads="1"/>
              </p:cNvSpPr>
              <p:nvPr/>
            </p:nvSpPr>
            <p:spPr bwMode="auto">
              <a:xfrm>
                <a:off x="5744" y="602"/>
                <a:ext cx="13" cy="12"/>
              </a:xfrm>
              <a:custGeom>
                <a:avLst/>
                <a:gdLst>
                  <a:gd name="T0" fmla="*/ 3194 w 9"/>
                  <a:gd name="T1" fmla="*/ 3489 h 9"/>
                  <a:gd name="T2" fmla="*/ 0 w 9"/>
                  <a:gd name="T3" fmla="*/ 1495 h 9"/>
                  <a:gd name="T4" fmla="*/ 3194 w 9"/>
                  <a:gd name="T5" fmla="*/ 0 h 9"/>
                  <a:gd name="T6" fmla="*/ 3860 w 9"/>
                  <a:gd name="T7" fmla="*/ 0 h 9"/>
                  <a:gd name="T8" fmla="*/ 7173 w 9"/>
                  <a:gd name="T9" fmla="*/ 1495 h 9"/>
                  <a:gd name="T10" fmla="*/ 3194 w 9"/>
                  <a:gd name="T11" fmla="*/ 3489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2" y="9"/>
                      <a:pt x="0" y="7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064" name="Freeform 779"/>
              <p:cNvSpPr>
                <a:spLocks noChangeArrowheads="1"/>
              </p:cNvSpPr>
              <p:nvPr/>
            </p:nvSpPr>
            <p:spPr bwMode="auto">
              <a:xfrm>
                <a:off x="5723" y="616"/>
                <a:ext cx="13" cy="12"/>
              </a:xfrm>
              <a:custGeom>
                <a:avLst/>
                <a:gdLst>
                  <a:gd name="T0" fmla="*/ 3225 w 9"/>
                  <a:gd name="T1" fmla="*/ 3489 h 9"/>
                  <a:gd name="T2" fmla="*/ 0 w 9"/>
                  <a:gd name="T3" fmla="*/ 1495 h 9"/>
                  <a:gd name="T4" fmla="*/ 0 w 9"/>
                  <a:gd name="T5" fmla="*/ 1495 h 9"/>
                  <a:gd name="T6" fmla="*/ 3225 w 9"/>
                  <a:gd name="T7" fmla="*/ 0 h 9"/>
                  <a:gd name="T8" fmla="*/ 5642 w 9"/>
                  <a:gd name="T9" fmla="*/ 1495 h 9"/>
                  <a:gd name="T10" fmla="*/ 3225 w 9"/>
                  <a:gd name="T11" fmla="*/ 3489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2" y="9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065" name="Freeform 780"/>
              <p:cNvSpPr>
                <a:spLocks noChangeArrowheads="1"/>
              </p:cNvSpPr>
              <p:nvPr/>
            </p:nvSpPr>
            <p:spPr bwMode="auto">
              <a:xfrm>
                <a:off x="5704" y="602"/>
                <a:ext cx="11" cy="12"/>
              </a:xfrm>
              <a:custGeom>
                <a:avLst/>
                <a:gdLst>
                  <a:gd name="T0" fmla="*/ 2164 w 8"/>
                  <a:gd name="T1" fmla="*/ 3489 h 9"/>
                  <a:gd name="T2" fmla="*/ 0 w 8"/>
                  <a:gd name="T3" fmla="*/ 1993 h 9"/>
                  <a:gd name="T4" fmla="*/ 0 w 8"/>
                  <a:gd name="T5" fmla="*/ 1495 h 9"/>
                  <a:gd name="T6" fmla="*/ 2164 w 8"/>
                  <a:gd name="T7" fmla="*/ 0 h 9"/>
                  <a:gd name="T8" fmla="*/ 2164 w 8"/>
                  <a:gd name="T9" fmla="*/ 0 h 9"/>
                  <a:gd name="T10" fmla="*/ 4077 w 8"/>
                  <a:gd name="T11" fmla="*/ 1495 h 9"/>
                  <a:gd name="T12" fmla="*/ 2164 w 8"/>
                  <a:gd name="T13" fmla="*/ 3489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7" y="0"/>
                      <a:pt x="8" y="2"/>
                      <a:pt x="8" y="4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066" name="Oval 781"/>
              <p:cNvSpPr>
                <a:spLocks noChangeArrowheads="1"/>
              </p:cNvSpPr>
              <p:nvPr/>
            </p:nvSpPr>
            <p:spPr bwMode="auto">
              <a:xfrm>
                <a:off x="5683" y="616"/>
                <a:ext cx="13" cy="12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US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067" name="Freeform 782"/>
              <p:cNvSpPr>
                <a:spLocks noChangeArrowheads="1"/>
              </p:cNvSpPr>
              <p:nvPr/>
            </p:nvSpPr>
            <p:spPr bwMode="auto">
              <a:xfrm>
                <a:off x="5662" y="602"/>
                <a:ext cx="13" cy="12"/>
              </a:xfrm>
              <a:custGeom>
                <a:avLst/>
                <a:gdLst>
                  <a:gd name="T0" fmla="*/ 3860 w 9"/>
                  <a:gd name="T1" fmla="*/ 3489 h 9"/>
                  <a:gd name="T2" fmla="*/ 0 w 9"/>
                  <a:gd name="T3" fmla="*/ 1993 h 9"/>
                  <a:gd name="T4" fmla="*/ 0 w 9"/>
                  <a:gd name="T5" fmla="*/ 1495 h 9"/>
                  <a:gd name="T6" fmla="*/ 3860 w 9"/>
                  <a:gd name="T7" fmla="*/ 0 h 9"/>
                  <a:gd name="T8" fmla="*/ 3860 w 9"/>
                  <a:gd name="T9" fmla="*/ 0 h 9"/>
                  <a:gd name="T10" fmla="*/ 7173 w 9"/>
                  <a:gd name="T11" fmla="*/ 1495 h 9"/>
                  <a:gd name="T12" fmla="*/ 3860 w 9"/>
                  <a:gd name="T13" fmla="*/ 3489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068" name="Freeform 783"/>
              <p:cNvSpPr>
                <a:spLocks noChangeArrowheads="1"/>
              </p:cNvSpPr>
              <p:nvPr/>
            </p:nvSpPr>
            <p:spPr bwMode="auto">
              <a:xfrm>
                <a:off x="5642" y="616"/>
                <a:ext cx="11" cy="12"/>
              </a:xfrm>
              <a:custGeom>
                <a:avLst/>
                <a:gdLst>
                  <a:gd name="T0" fmla="*/ 2164 w 8"/>
                  <a:gd name="T1" fmla="*/ 3489 h 9"/>
                  <a:gd name="T2" fmla="*/ 0 w 8"/>
                  <a:gd name="T3" fmla="*/ 1495 h 9"/>
                  <a:gd name="T4" fmla="*/ 0 w 8"/>
                  <a:gd name="T5" fmla="*/ 1495 h 9"/>
                  <a:gd name="T6" fmla="*/ 2164 w 8"/>
                  <a:gd name="T7" fmla="*/ 0 h 9"/>
                  <a:gd name="T8" fmla="*/ 4077 w 8"/>
                  <a:gd name="T9" fmla="*/ 1495 h 9"/>
                  <a:gd name="T10" fmla="*/ 4077 w 8"/>
                  <a:gd name="T11" fmla="*/ 1495 h 9"/>
                  <a:gd name="T12" fmla="*/ 2164 w 8"/>
                  <a:gd name="T13" fmla="*/ 3489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2" y="9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069" name="Freeform 784"/>
              <p:cNvSpPr>
                <a:spLocks noChangeArrowheads="1"/>
              </p:cNvSpPr>
              <p:nvPr/>
            </p:nvSpPr>
            <p:spPr bwMode="auto">
              <a:xfrm>
                <a:off x="5621" y="602"/>
                <a:ext cx="13" cy="12"/>
              </a:xfrm>
              <a:custGeom>
                <a:avLst/>
                <a:gdLst>
                  <a:gd name="T0" fmla="*/ 2417 w 9"/>
                  <a:gd name="T1" fmla="*/ 3489 h 9"/>
                  <a:gd name="T2" fmla="*/ 0 w 9"/>
                  <a:gd name="T3" fmla="*/ 1495 h 9"/>
                  <a:gd name="T4" fmla="*/ 2417 w 9"/>
                  <a:gd name="T5" fmla="*/ 0 h 9"/>
                  <a:gd name="T6" fmla="*/ 2417 w 9"/>
                  <a:gd name="T7" fmla="*/ 0 h 9"/>
                  <a:gd name="T8" fmla="*/ 5642 w 9"/>
                  <a:gd name="T9" fmla="*/ 1495 h 9"/>
                  <a:gd name="T10" fmla="*/ 2417 w 9"/>
                  <a:gd name="T11" fmla="*/ 3489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2" y="9"/>
                      <a:pt x="0" y="7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070" name="Freeform 785"/>
              <p:cNvSpPr>
                <a:spLocks noChangeArrowheads="1"/>
              </p:cNvSpPr>
              <p:nvPr/>
            </p:nvSpPr>
            <p:spPr bwMode="auto">
              <a:xfrm>
                <a:off x="5393" y="616"/>
                <a:ext cx="13" cy="12"/>
              </a:xfrm>
              <a:custGeom>
                <a:avLst/>
                <a:gdLst>
                  <a:gd name="T0" fmla="*/ 3225 w 9"/>
                  <a:gd name="T1" fmla="*/ 3489 h 9"/>
                  <a:gd name="T2" fmla="*/ 0 w 9"/>
                  <a:gd name="T3" fmla="*/ 1495 h 9"/>
                  <a:gd name="T4" fmla="*/ 0 w 9"/>
                  <a:gd name="T5" fmla="*/ 1495 h 9"/>
                  <a:gd name="T6" fmla="*/ 3225 w 9"/>
                  <a:gd name="T7" fmla="*/ 0 h 9"/>
                  <a:gd name="T8" fmla="*/ 5642 w 9"/>
                  <a:gd name="T9" fmla="*/ 1495 h 9"/>
                  <a:gd name="T10" fmla="*/ 3225 w 9"/>
                  <a:gd name="T11" fmla="*/ 3489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2" y="9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071" name="Freeform 786"/>
              <p:cNvSpPr>
                <a:spLocks noChangeArrowheads="1"/>
              </p:cNvSpPr>
              <p:nvPr/>
            </p:nvSpPr>
            <p:spPr bwMode="auto">
              <a:xfrm>
                <a:off x="5023" y="616"/>
                <a:ext cx="13" cy="12"/>
              </a:xfrm>
              <a:custGeom>
                <a:avLst/>
                <a:gdLst>
                  <a:gd name="T0" fmla="*/ 2417 w 9"/>
                  <a:gd name="T1" fmla="*/ 3489 h 9"/>
                  <a:gd name="T2" fmla="*/ 0 w 9"/>
                  <a:gd name="T3" fmla="*/ 1495 h 9"/>
                  <a:gd name="T4" fmla="*/ 0 w 9"/>
                  <a:gd name="T5" fmla="*/ 1495 h 9"/>
                  <a:gd name="T6" fmla="*/ 2417 w 9"/>
                  <a:gd name="T7" fmla="*/ 0 h 9"/>
                  <a:gd name="T8" fmla="*/ 5642 w 9"/>
                  <a:gd name="T9" fmla="*/ 1495 h 9"/>
                  <a:gd name="T10" fmla="*/ 2417 w 9"/>
                  <a:gd name="T11" fmla="*/ 3489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2" y="9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072" name="Freeform 787"/>
              <p:cNvSpPr>
                <a:spLocks noChangeArrowheads="1"/>
              </p:cNvSpPr>
              <p:nvPr/>
            </p:nvSpPr>
            <p:spPr bwMode="auto">
              <a:xfrm>
                <a:off x="4961" y="602"/>
                <a:ext cx="13" cy="12"/>
              </a:xfrm>
              <a:custGeom>
                <a:avLst/>
                <a:gdLst>
                  <a:gd name="T0" fmla="*/ 3194 w 9"/>
                  <a:gd name="T1" fmla="*/ 3489 h 9"/>
                  <a:gd name="T2" fmla="*/ 0 w 9"/>
                  <a:gd name="T3" fmla="*/ 1993 h 9"/>
                  <a:gd name="T4" fmla="*/ 0 w 9"/>
                  <a:gd name="T5" fmla="*/ 1495 h 9"/>
                  <a:gd name="T6" fmla="*/ 3194 w 9"/>
                  <a:gd name="T7" fmla="*/ 0 h 9"/>
                  <a:gd name="T8" fmla="*/ 3194 w 9"/>
                  <a:gd name="T9" fmla="*/ 0 h 9"/>
                  <a:gd name="T10" fmla="*/ 7173 w 9"/>
                  <a:gd name="T11" fmla="*/ 1495 h 9"/>
                  <a:gd name="T12" fmla="*/ 3194 w 9"/>
                  <a:gd name="T13" fmla="*/ 3489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073" name="Freeform 788"/>
              <p:cNvSpPr>
                <a:spLocks noChangeArrowheads="1"/>
              </p:cNvSpPr>
              <p:nvPr/>
            </p:nvSpPr>
            <p:spPr bwMode="auto">
              <a:xfrm>
                <a:off x="5373" y="602"/>
                <a:ext cx="11" cy="12"/>
              </a:xfrm>
              <a:custGeom>
                <a:avLst/>
                <a:gdLst>
                  <a:gd name="T0" fmla="*/ 2164 w 8"/>
                  <a:gd name="T1" fmla="*/ 3489 h 9"/>
                  <a:gd name="T2" fmla="*/ 0 w 8"/>
                  <a:gd name="T3" fmla="*/ 1993 h 9"/>
                  <a:gd name="T4" fmla="*/ 0 w 8"/>
                  <a:gd name="T5" fmla="*/ 1495 h 9"/>
                  <a:gd name="T6" fmla="*/ 2164 w 8"/>
                  <a:gd name="T7" fmla="*/ 0 h 9"/>
                  <a:gd name="T8" fmla="*/ 2164 w 8"/>
                  <a:gd name="T9" fmla="*/ 0 h 9"/>
                  <a:gd name="T10" fmla="*/ 4077 w 8"/>
                  <a:gd name="T11" fmla="*/ 1495 h 9"/>
                  <a:gd name="T12" fmla="*/ 2164 w 8"/>
                  <a:gd name="T13" fmla="*/ 3489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074" name="Freeform 789"/>
              <p:cNvSpPr>
                <a:spLocks noChangeArrowheads="1"/>
              </p:cNvSpPr>
              <p:nvPr/>
            </p:nvSpPr>
            <p:spPr bwMode="auto">
              <a:xfrm>
                <a:off x="5291" y="602"/>
                <a:ext cx="13" cy="12"/>
              </a:xfrm>
              <a:custGeom>
                <a:avLst/>
                <a:gdLst>
                  <a:gd name="T0" fmla="*/ 2417 w 9"/>
                  <a:gd name="T1" fmla="*/ 3489 h 9"/>
                  <a:gd name="T2" fmla="*/ 0 w 9"/>
                  <a:gd name="T3" fmla="*/ 1993 h 9"/>
                  <a:gd name="T4" fmla="*/ 0 w 9"/>
                  <a:gd name="T5" fmla="*/ 1495 h 9"/>
                  <a:gd name="T6" fmla="*/ 2417 w 9"/>
                  <a:gd name="T7" fmla="*/ 0 h 9"/>
                  <a:gd name="T8" fmla="*/ 2417 w 9"/>
                  <a:gd name="T9" fmla="*/ 0 h 9"/>
                  <a:gd name="T10" fmla="*/ 5642 w 9"/>
                  <a:gd name="T11" fmla="*/ 1495 h 9"/>
                  <a:gd name="T12" fmla="*/ 2417 w 9"/>
                  <a:gd name="T13" fmla="*/ 3489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075" name="Freeform 790"/>
              <p:cNvSpPr>
                <a:spLocks noChangeArrowheads="1"/>
              </p:cNvSpPr>
              <p:nvPr/>
            </p:nvSpPr>
            <p:spPr bwMode="auto">
              <a:xfrm>
                <a:off x="5002" y="602"/>
                <a:ext cx="12" cy="12"/>
              </a:xfrm>
              <a:custGeom>
                <a:avLst/>
                <a:gdLst>
                  <a:gd name="T0" fmla="*/ 1993 w 9"/>
                  <a:gd name="T1" fmla="*/ 3489 h 9"/>
                  <a:gd name="T2" fmla="*/ 0 w 9"/>
                  <a:gd name="T3" fmla="*/ 1993 h 9"/>
                  <a:gd name="T4" fmla="*/ 0 w 9"/>
                  <a:gd name="T5" fmla="*/ 1495 h 9"/>
                  <a:gd name="T6" fmla="*/ 1993 w 9"/>
                  <a:gd name="T7" fmla="*/ 0 h 9"/>
                  <a:gd name="T8" fmla="*/ 1993 w 9"/>
                  <a:gd name="T9" fmla="*/ 0 h 9"/>
                  <a:gd name="T10" fmla="*/ 3489 w 9"/>
                  <a:gd name="T11" fmla="*/ 1495 h 9"/>
                  <a:gd name="T12" fmla="*/ 1993 w 9"/>
                  <a:gd name="T13" fmla="*/ 3489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076" name="Oval 791"/>
              <p:cNvSpPr>
                <a:spLocks noChangeArrowheads="1"/>
              </p:cNvSpPr>
              <p:nvPr/>
            </p:nvSpPr>
            <p:spPr bwMode="auto">
              <a:xfrm>
                <a:off x="4940" y="616"/>
                <a:ext cx="12" cy="12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US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077" name="Freeform 792"/>
              <p:cNvSpPr>
                <a:spLocks noChangeArrowheads="1"/>
              </p:cNvSpPr>
              <p:nvPr/>
            </p:nvSpPr>
            <p:spPr bwMode="auto">
              <a:xfrm>
                <a:off x="5312" y="616"/>
                <a:ext cx="11" cy="12"/>
              </a:xfrm>
              <a:custGeom>
                <a:avLst/>
                <a:gdLst>
                  <a:gd name="T0" fmla="*/ 2164 w 8"/>
                  <a:gd name="T1" fmla="*/ 3489 h 9"/>
                  <a:gd name="T2" fmla="*/ 0 w 8"/>
                  <a:gd name="T3" fmla="*/ 1495 h 9"/>
                  <a:gd name="T4" fmla="*/ 0 w 8"/>
                  <a:gd name="T5" fmla="*/ 1495 h 9"/>
                  <a:gd name="T6" fmla="*/ 2164 w 8"/>
                  <a:gd name="T7" fmla="*/ 0 h 9"/>
                  <a:gd name="T8" fmla="*/ 4077 w 8"/>
                  <a:gd name="T9" fmla="*/ 1495 h 9"/>
                  <a:gd name="T10" fmla="*/ 2164 w 8"/>
                  <a:gd name="T11" fmla="*/ 3489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2" y="9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078" name="Freeform 793"/>
              <p:cNvSpPr>
                <a:spLocks noChangeArrowheads="1"/>
              </p:cNvSpPr>
              <p:nvPr/>
            </p:nvSpPr>
            <p:spPr bwMode="auto">
              <a:xfrm>
                <a:off x="4983" y="616"/>
                <a:ext cx="11" cy="12"/>
              </a:xfrm>
              <a:custGeom>
                <a:avLst/>
                <a:gdLst>
                  <a:gd name="T0" fmla="*/ 2164 w 8"/>
                  <a:gd name="T1" fmla="*/ 3489 h 9"/>
                  <a:gd name="T2" fmla="*/ 0 w 8"/>
                  <a:gd name="T3" fmla="*/ 1495 h 9"/>
                  <a:gd name="T4" fmla="*/ 0 w 8"/>
                  <a:gd name="T5" fmla="*/ 1495 h 9"/>
                  <a:gd name="T6" fmla="*/ 2164 w 8"/>
                  <a:gd name="T7" fmla="*/ 0 h 9"/>
                  <a:gd name="T8" fmla="*/ 4077 w 8"/>
                  <a:gd name="T9" fmla="*/ 1495 h 9"/>
                  <a:gd name="T10" fmla="*/ 2164 w 8"/>
                  <a:gd name="T11" fmla="*/ 3489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2" y="9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079" name="Freeform 794"/>
              <p:cNvSpPr>
                <a:spLocks noChangeArrowheads="1"/>
              </p:cNvSpPr>
              <p:nvPr/>
            </p:nvSpPr>
            <p:spPr bwMode="auto">
              <a:xfrm>
                <a:off x="4921" y="602"/>
                <a:ext cx="11" cy="12"/>
              </a:xfrm>
              <a:custGeom>
                <a:avLst/>
                <a:gdLst>
                  <a:gd name="T0" fmla="*/ 2164 w 8"/>
                  <a:gd name="T1" fmla="*/ 3489 h 9"/>
                  <a:gd name="T2" fmla="*/ 0 w 8"/>
                  <a:gd name="T3" fmla="*/ 1993 h 9"/>
                  <a:gd name="T4" fmla="*/ 0 w 8"/>
                  <a:gd name="T5" fmla="*/ 1495 h 9"/>
                  <a:gd name="T6" fmla="*/ 2164 w 8"/>
                  <a:gd name="T7" fmla="*/ 0 h 9"/>
                  <a:gd name="T8" fmla="*/ 2164 w 8"/>
                  <a:gd name="T9" fmla="*/ 0 h 9"/>
                  <a:gd name="T10" fmla="*/ 4077 w 8"/>
                  <a:gd name="T11" fmla="*/ 1495 h 9"/>
                  <a:gd name="T12" fmla="*/ 2164 w 8"/>
                  <a:gd name="T13" fmla="*/ 3489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1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080" name="Freeform 795"/>
              <p:cNvSpPr>
                <a:spLocks noChangeArrowheads="1"/>
              </p:cNvSpPr>
              <p:nvPr/>
            </p:nvSpPr>
            <p:spPr bwMode="auto">
              <a:xfrm>
                <a:off x="5476" y="637"/>
                <a:ext cx="12" cy="11"/>
              </a:xfrm>
              <a:custGeom>
                <a:avLst/>
                <a:gdLst>
                  <a:gd name="T0" fmla="*/ 1495 w 9"/>
                  <a:gd name="T1" fmla="*/ 4077 h 8"/>
                  <a:gd name="T2" fmla="*/ 0 w 9"/>
                  <a:gd name="T3" fmla="*/ 2164 h 8"/>
                  <a:gd name="T4" fmla="*/ 0 w 9"/>
                  <a:gd name="T5" fmla="*/ 2164 h 8"/>
                  <a:gd name="T6" fmla="*/ 1495 w 9"/>
                  <a:gd name="T7" fmla="*/ 0 h 8"/>
                  <a:gd name="T8" fmla="*/ 3489 w 9"/>
                  <a:gd name="T9" fmla="*/ 2164 h 8"/>
                  <a:gd name="T10" fmla="*/ 1495 w 9"/>
                  <a:gd name="T11" fmla="*/ 4077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8">
                    <a:moveTo>
                      <a:pt x="4" y="8"/>
                    </a:moveTo>
                    <a:cubicBezTo>
                      <a:pt x="2" y="8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6"/>
                      <a:pt x="7" y="8"/>
                      <a:pt x="4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081" name="Freeform 796"/>
              <p:cNvSpPr>
                <a:spLocks noChangeArrowheads="1"/>
              </p:cNvSpPr>
              <p:nvPr/>
            </p:nvSpPr>
            <p:spPr bwMode="auto">
              <a:xfrm>
                <a:off x="5331" y="622"/>
                <a:ext cx="13" cy="13"/>
              </a:xfrm>
              <a:custGeom>
                <a:avLst/>
                <a:gdLst>
                  <a:gd name="T0" fmla="*/ 3860 w 9"/>
                  <a:gd name="T1" fmla="*/ 7173 h 9"/>
                  <a:gd name="T2" fmla="*/ 0 w 9"/>
                  <a:gd name="T3" fmla="*/ 3194 h 9"/>
                  <a:gd name="T4" fmla="*/ 0 w 9"/>
                  <a:gd name="T5" fmla="*/ 3194 h 9"/>
                  <a:gd name="T6" fmla="*/ 3860 w 9"/>
                  <a:gd name="T7" fmla="*/ 0 h 9"/>
                  <a:gd name="T8" fmla="*/ 7173 w 9"/>
                  <a:gd name="T9" fmla="*/ 3194 h 9"/>
                  <a:gd name="T10" fmla="*/ 3860 w 9"/>
                  <a:gd name="T11" fmla="*/ 7173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2" y="9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082" name="Freeform 797"/>
              <p:cNvSpPr>
                <a:spLocks noChangeArrowheads="1"/>
              </p:cNvSpPr>
              <p:nvPr/>
            </p:nvSpPr>
            <p:spPr bwMode="auto">
              <a:xfrm>
                <a:off x="5188" y="637"/>
                <a:ext cx="11" cy="11"/>
              </a:xfrm>
              <a:custGeom>
                <a:avLst/>
                <a:gdLst>
                  <a:gd name="T0" fmla="*/ 2164 w 8"/>
                  <a:gd name="T1" fmla="*/ 4077 h 8"/>
                  <a:gd name="T2" fmla="*/ 0 w 8"/>
                  <a:gd name="T3" fmla="*/ 2164 h 8"/>
                  <a:gd name="T4" fmla="*/ 0 w 8"/>
                  <a:gd name="T5" fmla="*/ 2164 h 8"/>
                  <a:gd name="T6" fmla="*/ 2164 w 8"/>
                  <a:gd name="T7" fmla="*/ 0 h 8"/>
                  <a:gd name="T8" fmla="*/ 4077 w 8"/>
                  <a:gd name="T9" fmla="*/ 2164 h 8"/>
                  <a:gd name="T10" fmla="*/ 2164 w 8"/>
                  <a:gd name="T11" fmla="*/ 4077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8" h="8">
                    <a:moveTo>
                      <a:pt x="4" y="8"/>
                    </a:moveTo>
                    <a:cubicBezTo>
                      <a:pt x="1" y="8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1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6"/>
                      <a:pt x="6" y="8"/>
                      <a:pt x="4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083" name="Oval 798"/>
              <p:cNvSpPr>
                <a:spLocks noChangeArrowheads="1"/>
              </p:cNvSpPr>
              <p:nvPr/>
            </p:nvSpPr>
            <p:spPr bwMode="auto">
              <a:xfrm>
                <a:off x="5601" y="637"/>
                <a:ext cx="12" cy="11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US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084" name="Freeform 799"/>
              <p:cNvSpPr>
                <a:spLocks noChangeArrowheads="1"/>
              </p:cNvSpPr>
              <p:nvPr/>
            </p:nvSpPr>
            <p:spPr bwMode="auto">
              <a:xfrm>
                <a:off x="5581" y="622"/>
                <a:ext cx="10" cy="13"/>
              </a:xfrm>
              <a:custGeom>
                <a:avLst/>
                <a:gdLst>
                  <a:gd name="T0" fmla="*/ 868 w 8"/>
                  <a:gd name="T1" fmla="*/ 7173 h 9"/>
                  <a:gd name="T2" fmla="*/ 0 w 8"/>
                  <a:gd name="T3" fmla="*/ 3194 h 9"/>
                  <a:gd name="T4" fmla="*/ 0 w 8"/>
                  <a:gd name="T5" fmla="*/ 3194 h 9"/>
                  <a:gd name="T6" fmla="*/ 868 w 8"/>
                  <a:gd name="T7" fmla="*/ 0 h 9"/>
                  <a:gd name="T8" fmla="*/ 1780 w 8"/>
                  <a:gd name="T9" fmla="*/ 3194 h 9"/>
                  <a:gd name="T10" fmla="*/ 868 w 8"/>
                  <a:gd name="T11" fmla="*/ 7173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2" y="9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085" name="Freeform 800"/>
              <p:cNvSpPr>
                <a:spLocks noChangeArrowheads="1"/>
              </p:cNvSpPr>
              <p:nvPr/>
            </p:nvSpPr>
            <p:spPr bwMode="auto">
              <a:xfrm>
                <a:off x="5559" y="637"/>
                <a:ext cx="13" cy="11"/>
              </a:xfrm>
              <a:custGeom>
                <a:avLst/>
                <a:gdLst>
                  <a:gd name="T0" fmla="*/ 3194 w 9"/>
                  <a:gd name="T1" fmla="*/ 4077 h 8"/>
                  <a:gd name="T2" fmla="*/ 0 w 9"/>
                  <a:gd name="T3" fmla="*/ 2164 h 8"/>
                  <a:gd name="T4" fmla="*/ 0 w 9"/>
                  <a:gd name="T5" fmla="*/ 2164 h 8"/>
                  <a:gd name="T6" fmla="*/ 3194 w 9"/>
                  <a:gd name="T7" fmla="*/ 0 h 8"/>
                  <a:gd name="T8" fmla="*/ 7173 w 9"/>
                  <a:gd name="T9" fmla="*/ 2164 h 8"/>
                  <a:gd name="T10" fmla="*/ 3194 w 9"/>
                  <a:gd name="T11" fmla="*/ 4077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8">
                    <a:moveTo>
                      <a:pt x="4" y="8"/>
                    </a:moveTo>
                    <a:cubicBezTo>
                      <a:pt x="2" y="8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6"/>
                      <a:pt x="7" y="8"/>
                      <a:pt x="4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086" name="Freeform 801"/>
              <p:cNvSpPr>
                <a:spLocks noChangeArrowheads="1"/>
              </p:cNvSpPr>
              <p:nvPr/>
            </p:nvSpPr>
            <p:spPr bwMode="auto">
              <a:xfrm>
                <a:off x="5538" y="622"/>
                <a:ext cx="12" cy="13"/>
              </a:xfrm>
              <a:custGeom>
                <a:avLst/>
                <a:gdLst>
                  <a:gd name="T0" fmla="*/ 1993 w 9"/>
                  <a:gd name="T1" fmla="*/ 7173 h 9"/>
                  <a:gd name="T2" fmla="*/ 0 w 9"/>
                  <a:gd name="T3" fmla="*/ 3194 h 9"/>
                  <a:gd name="T4" fmla="*/ 0 w 9"/>
                  <a:gd name="T5" fmla="*/ 3194 h 9"/>
                  <a:gd name="T6" fmla="*/ 1993 w 9"/>
                  <a:gd name="T7" fmla="*/ 0 h 9"/>
                  <a:gd name="T8" fmla="*/ 3489 w 9"/>
                  <a:gd name="T9" fmla="*/ 3194 h 9"/>
                  <a:gd name="T10" fmla="*/ 1993 w 9"/>
                  <a:gd name="T11" fmla="*/ 7173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2" y="9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087" name="Freeform 802"/>
              <p:cNvSpPr>
                <a:spLocks noChangeArrowheads="1"/>
              </p:cNvSpPr>
              <p:nvPr/>
            </p:nvSpPr>
            <p:spPr bwMode="auto">
              <a:xfrm>
                <a:off x="5518" y="637"/>
                <a:ext cx="11" cy="11"/>
              </a:xfrm>
              <a:custGeom>
                <a:avLst/>
                <a:gdLst>
                  <a:gd name="T0" fmla="*/ 2164 w 8"/>
                  <a:gd name="T1" fmla="*/ 4077 h 8"/>
                  <a:gd name="T2" fmla="*/ 0 w 8"/>
                  <a:gd name="T3" fmla="*/ 2164 h 8"/>
                  <a:gd name="T4" fmla="*/ 0 w 8"/>
                  <a:gd name="T5" fmla="*/ 2164 h 8"/>
                  <a:gd name="T6" fmla="*/ 2164 w 8"/>
                  <a:gd name="T7" fmla="*/ 0 h 8"/>
                  <a:gd name="T8" fmla="*/ 4077 w 8"/>
                  <a:gd name="T9" fmla="*/ 2164 h 8"/>
                  <a:gd name="T10" fmla="*/ 2164 w 8"/>
                  <a:gd name="T11" fmla="*/ 4077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8" h="8">
                    <a:moveTo>
                      <a:pt x="4" y="8"/>
                    </a:moveTo>
                    <a:cubicBezTo>
                      <a:pt x="2" y="8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6"/>
                      <a:pt x="6" y="8"/>
                      <a:pt x="4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088" name="Freeform 803"/>
              <p:cNvSpPr>
                <a:spLocks noChangeArrowheads="1"/>
              </p:cNvSpPr>
              <p:nvPr/>
            </p:nvSpPr>
            <p:spPr bwMode="auto">
              <a:xfrm>
                <a:off x="5498" y="622"/>
                <a:ext cx="12" cy="13"/>
              </a:xfrm>
              <a:custGeom>
                <a:avLst/>
                <a:gdLst>
                  <a:gd name="T0" fmla="*/ 1495 w 9"/>
                  <a:gd name="T1" fmla="*/ 7173 h 9"/>
                  <a:gd name="T2" fmla="*/ 0 w 9"/>
                  <a:gd name="T3" fmla="*/ 3194 h 9"/>
                  <a:gd name="T4" fmla="*/ 0 w 9"/>
                  <a:gd name="T5" fmla="*/ 3194 h 9"/>
                  <a:gd name="T6" fmla="*/ 1495 w 9"/>
                  <a:gd name="T7" fmla="*/ 0 h 9"/>
                  <a:gd name="T8" fmla="*/ 3489 w 9"/>
                  <a:gd name="T9" fmla="*/ 3194 h 9"/>
                  <a:gd name="T10" fmla="*/ 1495 w 9"/>
                  <a:gd name="T11" fmla="*/ 7173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2" y="9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089" name="Oval 804"/>
              <p:cNvSpPr>
                <a:spLocks noChangeArrowheads="1"/>
              </p:cNvSpPr>
              <p:nvPr/>
            </p:nvSpPr>
            <p:spPr bwMode="auto">
              <a:xfrm>
                <a:off x="5744" y="622"/>
                <a:ext cx="13" cy="13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US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090" name="Freeform 805"/>
              <p:cNvSpPr>
                <a:spLocks noChangeArrowheads="1"/>
              </p:cNvSpPr>
              <p:nvPr/>
            </p:nvSpPr>
            <p:spPr bwMode="auto">
              <a:xfrm>
                <a:off x="5723" y="637"/>
                <a:ext cx="13" cy="11"/>
              </a:xfrm>
              <a:custGeom>
                <a:avLst/>
                <a:gdLst>
                  <a:gd name="T0" fmla="*/ 3225 w 9"/>
                  <a:gd name="T1" fmla="*/ 4077 h 8"/>
                  <a:gd name="T2" fmla="*/ 0 w 9"/>
                  <a:gd name="T3" fmla="*/ 2164 h 8"/>
                  <a:gd name="T4" fmla="*/ 0 w 9"/>
                  <a:gd name="T5" fmla="*/ 2164 h 8"/>
                  <a:gd name="T6" fmla="*/ 3225 w 9"/>
                  <a:gd name="T7" fmla="*/ 0 h 8"/>
                  <a:gd name="T8" fmla="*/ 5642 w 9"/>
                  <a:gd name="T9" fmla="*/ 2164 h 8"/>
                  <a:gd name="T10" fmla="*/ 3225 w 9"/>
                  <a:gd name="T11" fmla="*/ 4077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8">
                    <a:moveTo>
                      <a:pt x="5" y="8"/>
                    </a:moveTo>
                    <a:cubicBezTo>
                      <a:pt x="2" y="8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6"/>
                      <a:pt x="7" y="8"/>
                      <a:pt x="5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091" name="Freeform 806"/>
              <p:cNvSpPr>
                <a:spLocks noChangeArrowheads="1"/>
              </p:cNvSpPr>
              <p:nvPr/>
            </p:nvSpPr>
            <p:spPr bwMode="auto">
              <a:xfrm>
                <a:off x="5704" y="622"/>
                <a:ext cx="11" cy="13"/>
              </a:xfrm>
              <a:custGeom>
                <a:avLst/>
                <a:gdLst>
                  <a:gd name="T0" fmla="*/ 2164 w 8"/>
                  <a:gd name="T1" fmla="*/ 7173 h 9"/>
                  <a:gd name="T2" fmla="*/ 0 w 8"/>
                  <a:gd name="T3" fmla="*/ 3194 h 9"/>
                  <a:gd name="T4" fmla="*/ 0 w 8"/>
                  <a:gd name="T5" fmla="*/ 3194 h 9"/>
                  <a:gd name="T6" fmla="*/ 2164 w 8"/>
                  <a:gd name="T7" fmla="*/ 0 h 9"/>
                  <a:gd name="T8" fmla="*/ 4077 w 8"/>
                  <a:gd name="T9" fmla="*/ 3194 h 9"/>
                  <a:gd name="T10" fmla="*/ 2164 w 8"/>
                  <a:gd name="T11" fmla="*/ 7173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2" y="9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092" name="Oval 807"/>
              <p:cNvSpPr>
                <a:spLocks noChangeArrowheads="1"/>
              </p:cNvSpPr>
              <p:nvPr/>
            </p:nvSpPr>
            <p:spPr bwMode="auto">
              <a:xfrm>
                <a:off x="5683" y="637"/>
                <a:ext cx="13" cy="11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US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093" name="Freeform 808"/>
              <p:cNvSpPr>
                <a:spLocks noChangeArrowheads="1"/>
              </p:cNvSpPr>
              <p:nvPr/>
            </p:nvSpPr>
            <p:spPr bwMode="auto">
              <a:xfrm>
                <a:off x="5662" y="622"/>
                <a:ext cx="13" cy="13"/>
              </a:xfrm>
              <a:custGeom>
                <a:avLst/>
                <a:gdLst>
                  <a:gd name="T0" fmla="*/ 3860 w 9"/>
                  <a:gd name="T1" fmla="*/ 7173 h 9"/>
                  <a:gd name="T2" fmla="*/ 0 w 9"/>
                  <a:gd name="T3" fmla="*/ 3194 h 9"/>
                  <a:gd name="T4" fmla="*/ 0 w 9"/>
                  <a:gd name="T5" fmla="*/ 3194 h 9"/>
                  <a:gd name="T6" fmla="*/ 3860 w 9"/>
                  <a:gd name="T7" fmla="*/ 0 h 9"/>
                  <a:gd name="T8" fmla="*/ 7173 w 9"/>
                  <a:gd name="T9" fmla="*/ 3194 h 9"/>
                  <a:gd name="T10" fmla="*/ 3860 w 9"/>
                  <a:gd name="T11" fmla="*/ 7173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2" y="9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094" name="Freeform 809"/>
              <p:cNvSpPr>
                <a:spLocks noChangeArrowheads="1"/>
              </p:cNvSpPr>
              <p:nvPr/>
            </p:nvSpPr>
            <p:spPr bwMode="auto">
              <a:xfrm>
                <a:off x="5642" y="637"/>
                <a:ext cx="11" cy="11"/>
              </a:xfrm>
              <a:custGeom>
                <a:avLst/>
                <a:gdLst>
                  <a:gd name="T0" fmla="*/ 2164 w 8"/>
                  <a:gd name="T1" fmla="*/ 4077 h 8"/>
                  <a:gd name="T2" fmla="*/ 0 w 8"/>
                  <a:gd name="T3" fmla="*/ 2164 h 8"/>
                  <a:gd name="T4" fmla="*/ 0 w 8"/>
                  <a:gd name="T5" fmla="*/ 2164 h 8"/>
                  <a:gd name="T6" fmla="*/ 2164 w 8"/>
                  <a:gd name="T7" fmla="*/ 0 h 8"/>
                  <a:gd name="T8" fmla="*/ 4077 w 8"/>
                  <a:gd name="T9" fmla="*/ 2164 h 8"/>
                  <a:gd name="T10" fmla="*/ 4077 w 8"/>
                  <a:gd name="T11" fmla="*/ 2164 h 8"/>
                  <a:gd name="T12" fmla="*/ 2164 w 8"/>
                  <a:gd name="T13" fmla="*/ 4077 h 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8" h="8">
                    <a:moveTo>
                      <a:pt x="4" y="8"/>
                    </a:moveTo>
                    <a:cubicBezTo>
                      <a:pt x="2" y="8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7"/>
                      <a:pt x="6" y="8"/>
                      <a:pt x="4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095" name="Oval 810"/>
              <p:cNvSpPr>
                <a:spLocks noChangeArrowheads="1"/>
              </p:cNvSpPr>
              <p:nvPr/>
            </p:nvSpPr>
            <p:spPr bwMode="auto">
              <a:xfrm>
                <a:off x="5621" y="622"/>
                <a:ext cx="13" cy="13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US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096" name="Freeform 811"/>
              <p:cNvSpPr>
                <a:spLocks noChangeArrowheads="1"/>
              </p:cNvSpPr>
              <p:nvPr/>
            </p:nvSpPr>
            <p:spPr bwMode="auto">
              <a:xfrm>
                <a:off x="5393" y="637"/>
                <a:ext cx="13" cy="11"/>
              </a:xfrm>
              <a:custGeom>
                <a:avLst/>
                <a:gdLst>
                  <a:gd name="T0" fmla="*/ 3225 w 9"/>
                  <a:gd name="T1" fmla="*/ 4077 h 8"/>
                  <a:gd name="T2" fmla="*/ 0 w 9"/>
                  <a:gd name="T3" fmla="*/ 2164 h 8"/>
                  <a:gd name="T4" fmla="*/ 0 w 9"/>
                  <a:gd name="T5" fmla="*/ 2164 h 8"/>
                  <a:gd name="T6" fmla="*/ 3225 w 9"/>
                  <a:gd name="T7" fmla="*/ 0 h 8"/>
                  <a:gd name="T8" fmla="*/ 5642 w 9"/>
                  <a:gd name="T9" fmla="*/ 2164 h 8"/>
                  <a:gd name="T10" fmla="*/ 3225 w 9"/>
                  <a:gd name="T11" fmla="*/ 4077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8">
                    <a:moveTo>
                      <a:pt x="5" y="8"/>
                    </a:moveTo>
                    <a:cubicBezTo>
                      <a:pt x="2" y="8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6"/>
                      <a:pt x="7" y="8"/>
                      <a:pt x="5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097" name="Freeform 812"/>
              <p:cNvSpPr>
                <a:spLocks noChangeArrowheads="1"/>
              </p:cNvSpPr>
              <p:nvPr/>
            </p:nvSpPr>
            <p:spPr bwMode="auto">
              <a:xfrm>
                <a:off x="5312" y="637"/>
                <a:ext cx="11" cy="11"/>
              </a:xfrm>
              <a:custGeom>
                <a:avLst/>
                <a:gdLst>
                  <a:gd name="T0" fmla="*/ 2164 w 8"/>
                  <a:gd name="T1" fmla="*/ 4077 h 8"/>
                  <a:gd name="T2" fmla="*/ 0 w 8"/>
                  <a:gd name="T3" fmla="*/ 2164 h 8"/>
                  <a:gd name="T4" fmla="*/ 0 w 8"/>
                  <a:gd name="T5" fmla="*/ 2164 h 8"/>
                  <a:gd name="T6" fmla="*/ 2164 w 8"/>
                  <a:gd name="T7" fmla="*/ 0 h 8"/>
                  <a:gd name="T8" fmla="*/ 4077 w 8"/>
                  <a:gd name="T9" fmla="*/ 2164 h 8"/>
                  <a:gd name="T10" fmla="*/ 2164 w 8"/>
                  <a:gd name="T11" fmla="*/ 4077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8" h="8">
                    <a:moveTo>
                      <a:pt x="4" y="8"/>
                    </a:moveTo>
                    <a:cubicBezTo>
                      <a:pt x="2" y="8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6"/>
                      <a:pt x="6" y="8"/>
                      <a:pt x="4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098" name="Freeform 813"/>
              <p:cNvSpPr>
                <a:spLocks noChangeArrowheads="1"/>
              </p:cNvSpPr>
              <p:nvPr/>
            </p:nvSpPr>
            <p:spPr bwMode="auto">
              <a:xfrm>
                <a:off x="5023" y="637"/>
                <a:ext cx="13" cy="11"/>
              </a:xfrm>
              <a:custGeom>
                <a:avLst/>
                <a:gdLst>
                  <a:gd name="T0" fmla="*/ 2417 w 9"/>
                  <a:gd name="T1" fmla="*/ 4077 h 8"/>
                  <a:gd name="T2" fmla="*/ 0 w 9"/>
                  <a:gd name="T3" fmla="*/ 2164 h 8"/>
                  <a:gd name="T4" fmla="*/ 0 w 9"/>
                  <a:gd name="T5" fmla="*/ 2164 h 8"/>
                  <a:gd name="T6" fmla="*/ 2417 w 9"/>
                  <a:gd name="T7" fmla="*/ 0 h 8"/>
                  <a:gd name="T8" fmla="*/ 5642 w 9"/>
                  <a:gd name="T9" fmla="*/ 2164 h 8"/>
                  <a:gd name="T10" fmla="*/ 2417 w 9"/>
                  <a:gd name="T11" fmla="*/ 4077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8">
                    <a:moveTo>
                      <a:pt x="4" y="8"/>
                    </a:moveTo>
                    <a:cubicBezTo>
                      <a:pt x="2" y="8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6"/>
                      <a:pt x="7" y="8"/>
                      <a:pt x="4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099" name="Freeform 814"/>
              <p:cNvSpPr>
                <a:spLocks noChangeArrowheads="1"/>
              </p:cNvSpPr>
              <p:nvPr/>
            </p:nvSpPr>
            <p:spPr bwMode="auto">
              <a:xfrm>
                <a:off x="4961" y="622"/>
                <a:ext cx="13" cy="13"/>
              </a:xfrm>
              <a:custGeom>
                <a:avLst/>
                <a:gdLst>
                  <a:gd name="T0" fmla="*/ 3194 w 9"/>
                  <a:gd name="T1" fmla="*/ 7173 h 9"/>
                  <a:gd name="T2" fmla="*/ 0 w 9"/>
                  <a:gd name="T3" fmla="*/ 3194 h 9"/>
                  <a:gd name="T4" fmla="*/ 0 w 9"/>
                  <a:gd name="T5" fmla="*/ 3194 h 9"/>
                  <a:gd name="T6" fmla="*/ 3194 w 9"/>
                  <a:gd name="T7" fmla="*/ 0 h 9"/>
                  <a:gd name="T8" fmla="*/ 7173 w 9"/>
                  <a:gd name="T9" fmla="*/ 3194 h 9"/>
                  <a:gd name="T10" fmla="*/ 3194 w 9"/>
                  <a:gd name="T11" fmla="*/ 7173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2" y="9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100" name="Freeform 815"/>
              <p:cNvSpPr>
                <a:spLocks noChangeArrowheads="1"/>
              </p:cNvSpPr>
              <p:nvPr/>
            </p:nvSpPr>
            <p:spPr bwMode="auto">
              <a:xfrm>
                <a:off x="5373" y="622"/>
                <a:ext cx="11" cy="13"/>
              </a:xfrm>
              <a:custGeom>
                <a:avLst/>
                <a:gdLst>
                  <a:gd name="T0" fmla="*/ 2164 w 8"/>
                  <a:gd name="T1" fmla="*/ 7173 h 9"/>
                  <a:gd name="T2" fmla="*/ 0 w 8"/>
                  <a:gd name="T3" fmla="*/ 3194 h 9"/>
                  <a:gd name="T4" fmla="*/ 0 w 8"/>
                  <a:gd name="T5" fmla="*/ 3194 h 9"/>
                  <a:gd name="T6" fmla="*/ 2164 w 8"/>
                  <a:gd name="T7" fmla="*/ 0 h 9"/>
                  <a:gd name="T8" fmla="*/ 4077 w 8"/>
                  <a:gd name="T9" fmla="*/ 3194 h 9"/>
                  <a:gd name="T10" fmla="*/ 2164 w 8"/>
                  <a:gd name="T11" fmla="*/ 7173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2" y="9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101" name="Freeform 816"/>
              <p:cNvSpPr>
                <a:spLocks noChangeArrowheads="1"/>
              </p:cNvSpPr>
              <p:nvPr/>
            </p:nvSpPr>
            <p:spPr bwMode="auto">
              <a:xfrm>
                <a:off x="5291" y="622"/>
                <a:ext cx="13" cy="13"/>
              </a:xfrm>
              <a:custGeom>
                <a:avLst/>
                <a:gdLst>
                  <a:gd name="T0" fmla="*/ 2417 w 9"/>
                  <a:gd name="T1" fmla="*/ 7173 h 9"/>
                  <a:gd name="T2" fmla="*/ 0 w 9"/>
                  <a:gd name="T3" fmla="*/ 3194 h 9"/>
                  <a:gd name="T4" fmla="*/ 0 w 9"/>
                  <a:gd name="T5" fmla="*/ 3194 h 9"/>
                  <a:gd name="T6" fmla="*/ 2417 w 9"/>
                  <a:gd name="T7" fmla="*/ 0 h 9"/>
                  <a:gd name="T8" fmla="*/ 5642 w 9"/>
                  <a:gd name="T9" fmla="*/ 3194 h 9"/>
                  <a:gd name="T10" fmla="*/ 2417 w 9"/>
                  <a:gd name="T11" fmla="*/ 7173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2" y="9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102" name="Freeform 817"/>
              <p:cNvSpPr>
                <a:spLocks noChangeArrowheads="1"/>
              </p:cNvSpPr>
              <p:nvPr/>
            </p:nvSpPr>
            <p:spPr bwMode="auto">
              <a:xfrm>
                <a:off x="5291" y="665"/>
                <a:ext cx="13" cy="11"/>
              </a:xfrm>
              <a:custGeom>
                <a:avLst/>
                <a:gdLst>
                  <a:gd name="T0" fmla="*/ 2417 w 9"/>
                  <a:gd name="T1" fmla="*/ 4077 h 8"/>
                  <a:gd name="T2" fmla="*/ 2417 w 9"/>
                  <a:gd name="T3" fmla="*/ 4077 h 8"/>
                  <a:gd name="T4" fmla="*/ 0 w 9"/>
                  <a:gd name="T5" fmla="*/ 2164 h 8"/>
                  <a:gd name="T6" fmla="*/ 0 w 9"/>
                  <a:gd name="T7" fmla="*/ 2164 h 8"/>
                  <a:gd name="T8" fmla="*/ 2417 w 9"/>
                  <a:gd name="T9" fmla="*/ 0 h 8"/>
                  <a:gd name="T10" fmla="*/ 2417 w 9"/>
                  <a:gd name="T11" fmla="*/ 0 h 8"/>
                  <a:gd name="T12" fmla="*/ 5642 w 9"/>
                  <a:gd name="T13" fmla="*/ 2164 h 8"/>
                  <a:gd name="T14" fmla="*/ 2417 w 9"/>
                  <a:gd name="T15" fmla="*/ 4077 h 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9" h="8">
                    <a:moveTo>
                      <a:pt x="4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7" y="0"/>
                      <a:pt x="9" y="1"/>
                      <a:pt x="9" y="4"/>
                    </a:cubicBezTo>
                    <a:cubicBezTo>
                      <a:pt x="9" y="6"/>
                      <a:pt x="7" y="8"/>
                      <a:pt x="4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103" name="Freeform 818"/>
              <p:cNvSpPr>
                <a:spLocks noChangeArrowheads="1"/>
              </p:cNvSpPr>
              <p:nvPr/>
            </p:nvSpPr>
            <p:spPr bwMode="auto">
              <a:xfrm>
                <a:off x="5002" y="622"/>
                <a:ext cx="12" cy="13"/>
              </a:xfrm>
              <a:custGeom>
                <a:avLst/>
                <a:gdLst>
                  <a:gd name="T0" fmla="*/ 1993 w 9"/>
                  <a:gd name="T1" fmla="*/ 7173 h 9"/>
                  <a:gd name="T2" fmla="*/ 0 w 9"/>
                  <a:gd name="T3" fmla="*/ 3194 h 9"/>
                  <a:gd name="T4" fmla="*/ 0 w 9"/>
                  <a:gd name="T5" fmla="*/ 3194 h 9"/>
                  <a:gd name="T6" fmla="*/ 1993 w 9"/>
                  <a:gd name="T7" fmla="*/ 0 h 9"/>
                  <a:gd name="T8" fmla="*/ 3489 w 9"/>
                  <a:gd name="T9" fmla="*/ 3194 h 9"/>
                  <a:gd name="T10" fmla="*/ 1993 w 9"/>
                  <a:gd name="T11" fmla="*/ 7173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2" y="9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104" name="Oval 819"/>
              <p:cNvSpPr>
                <a:spLocks noChangeArrowheads="1"/>
              </p:cNvSpPr>
              <p:nvPr/>
            </p:nvSpPr>
            <p:spPr bwMode="auto">
              <a:xfrm>
                <a:off x="4940" y="637"/>
                <a:ext cx="12" cy="11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US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105" name="Freeform 820"/>
              <p:cNvSpPr>
                <a:spLocks noChangeArrowheads="1"/>
              </p:cNvSpPr>
              <p:nvPr/>
            </p:nvSpPr>
            <p:spPr bwMode="auto">
              <a:xfrm>
                <a:off x="4983" y="637"/>
                <a:ext cx="11" cy="11"/>
              </a:xfrm>
              <a:custGeom>
                <a:avLst/>
                <a:gdLst>
                  <a:gd name="T0" fmla="*/ 2164 w 8"/>
                  <a:gd name="T1" fmla="*/ 4077 h 8"/>
                  <a:gd name="T2" fmla="*/ 0 w 8"/>
                  <a:gd name="T3" fmla="*/ 2164 h 8"/>
                  <a:gd name="T4" fmla="*/ 0 w 8"/>
                  <a:gd name="T5" fmla="*/ 2164 h 8"/>
                  <a:gd name="T6" fmla="*/ 2164 w 8"/>
                  <a:gd name="T7" fmla="*/ 0 h 8"/>
                  <a:gd name="T8" fmla="*/ 4077 w 8"/>
                  <a:gd name="T9" fmla="*/ 2164 h 8"/>
                  <a:gd name="T10" fmla="*/ 2164 w 8"/>
                  <a:gd name="T11" fmla="*/ 4077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8" h="8">
                    <a:moveTo>
                      <a:pt x="4" y="8"/>
                    </a:moveTo>
                    <a:cubicBezTo>
                      <a:pt x="2" y="8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6"/>
                      <a:pt x="6" y="8"/>
                      <a:pt x="4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106" name="Freeform 821"/>
              <p:cNvSpPr>
                <a:spLocks noChangeArrowheads="1"/>
              </p:cNvSpPr>
              <p:nvPr/>
            </p:nvSpPr>
            <p:spPr bwMode="auto">
              <a:xfrm>
                <a:off x="4921" y="622"/>
                <a:ext cx="11" cy="13"/>
              </a:xfrm>
              <a:custGeom>
                <a:avLst/>
                <a:gdLst>
                  <a:gd name="T0" fmla="*/ 2164 w 8"/>
                  <a:gd name="T1" fmla="*/ 7173 h 9"/>
                  <a:gd name="T2" fmla="*/ 0 w 8"/>
                  <a:gd name="T3" fmla="*/ 3194 h 9"/>
                  <a:gd name="T4" fmla="*/ 0 w 8"/>
                  <a:gd name="T5" fmla="*/ 3194 h 9"/>
                  <a:gd name="T6" fmla="*/ 2164 w 8"/>
                  <a:gd name="T7" fmla="*/ 0 h 9"/>
                  <a:gd name="T8" fmla="*/ 4077 w 8"/>
                  <a:gd name="T9" fmla="*/ 3194 h 9"/>
                  <a:gd name="T10" fmla="*/ 2164 w 8"/>
                  <a:gd name="T11" fmla="*/ 7173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2" y="9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107" name="Freeform 822"/>
              <p:cNvSpPr>
                <a:spLocks noChangeArrowheads="1"/>
              </p:cNvSpPr>
              <p:nvPr/>
            </p:nvSpPr>
            <p:spPr bwMode="auto">
              <a:xfrm>
                <a:off x="5476" y="658"/>
                <a:ext cx="12" cy="11"/>
              </a:xfrm>
              <a:custGeom>
                <a:avLst/>
                <a:gdLst>
                  <a:gd name="T0" fmla="*/ 1495 w 9"/>
                  <a:gd name="T1" fmla="*/ 4077 h 8"/>
                  <a:gd name="T2" fmla="*/ 0 w 9"/>
                  <a:gd name="T3" fmla="*/ 2164 h 8"/>
                  <a:gd name="T4" fmla="*/ 0 w 9"/>
                  <a:gd name="T5" fmla="*/ 2164 h 8"/>
                  <a:gd name="T6" fmla="*/ 1495 w 9"/>
                  <a:gd name="T7" fmla="*/ 0 h 8"/>
                  <a:gd name="T8" fmla="*/ 1993 w 9"/>
                  <a:gd name="T9" fmla="*/ 0 h 8"/>
                  <a:gd name="T10" fmla="*/ 3489 w 9"/>
                  <a:gd name="T11" fmla="*/ 2164 h 8"/>
                  <a:gd name="T12" fmla="*/ 1495 w 9"/>
                  <a:gd name="T13" fmla="*/ 4077 h 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8">
                    <a:moveTo>
                      <a:pt x="4" y="8"/>
                    </a:moveTo>
                    <a:cubicBezTo>
                      <a:pt x="2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7" y="0"/>
                      <a:pt x="9" y="1"/>
                      <a:pt x="9" y="4"/>
                    </a:cubicBezTo>
                    <a:cubicBezTo>
                      <a:pt x="9" y="6"/>
                      <a:pt x="7" y="8"/>
                      <a:pt x="4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108" name="Freeform 823"/>
              <p:cNvSpPr>
                <a:spLocks noChangeArrowheads="1"/>
              </p:cNvSpPr>
              <p:nvPr/>
            </p:nvSpPr>
            <p:spPr bwMode="auto">
              <a:xfrm>
                <a:off x="5601" y="658"/>
                <a:ext cx="12" cy="11"/>
              </a:xfrm>
              <a:custGeom>
                <a:avLst/>
                <a:gdLst>
                  <a:gd name="T0" fmla="*/ 1993 w 9"/>
                  <a:gd name="T1" fmla="*/ 4077 h 8"/>
                  <a:gd name="T2" fmla="*/ 0 w 9"/>
                  <a:gd name="T3" fmla="*/ 2164 h 8"/>
                  <a:gd name="T4" fmla="*/ 1495 w 9"/>
                  <a:gd name="T5" fmla="*/ 0 h 8"/>
                  <a:gd name="T6" fmla="*/ 1993 w 9"/>
                  <a:gd name="T7" fmla="*/ 0 h 8"/>
                  <a:gd name="T8" fmla="*/ 3489 w 9"/>
                  <a:gd name="T9" fmla="*/ 2164 h 8"/>
                  <a:gd name="T10" fmla="*/ 1993 w 9"/>
                  <a:gd name="T11" fmla="*/ 4077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8">
                    <a:moveTo>
                      <a:pt x="5" y="8"/>
                    </a:moveTo>
                    <a:cubicBezTo>
                      <a:pt x="2" y="8"/>
                      <a:pt x="0" y="6"/>
                      <a:pt x="0" y="4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7" y="0"/>
                      <a:pt x="9" y="1"/>
                      <a:pt x="9" y="4"/>
                    </a:cubicBezTo>
                    <a:cubicBezTo>
                      <a:pt x="9" y="6"/>
                      <a:pt x="7" y="8"/>
                      <a:pt x="5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109" name="Freeform 824"/>
              <p:cNvSpPr>
                <a:spLocks noChangeArrowheads="1"/>
              </p:cNvSpPr>
              <p:nvPr/>
            </p:nvSpPr>
            <p:spPr bwMode="auto">
              <a:xfrm>
                <a:off x="5581" y="644"/>
                <a:ext cx="10" cy="11"/>
              </a:xfrm>
              <a:custGeom>
                <a:avLst/>
                <a:gdLst>
                  <a:gd name="T0" fmla="*/ 868 w 8"/>
                  <a:gd name="T1" fmla="*/ 4077 h 8"/>
                  <a:gd name="T2" fmla="*/ 868 w 8"/>
                  <a:gd name="T3" fmla="*/ 4077 h 8"/>
                  <a:gd name="T4" fmla="*/ 0 w 8"/>
                  <a:gd name="T5" fmla="*/ 2164 h 8"/>
                  <a:gd name="T6" fmla="*/ 0 w 8"/>
                  <a:gd name="T7" fmla="*/ 2164 h 8"/>
                  <a:gd name="T8" fmla="*/ 868 w 8"/>
                  <a:gd name="T9" fmla="*/ 0 h 8"/>
                  <a:gd name="T10" fmla="*/ 1780 w 8"/>
                  <a:gd name="T11" fmla="*/ 2164 h 8"/>
                  <a:gd name="T12" fmla="*/ 868 w 8"/>
                  <a:gd name="T13" fmla="*/ 4077 h 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8" h="8">
                    <a:moveTo>
                      <a:pt x="4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6"/>
                      <a:pt x="6" y="8"/>
                      <a:pt x="4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110" name="Freeform 825"/>
              <p:cNvSpPr>
                <a:spLocks noChangeArrowheads="1"/>
              </p:cNvSpPr>
              <p:nvPr/>
            </p:nvSpPr>
            <p:spPr bwMode="auto">
              <a:xfrm>
                <a:off x="5559" y="658"/>
                <a:ext cx="13" cy="11"/>
              </a:xfrm>
              <a:custGeom>
                <a:avLst/>
                <a:gdLst>
                  <a:gd name="T0" fmla="*/ 3194 w 9"/>
                  <a:gd name="T1" fmla="*/ 4077 h 8"/>
                  <a:gd name="T2" fmla="*/ 0 w 9"/>
                  <a:gd name="T3" fmla="*/ 2164 h 8"/>
                  <a:gd name="T4" fmla="*/ 0 w 9"/>
                  <a:gd name="T5" fmla="*/ 2164 h 8"/>
                  <a:gd name="T6" fmla="*/ 3194 w 9"/>
                  <a:gd name="T7" fmla="*/ 0 h 8"/>
                  <a:gd name="T8" fmla="*/ 3194 w 9"/>
                  <a:gd name="T9" fmla="*/ 0 h 8"/>
                  <a:gd name="T10" fmla="*/ 7173 w 9"/>
                  <a:gd name="T11" fmla="*/ 2164 h 8"/>
                  <a:gd name="T12" fmla="*/ 3194 w 9"/>
                  <a:gd name="T13" fmla="*/ 4077 h 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8">
                    <a:moveTo>
                      <a:pt x="4" y="8"/>
                    </a:moveTo>
                    <a:cubicBezTo>
                      <a:pt x="2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7" y="0"/>
                      <a:pt x="9" y="1"/>
                      <a:pt x="9" y="4"/>
                    </a:cubicBezTo>
                    <a:cubicBezTo>
                      <a:pt x="9" y="6"/>
                      <a:pt x="7" y="8"/>
                      <a:pt x="4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111" name="Freeform 826"/>
              <p:cNvSpPr>
                <a:spLocks noChangeArrowheads="1"/>
              </p:cNvSpPr>
              <p:nvPr/>
            </p:nvSpPr>
            <p:spPr bwMode="auto">
              <a:xfrm>
                <a:off x="5538" y="644"/>
                <a:ext cx="12" cy="11"/>
              </a:xfrm>
              <a:custGeom>
                <a:avLst/>
                <a:gdLst>
                  <a:gd name="T0" fmla="*/ 1993 w 9"/>
                  <a:gd name="T1" fmla="*/ 4077 h 8"/>
                  <a:gd name="T2" fmla="*/ 1495 w 9"/>
                  <a:gd name="T3" fmla="*/ 4077 h 8"/>
                  <a:gd name="T4" fmla="*/ 0 w 9"/>
                  <a:gd name="T5" fmla="*/ 2164 h 8"/>
                  <a:gd name="T6" fmla="*/ 0 w 9"/>
                  <a:gd name="T7" fmla="*/ 2164 h 8"/>
                  <a:gd name="T8" fmla="*/ 1993 w 9"/>
                  <a:gd name="T9" fmla="*/ 0 h 8"/>
                  <a:gd name="T10" fmla="*/ 3489 w 9"/>
                  <a:gd name="T11" fmla="*/ 2164 h 8"/>
                  <a:gd name="T12" fmla="*/ 1993 w 9"/>
                  <a:gd name="T13" fmla="*/ 4077 h 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8">
                    <a:moveTo>
                      <a:pt x="5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6"/>
                      <a:pt x="7" y="8"/>
                      <a:pt x="5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112" name="Freeform 827"/>
              <p:cNvSpPr>
                <a:spLocks noChangeArrowheads="1"/>
              </p:cNvSpPr>
              <p:nvPr/>
            </p:nvSpPr>
            <p:spPr bwMode="auto">
              <a:xfrm>
                <a:off x="5518" y="658"/>
                <a:ext cx="11" cy="11"/>
              </a:xfrm>
              <a:custGeom>
                <a:avLst/>
                <a:gdLst>
                  <a:gd name="T0" fmla="*/ 2164 w 8"/>
                  <a:gd name="T1" fmla="*/ 4077 h 8"/>
                  <a:gd name="T2" fmla="*/ 0 w 8"/>
                  <a:gd name="T3" fmla="*/ 2164 h 8"/>
                  <a:gd name="T4" fmla="*/ 0 w 8"/>
                  <a:gd name="T5" fmla="*/ 2164 h 8"/>
                  <a:gd name="T6" fmla="*/ 2164 w 8"/>
                  <a:gd name="T7" fmla="*/ 0 h 8"/>
                  <a:gd name="T8" fmla="*/ 2164 w 8"/>
                  <a:gd name="T9" fmla="*/ 0 h 8"/>
                  <a:gd name="T10" fmla="*/ 4077 w 8"/>
                  <a:gd name="T11" fmla="*/ 2164 h 8"/>
                  <a:gd name="T12" fmla="*/ 2164 w 8"/>
                  <a:gd name="T13" fmla="*/ 4077 h 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8" h="8">
                    <a:moveTo>
                      <a:pt x="4" y="8"/>
                    </a:moveTo>
                    <a:cubicBezTo>
                      <a:pt x="2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1"/>
                      <a:pt x="1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6" y="0"/>
                      <a:pt x="8" y="1"/>
                      <a:pt x="8" y="4"/>
                    </a:cubicBezTo>
                    <a:cubicBezTo>
                      <a:pt x="8" y="6"/>
                      <a:pt x="6" y="8"/>
                      <a:pt x="4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113" name="Freeform 828"/>
              <p:cNvSpPr>
                <a:spLocks noChangeArrowheads="1"/>
              </p:cNvSpPr>
              <p:nvPr/>
            </p:nvSpPr>
            <p:spPr bwMode="auto">
              <a:xfrm>
                <a:off x="5498" y="644"/>
                <a:ext cx="12" cy="11"/>
              </a:xfrm>
              <a:custGeom>
                <a:avLst/>
                <a:gdLst>
                  <a:gd name="T0" fmla="*/ 1495 w 9"/>
                  <a:gd name="T1" fmla="*/ 4077 h 8"/>
                  <a:gd name="T2" fmla="*/ 1495 w 9"/>
                  <a:gd name="T3" fmla="*/ 4077 h 8"/>
                  <a:gd name="T4" fmla="*/ 0 w 9"/>
                  <a:gd name="T5" fmla="*/ 2164 h 8"/>
                  <a:gd name="T6" fmla="*/ 0 w 9"/>
                  <a:gd name="T7" fmla="*/ 2164 h 8"/>
                  <a:gd name="T8" fmla="*/ 1495 w 9"/>
                  <a:gd name="T9" fmla="*/ 0 h 8"/>
                  <a:gd name="T10" fmla="*/ 3489 w 9"/>
                  <a:gd name="T11" fmla="*/ 2164 h 8"/>
                  <a:gd name="T12" fmla="*/ 1495 w 9"/>
                  <a:gd name="T13" fmla="*/ 4077 h 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8">
                    <a:moveTo>
                      <a:pt x="4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6"/>
                      <a:pt x="7" y="8"/>
                      <a:pt x="4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114" name="Freeform 829"/>
              <p:cNvSpPr>
                <a:spLocks noChangeArrowheads="1"/>
              </p:cNvSpPr>
              <p:nvPr/>
            </p:nvSpPr>
            <p:spPr bwMode="auto">
              <a:xfrm>
                <a:off x="5744" y="644"/>
                <a:ext cx="13" cy="11"/>
              </a:xfrm>
              <a:custGeom>
                <a:avLst/>
                <a:gdLst>
                  <a:gd name="T0" fmla="*/ 3860 w 9"/>
                  <a:gd name="T1" fmla="*/ 4077 h 8"/>
                  <a:gd name="T2" fmla="*/ 3194 w 9"/>
                  <a:gd name="T3" fmla="*/ 4077 h 8"/>
                  <a:gd name="T4" fmla="*/ 0 w 9"/>
                  <a:gd name="T5" fmla="*/ 2164 h 8"/>
                  <a:gd name="T6" fmla="*/ 3194 w 9"/>
                  <a:gd name="T7" fmla="*/ 0 h 8"/>
                  <a:gd name="T8" fmla="*/ 7173 w 9"/>
                  <a:gd name="T9" fmla="*/ 2164 h 8"/>
                  <a:gd name="T10" fmla="*/ 3860 w 9"/>
                  <a:gd name="T11" fmla="*/ 4077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8">
                    <a:moveTo>
                      <a:pt x="5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0" y="6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6"/>
                      <a:pt x="7" y="8"/>
                      <a:pt x="5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115" name="Freeform 830"/>
              <p:cNvSpPr>
                <a:spLocks noChangeArrowheads="1"/>
              </p:cNvSpPr>
              <p:nvPr/>
            </p:nvSpPr>
            <p:spPr bwMode="auto">
              <a:xfrm>
                <a:off x="5723" y="658"/>
                <a:ext cx="13" cy="11"/>
              </a:xfrm>
              <a:custGeom>
                <a:avLst/>
                <a:gdLst>
                  <a:gd name="T0" fmla="*/ 3225 w 9"/>
                  <a:gd name="T1" fmla="*/ 4077 h 8"/>
                  <a:gd name="T2" fmla="*/ 0 w 9"/>
                  <a:gd name="T3" fmla="*/ 2164 h 8"/>
                  <a:gd name="T4" fmla="*/ 0 w 9"/>
                  <a:gd name="T5" fmla="*/ 2164 h 8"/>
                  <a:gd name="T6" fmla="*/ 3225 w 9"/>
                  <a:gd name="T7" fmla="*/ 0 h 8"/>
                  <a:gd name="T8" fmla="*/ 3225 w 9"/>
                  <a:gd name="T9" fmla="*/ 0 h 8"/>
                  <a:gd name="T10" fmla="*/ 5642 w 9"/>
                  <a:gd name="T11" fmla="*/ 2164 h 8"/>
                  <a:gd name="T12" fmla="*/ 3225 w 9"/>
                  <a:gd name="T13" fmla="*/ 4077 h 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8">
                    <a:moveTo>
                      <a:pt x="5" y="8"/>
                    </a:moveTo>
                    <a:cubicBezTo>
                      <a:pt x="2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1"/>
                      <a:pt x="2" y="0"/>
                      <a:pt x="5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7" y="0"/>
                      <a:pt x="9" y="1"/>
                      <a:pt x="9" y="4"/>
                    </a:cubicBezTo>
                    <a:cubicBezTo>
                      <a:pt x="9" y="6"/>
                      <a:pt x="7" y="8"/>
                      <a:pt x="5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116" name="Freeform 831"/>
              <p:cNvSpPr>
                <a:spLocks noChangeArrowheads="1"/>
              </p:cNvSpPr>
              <p:nvPr/>
            </p:nvSpPr>
            <p:spPr bwMode="auto">
              <a:xfrm>
                <a:off x="5704" y="644"/>
                <a:ext cx="11" cy="11"/>
              </a:xfrm>
              <a:custGeom>
                <a:avLst/>
                <a:gdLst>
                  <a:gd name="T0" fmla="*/ 2164 w 8"/>
                  <a:gd name="T1" fmla="*/ 4077 h 8"/>
                  <a:gd name="T2" fmla="*/ 2164 w 8"/>
                  <a:gd name="T3" fmla="*/ 4077 h 8"/>
                  <a:gd name="T4" fmla="*/ 0 w 8"/>
                  <a:gd name="T5" fmla="*/ 2164 h 8"/>
                  <a:gd name="T6" fmla="*/ 0 w 8"/>
                  <a:gd name="T7" fmla="*/ 2164 h 8"/>
                  <a:gd name="T8" fmla="*/ 2164 w 8"/>
                  <a:gd name="T9" fmla="*/ 0 h 8"/>
                  <a:gd name="T10" fmla="*/ 4077 w 8"/>
                  <a:gd name="T11" fmla="*/ 2164 h 8"/>
                  <a:gd name="T12" fmla="*/ 2164 w 8"/>
                  <a:gd name="T13" fmla="*/ 4077 h 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8" h="8">
                    <a:moveTo>
                      <a:pt x="4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6"/>
                      <a:pt x="7" y="8"/>
                      <a:pt x="4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117" name="Freeform 832"/>
              <p:cNvSpPr>
                <a:spLocks noChangeArrowheads="1"/>
              </p:cNvSpPr>
              <p:nvPr/>
            </p:nvSpPr>
            <p:spPr bwMode="auto">
              <a:xfrm>
                <a:off x="5683" y="658"/>
                <a:ext cx="13" cy="11"/>
              </a:xfrm>
              <a:custGeom>
                <a:avLst/>
                <a:gdLst>
                  <a:gd name="T0" fmla="*/ 2417 w 9"/>
                  <a:gd name="T1" fmla="*/ 4077 h 8"/>
                  <a:gd name="T2" fmla="*/ 0 w 9"/>
                  <a:gd name="T3" fmla="*/ 2164 h 8"/>
                  <a:gd name="T4" fmla="*/ 2417 w 9"/>
                  <a:gd name="T5" fmla="*/ 0 h 8"/>
                  <a:gd name="T6" fmla="*/ 3225 w 9"/>
                  <a:gd name="T7" fmla="*/ 0 h 8"/>
                  <a:gd name="T8" fmla="*/ 5642 w 9"/>
                  <a:gd name="T9" fmla="*/ 2164 h 8"/>
                  <a:gd name="T10" fmla="*/ 2417 w 9"/>
                  <a:gd name="T11" fmla="*/ 4077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8">
                    <a:moveTo>
                      <a:pt x="4" y="8"/>
                    </a:moveTo>
                    <a:cubicBezTo>
                      <a:pt x="2" y="8"/>
                      <a:pt x="0" y="6"/>
                      <a:pt x="0" y="4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7" y="0"/>
                      <a:pt x="9" y="1"/>
                      <a:pt x="9" y="4"/>
                    </a:cubicBezTo>
                    <a:cubicBezTo>
                      <a:pt x="9" y="6"/>
                      <a:pt x="7" y="8"/>
                      <a:pt x="4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118" name="Freeform 833"/>
              <p:cNvSpPr>
                <a:spLocks noChangeArrowheads="1"/>
              </p:cNvSpPr>
              <p:nvPr/>
            </p:nvSpPr>
            <p:spPr bwMode="auto">
              <a:xfrm>
                <a:off x="5662" y="644"/>
                <a:ext cx="13" cy="11"/>
              </a:xfrm>
              <a:custGeom>
                <a:avLst/>
                <a:gdLst>
                  <a:gd name="T0" fmla="*/ 3860 w 9"/>
                  <a:gd name="T1" fmla="*/ 4077 h 8"/>
                  <a:gd name="T2" fmla="*/ 3860 w 9"/>
                  <a:gd name="T3" fmla="*/ 4077 h 8"/>
                  <a:gd name="T4" fmla="*/ 0 w 9"/>
                  <a:gd name="T5" fmla="*/ 2164 h 8"/>
                  <a:gd name="T6" fmla="*/ 0 w 9"/>
                  <a:gd name="T7" fmla="*/ 2164 h 8"/>
                  <a:gd name="T8" fmla="*/ 3860 w 9"/>
                  <a:gd name="T9" fmla="*/ 0 h 8"/>
                  <a:gd name="T10" fmla="*/ 7173 w 9"/>
                  <a:gd name="T11" fmla="*/ 2164 h 8"/>
                  <a:gd name="T12" fmla="*/ 3860 w 9"/>
                  <a:gd name="T13" fmla="*/ 4077 h 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8">
                    <a:moveTo>
                      <a:pt x="5" y="8"/>
                    </a:moveTo>
                    <a:cubicBezTo>
                      <a:pt x="5" y="8"/>
                      <a:pt x="5" y="8"/>
                      <a:pt x="5" y="8"/>
                    </a:cubicBezTo>
                    <a:cubicBezTo>
                      <a:pt x="2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6"/>
                      <a:pt x="7" y="8"/>
                      <a:pt x="5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119" name="Freeform 834"/>
              <p:cNvSpPr>
                <a:spLocks noChangeArrowheads="1"/>
              </p:cNvSpPr>
              <p:nvPr/>
            </p:nvSpPr>
            <p:spPr bwMode="auto">
              <a:xfrm>
                <a:off x="5642" y="658"/>
                <a:ext cx="11" cy="11"/>
              </a:xfrm>
              <a:custGeom>
                <a:avLst/>
                <a:gdLst>
                  <a:gd name="T0" fmla="*/ 2164 w 8"/>
                  <a:gd name="T1" fmla="*/ 4077 h 8"/>
                  <a:gd name="T2" fmla="*/ 0 w 8"/>
                  <a:gd name="T3" fmla="*/ 2164 h 8"/>
                  <a:gd name="T4" fmla="*/ 0 w 8"/>
                  <a:gd name="T5" fmla="*/ 2164 h 8"/>
                  <a:gd name="T6" fmla="*/ 2164 w 8"/>
                  <a:gd name="T7" fmla="*/ 0 h 8"/>
                  <a:gd name="T8" fmla="*/ 2164 w 8"/>
                  <a:gd name="T9" fmla="*/ 0 h 8"/>
                  <a:gd name="T10" fmla="*/ 4077 w 8"/>
                  <a:gd name="T11" fmla="*/ 2164 h 8"/>
                  <a:gd name="T12" fmla="*/ 4077 w 8"/>
                  <a:gd name="T13" fmla="*/ 2164 h 8"/>
                  <a:gd name="T14" fmla="*/ 2164 w 8"/>
                  <a:gd name="T15" fmla="*/ 4077 h 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8" h="8">
                    <a:moveTo>
                      <a:pt x="4" y="8"/>
                    </a:moveTo>
                    <a:cubicBezTo>
                      <a:pt x="2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6" y="0"/>
                      <a:pt x="8" y="1"/>
                      <a:pt x="8" y="4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6"/>
                      <a:pt x="6" y="8"/>
                      <a:pt x="4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120" name="Freeform 835"/>
              <p:cNvSpPr>
                <a:spLocks noChangeArrowheads="1"/>
              </p:cNvSpPr>
              <p:nvPr/>
            </p:nvSpPr>
            <p:spPr bwMode="auto">
              <a:xfrm>
                <a:off x="5621" y="644"/>
                <a:ext cx="13" cy="11"/>
              </a:xfrm>
              <a:custGeom>
                <a:avLst/>
                <a:gdLst>
                  <a:gd name="T0" fmla="*/ 2417 w 9"/>
                  <a:gd name="T1" fmla="*/ 4077 h 8"/>
                  <a:gd name="T2" fmla="*/ 2417 w 9"/>
                  <a:gd name="T3" fmla="*/ 4077 h 8"/>
                  <a:gd name="T4" fmla="*/ 0 w 9"/>
                  <a:gd name="T5" fmla="*/ 2164 h 8"/>
                  <a:gd name="T6" fmla="*/ 2417 w 9"/>
                  <a:gd name="T7" fmla="*/ 0 h 8"/>
                  <a:gd name="T8" fmla="*/ 5642 w 9"/>
                  <a:gd name="T9" fmla="*/ 2164 h 8"/>
                  <a:gd name="T10" fmla="*/ 2417 w 9"/>
                  <a:gd name="T11" fmla="*/ 4077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8">
                    <a:moveTo>
                      <a:pt x="4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0" y="6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6"/>
                      <a:pt x="7" y="8"/>
                      <a:pt x="4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121" name="Freeform 836"/>
              <p:cNvSpPr>
                <a:spLocks noChangeArrowheads="1"/>
              </p:cNvSpPr>
              <p:nvPr/>
            </p:nvSpPr>
            <p:spPr bwMode="auto">
              <a:xfrm>
                <a:off x="5393" y="658"/>
                <a:ext cx="13" cy="11"/>
              </a:xfrm>
              <a:custGeom>
                <a:avLst/>
                <a:gdLst>
                  <a:gd name="T0" fmla="*/ 3225 w 9"/>
                  <a:gd name="T1" fmla="*/ 4077 h 8"/>
                  <a:gd name="T2" fmla="*/ 0 w 9"/>
                  <a:gd name="T3" fmla="*/ 2164 h 8"/>
                  <a:gd name="T4" fmla="*/ 0 w 9"/>
                  <a:gd name="T5" fmla="*/ 2164 h 8"/>
                  <a:gd name="T6" fmla="*/ 3225 w 9"/>
                  <a:gd name="T7" fmla="*/ 0 h 8"/>
                  <a:gd name="T8" fmla="*/ 3225 w 9"/>
                  <a:gd name="T9" fmla="*/ 0 h 8"/>
                  <a:gd name="T10" fmla="*/ 5642 w 9"/>
                  <a:gd name="T11" fmla="*/ 2164 h 8"/>
                  <a:gd name="T12" fmla="*/ 3225 w 9"/>
                  <a:gd name="T13" fmla="*/ 4077 h 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8">
                    <a:moveTo>
                      <a:pt x="5" y="8"/>
                    </a:moveTo>
                    <a:cubicBezTo>
                      <a:pt x="2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1"/>
                      <a:pt x="2" y="0"/>
                      <a:pt x="5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7" y="0"/>
                      <a:pt x="9" y="1"/>
                      <a:pt x="9" y="4"/>
                    </a:cubicBezTo>
                    <a:cubicBezTo>
                      <a:pt x="9" y="6"/>
                      <a:pt x="7" y="8"/>
                      <a:pt x="5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122" name="Freeform 837"/>
              <p:cNvSpPr>
                <a:spLocks noChangeArrowheads="1"/>
              </p:cNvSpPr>
              <p:nvPr/>
            </p:nvSpPr>
            <p:spPr bwMode="auto">
              <a:xfrm>
                <a:off x="5312" y="658"/>
                <a:ext cx="11" cy="11"/>
              </a:xfrm>
              <a:custGeom>
                <a:avLst/>
                <a:gdLst>
                  <a:gd name="T0" fmla="*/ 2164 w 8"/>
                  <a:gd name="T1" fmla="*/ 4077 h 8"/>
                  <a:gd name="T2" fmla="*/ 0 w 8"/>
                  <a:gd name="T3" fmla="*/ 2164 h 8"/>
                  <a:gd name="T4" fmla="*/ 0 w 8"/>
                  <a:gd name="T5" fmla="*/ 2164 h 8"/>
                  <a:gd name="T6" fmla="*/ 2164 w 8"/>
                  <a:gd name="T7" fmla="*/ 0 h 8"/>
                  <a:gd name="T8" fmla="*/ 2164 w 8"/>
                  <a:gd name="T9" fmla="*/ 0 h 8"/>
                  <a:gd name="T10" fmla="*/ 4077 w 8"/>
                  <a:gd name="T11" fmla="*/ 2164 h 8"/>
                  <a:gd name="T12" fmla="*/ 2164 w 8"/>
                  <a:gd name="T13" fmla="*/ 4077 h 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8" h="8">
                    <a:moveTo>
                      <a:pt x="4" y="8"/>
                    </a:moveTo>
                    <a:cubicBezTo>
                      <a:pt x="2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6" y="0"/>
                      <a:pt x="8" y="1"/>
                      <a:pt x="8" y="4"/>
                    </a:cubicBezTo>
                    <a:cubicBezTo>
                      <a:pt x="8" y="6"/>
                      <a:pt x="6" y="8"/>
                      <a:pt x="4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123" name="Freeform 838"/>
              <p:cNvSpPr>
                <a:spLocks noChangeArrowheads="1"/>
              </p:cNvSpPr>
              <p:nvPr/>
            </p:nvSpPr>
            <p:spPr bwMode="auto">
              <a:xfrm>
                <a:off x="4961" y="644"/>
                <a:ext cx="13" cy="11"/>
              </a:xfrm>
              <a:custGeom>
                <a:avLst/>
                <a:gdLst>
                  <a:gd name="T0" fmla="*/ 3194 w 9"/>
                  <a:gd name="T1" fmla="*/ 4077 h 8"/>
                  <a:gd name="T2" fmla="*/ 3194 w 9"/>
                  <a:gd name="T3" fmla="*/ 4077 h 8"/>
                  <a:gd name="T4" fmla="*/ 0 w 9"/>
                  <a:gd name="T5" fmla="*/ 2164 h 8"/>
                  <a:gd name="T6" fmla="*/ 0 w 9"/>
                  <a:gd name="T7" fmla="*/ 2164 h 8"/>
                  <a:gd name="T8" fmla="*/ 3194 w 9"/>
                  <a:gd name="T9" fmla="*/ 0 h 8"/>
                  <a:gd name="T10" fmla="*/ 7173 w 9"/>
                  <a:gd name="T11" fmla="*/ 2164 h 8"/>
                  <a:gd name="T12" fmla="*/ 3194 w 9"/>
                  <a:gd name="T13" fmla="*/ 4077 h 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8">
                    <a:moveTo>
                      <a:pt x="4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6"/>
                      <a:pt x="7" y="8"/>
                      <a:pt x="4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124" name="Freeform 839"/>
              <p:cNvSpPr>
                <a:spLocks noChangeArrowheads="1"/>
              </p:cNvSpPr>
              <p:nvPr/>
            </p:nvSpPr>
            <p:spPr bwMode="auto">
              <a:xfrm>
                <a:off x="5373" y="644"/>
                <a:ext cx="11" cy="11"/>
              </a:xfrm>
              <a:custGeom>
                <a:avLst/>
                <a:gdLst>
                  <a:gd name="T0" fmla="*/ 2164 w 8"/>
                  <a:gd name="T1" fmla="*/ 4077 h 8"/>
                  <a:gd name="T2" fmla="*/ 2164 w 8"/>
                  <a:gd name="T3" fmla="*/ 4077 h 8"/>
                  <a:gd name="T4" fmla="*/ 0 w 8"/>
                  <a:gd name="T5" fmla="*/ 2164 h 8"/>
                  <a:gd name="T6" fmla="*/ 0 w 8"/>
                  <a:gd name="T7" fmla="*/ 2164 h 8"/>
                  <a:gd name="T8" fmla="*/ 2164 w 8"/>
                  <a:gd name="T9" fmla="*/ 0 h 8"/>
                  <a:gd name="T10" fmla="*/ 4077 w 8"/>
                  <a:gd name="T11" fmla="*/ 2164 h 8"/>
                  <a:gd name="T12" fmla="*/ 2164 w 8"/>
                  <a:gd name="T13" fmla="*/ 4077 h 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8" h="8">
                    <a:moveTo>
                      <a:pt x="4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6"/>
                      <a:pt x="6" y="8"/>
                      <a:pt x="4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125" name="Freeform 840"/>
              <p:cNvSpPr>
                <a:spLocks noChangeArrowheads="1"/>
              </p:cNvSpPr>
              <p:nvPr/>
            </p:nvSpPr>
            <p:spPr bwMode="auto">
              <a:xfrm>
                <a:off x="5002" y="644"/>
                <a:ext cx="12" cy="11"/>
              </a:xfrm>
              <a:custGeom>
                <a:avLst/>
                <a:gdLst>
                  <a:gd name="T0" fmla="*/ 1993 w 9"/>
                  <a:gd name="T1" fmla="*/ 4077 h 8"/>
                  <a:gd name="T2" fmla="*/ 1993 w 9"/>
                  <a:gd name="T3" fmla="*/ 4077 h 8"/>
                  <a:gd name="T4" fmla="*/ 0 w 9"/>
                  <a:gd name="T5" fmla="*/ 2164 h 8"/>
                  <a:gd name="T6" fmla="*/ 0 w 9"/>
                  <a:gd name="T7" fmla="*/ 2164 h 8"/>
                  <a:gd name="T8" fmla="*/ 1993 w 9"/>
                  <a:gd name="T9" fmla="*/ 0 h 8"/>
                  <a:gd name="T10" fmla="*/ 3489 w 9"/>
                  <a:gd name="T11" fmla="*/ 2164 h 8"/>
                  <a:gd name="T12" fmla="*/ 1993 w 9"/>
                  <a:gd name="T13" fmla="*/ 4077 h 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8">
                    <a:moveTo>
                      <a:pt x="5" y="8"/>
                    </a:moveTo>
                    <a:cubicBezTo>
                      <a:pt x="5" y="8"/>
                      <a:pt x="5" y="8"/>
                      <a:pt x="5" y="8"/>
                    </a:cubicBezTo>
                    <a:cubicBezTo>
                      <a:pt x="2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6"/>
                      <a:pt x="7" y="8"/>
                      <a:pt x="5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126" name="Freeform 841"/>
              <p:cNvSpPr>
                <a:spLocks noChangeArrowheads="1"/>
              </p:cNvSpPr>
              <p:nvPr/>
            </p:nvSpPr>
            <p:spPr bwMode="auto">
              <a:xfrm>
                <a:off x="5476" y="678"/>
                <a:ext cx="12" cy="12"/>
              </a:xfrm>
              <a:custGeom>
                <a:avLst/>
                <a:gdLst>
                  <a:gd name="T0" fmla="*/ 1495 w 9"/>
                  <a:gd name="T1" fmla="*/ 3489 h 9"/>
                  <a:gd name="T2" fmla="*/ 0 w 9"/>
                  <a:gd name="T3" fmla="*/ 1993 h 9"/>
                  <a:gd name="T4" fmla="*/ 0 w 9"/>
                  <a:gd name="T5" fmla="*/ 1993 h 9"/>
                  <a:gd name="T6" fmla="*/ 1495 w 9"/>
                  <a:gd name="T7" fmla="*/ 0 h 9"/>
                  <a:gd name="T8" fmla="*/ 3489 w 9"/>
                  <a:gd name="T9" fmla="*/ 1993 h 9"/>
                  <a:gd name="T10" fmla="*/ 1495 w 9"/>
                  <a:gd name="T11" fmla="*/ 3489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5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127" name="Freeform 842"/>
              <p:cNvSpPr>
                <a:spLocks noChangeArrowheads="1"/>
              </p:cNvSpPr>
              <p:nvPr/>
            </p:nvSpPr>
            <p:spPr bwMode="auto">
              <a:xfrm>
                <a:off x="5415" y="665"/>
                <a:ext cx="13" cy="11"/>
              </a:xfrm>
              <a:custGeom>
                <a:avLst/>
                <a:gdLst>
                  <a:gd name="T0" fmla="*/ 2417 w 9"/>
                  <a:gd name="T1" fmla="*/ 4077 h 8"/>
                  <a:gd name="T2" fmla="*/ 0 w 9"/>
                  <a:gd name="T3" fmla="*/ 2164 h 8"/>
                  <a:gd name="T4" fmla="*/ 0 w 9"/>
                  <a:gd name="T5" fmla="*/ 2164 h 8"/>
                  <a:gd name="T6" fmla="*/ 2417 w 9"/>
                  <a:gd name="T7" fmla="*/ 0 h 8"/>
                  <a:gd name="T8" fmla="*/ 3225 w 9"/>
                  <a:gd name="T9" fmla="*/ 0 h 8"/>
                  <a:gd name="T10" fmla="*/ 5642 w 9"/>
                  <a:gd name="T11" fmla="*/ 2164 h 8"/>
                  <a:gd name="T12" fmla="*/ 2417 w 9"/>
                  <a:gd name="T13" fmla="*/ 4077 h 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8">
                    <a:moveTo>
                      <a:pt x="4" y="8"/>
                    </a:moveTo>
                    <a:cubicBezTo>
                      <a:pt x="2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7" y="0"/>
                      <a:pt x="9" y="1"/>
                      <a:pt x="9" y="4"/>
                    </a:cubicBezTo>
                    <a:cubicBezTo>
                      <a:pt x="9" y="6"/>
                      <a:pt x="7" y="8"/>
                      <a:pt x="4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128" name="Oval 843"/>
              <p:cNvSpPr>
                <a:spLocks noChangeArrowheads="1"/>
              </p:cNvSpPr>
              <p:nvPr/>
            </p:nvSpPr>
            <p:spPr bwMode="auto">
              <a:xfrm>
                <a:off x="5601" y="678"/>
                <a:ext cx="12" cy="12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US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129" name="Freeform 844"/>
              <p:cNvSpPr>
                <a:spLocks noChangeArrowheads="1"/>
              </p:cNvSpPr>
              <p:nvPr/>
            </p:nvSpPr>
            <p:spPr bwMode="auto">
              <a:xfrm>
                <a:off x="5581" y="665"/>
                <a:ext cx="10" cy="11"/>
              </a:xfrm>
              <a:custGeom>
                <a:avLst/>
                <a:gdLst>
                  <a:gd name="T0" fmla="*/ 868 w 8"/>
                  <a:gd name="T1" fmla="*/ 4077 h 8"/>
                  <a:gd name="T2" fmla="*/ 0 w 8"/>
                  <a:gd name="T3" fmla="*/ 2164 h 8"/>
                  <a:gd name="T4" fmla="*/ 0 w 8"/>
                  <a:gd name="T5" fmla="*/ 2164 h 8"/>
                  <a:gd name="T6" fmla="*/ 868 w 8"/>
                  <a:gd name="T7" fmla="*/ 0 h 8"/>
                  <a:gd name="T8" fmla="*/ 868 w 8"/>
                  <a:gd name="T9" fmla="*/ 0 h 8"/>
                  <a:gd name="T10" fmla="*/ 1780 w 8"/>
                  <a:gd name="T11" fmla="*/ 2164 h 8"/>
                  <a:gd name="T12" fmla="*/ 868 w 8"/>
                  <a:gd name="T13" fmla="*/ 4077 h 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8" h="8">
                    <a:moveTo>
                      <a:pt x="4" y="8"/>
                    </a:moveTo>
                    <a:cubicBezTo>
                      <a:pt x="2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6" y="0"/>
                      <a:pt x="8" y="1"/>
                      <a:pt x="8" y="4"/>
                    </a:cubicBezTo>
                    <a:cubicBezTo>
                      <a:pt x="8" y="6"/>
                      <a:pt x="6" y="8"/>
                      <a:pt x="4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130" name="Freeform 845"/>
              <p:cNvSpPr>
                <a:spLocks noChangeArrowheads="1"/>
              </p:cNvSpPr>
              <p:nvPr/>
            </p:nvSpPr>
            <p:spPr bwMode="auto">
              <a:xfrm>
                <a:off x="5559" y="678"/>
                <a:ext cx="13" cy="12"/>
              </a:xfrm>
              <a:custGeom>
                <a:avLst/>
                <a:gdLst>
                  <a:gd name="T0" fmla="*/ 3194 w 9"/>
                  <a:gd name="T1" fmla="*/ 3489 h 9"/>
                  <a:gd name="T2" fmla="*/ 0 w 9"/>
                  <a:gd name="T3" fmla="*/ 1993 h 9"/>
                  <a:gd name="T4" fmla="*/ 0 w 9"/>
                  <a:gd name="T5" fmla="*/ 1993 h 9"/>
                  <a:gd name="T6" fmla="*/ 3194 w 9"/>
                  <a:gd name="T7" fmla="*/ 0 h 9"/>
                  <a:gd name="T8" fmla="*/ 7173 w 9"/>
                  <a:gd name="T9" fmla="*/ 1993 h 9"/>
                  <a:gd name="T10" fmla="*/ 3194 w 9"/>
                  <a:gd name="T11" fmla="*/ 3489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5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131" name="Freeform 846"/>
              <p:cNvSpPr>
                <a:spLocks noChangeArrowheads="1"/>
              </p:cNvSpPr>
              <p:nvPr/>
            </p:nvSpPr>
            <p:spPr bwMode="auto">
              <a:xfrm>
                <a:off x="5538" y="665"/>
                <a:ext cx="12" cy="11"/>
              </a:xfrm>
              <a:custGeom>
                <a:avLst/>
                <a:gdLst>
                  <a:gd name="T0" fmla="*/ 1993 w 9"/>
                  <a:gd name="T1" fmla="*/ 4077 h 8"/>
                  <a:gd name="T2" fmla="*/ 0 w 9"/>
                  <a:gd name="T3" fmla="*/ 2164 h 8"/>
                  <a:gd name="T4" fmla="*/ 0 w 9"/>
                  <a:gd name="T5" fmla="*/ 2164 h 8"/>
                  <a:gd name="T6" fmla="*/ 1495 w 9"/>
                  <a:gd name="T7" fmla="*/ 0 h 8"/>
                  <a:gd name="T8" fmla="*/ 1993 w 9"/>
                  <a:gd name="T9" fmla="*/ 0 h 8"/>
                  <a:gd name="T10" fmla="*/ 3489 w 9"/>
                  <a:gd name="T11" fmla="*/ 2164 h 8"/>
                  <a:gd name="T12" fmla="*/ 1993 w 9"/>
                  <a:gd name="T13" fmla="*/ 4077 h 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8">
                    <a:moveTo>
                      <a:pt x="5" y="8"/>
                    </a:moveTo>
                    <a:cubicBezTo>
                      <a:pt x="2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7" y="0"/>
                      <a:pt x="9" y="1"/>
                      <a:pt x="9" y="4"/>
                    </a:cubicBezTo>
                    <a:cubicBezTo>
                      <a:pt x="9" y="6"/>
                      <a:pt x="7" y="8"/>
                      <a:pt x="5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132" name="Freeform 847"/>
              <p:cNvSpPr>
                <a:spLocks noChangeArrowheads="1"/>
              </p:cNvSpPr>
              <p:nvPr/>
            </p:nvSpPr>
            <p:spPr bwMode="auto">
              <a:xfrm>
                <a:off x="5518" y="678"/>
                <a:ext cx="11" cy="12"/>
              </a:xfrm>
              <a:custGeom>
                <a:avLst/>
                <a:gdLst>
                  <a:gd name="T0" fmla="*/ 2164 w 8"/>
                  <a:gd name="T1" fmla="*/ 3489 h 9"/>
                  <a:gd name="T2" fmla="*/ 0 w 8"/>
                  <a:gd name="T3" fmla="*/ 1993 h 9"/>
                  <a:gd name="T4" fmla="*/ 0 w 8"/>
                  <a:gd name="T5" fmla="*/ 1993 h 9"/>
                  <a:gd name="T6" fmla="*/ 2164 w 8"/>
                  <a:gd name="T7" fmla="*/ 0 h 9"/>
                  <a:gd name="T8" fmla="*/ 4077 w 8"/>
                  <a:gd name="T9" fmla="*/ 1993 h 9"/>
                  <a:gd name="T10" fmla="*/ 2164 w 8"/>
                  <a:gd name="T11" fmla="*/ 3489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5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133" name="Freeform 848"/>
              <p:cNvSpPr>
                <a:spLocks noChangeArrowheads="1"/>
              </p:cNvSpPr>
              <p:nvPr/>
            </p:nvSpPr>
            <p:spPr bwMode="auto">
              <a:xfrm>
                <a:off x="5498" y="665"/>
                <a:ext cx="12" cy="11"/>
              </a:xfrm>
              <a:custGeom>
                <a:avLst/>
                <a:gdLst>
                  <a:gd name="T0" fmla="*/ 1495 w 9"/>
                  <a:gd name="T1" fmla="*/ 4077 h 8"/>
                  <a:gd name="T2" fmla="*/ 0 w 9"/>
                  <a:gd name="T3" fmla="*/ 2164 h 8"/>
                  <a:gd name="T4" fmla="*/ 0 w 9"/>
                  <a:gd name="T5" fmla="*/ 2164 h 8"/>
                  <a:gd name="T6" fmla="*/ 1495 w 9"/>
                  <a:gd name="T7" fmla="*/ 0 h 8"/>
                  <a:gd name="T8" fmla="*/ 1495 w 9"/>
                  <a:gd name="T9" fmla="*/ 0 h 8"/>
                  <a:gd name="T10" fmla="*/ 3489 w 9"/>
                  <a:gd name="T11" fmla="*/ 2164 h 8"/>
                  <a:gd name="T12" fmla="*/ 1495 w 9"/>
                  <a:gd name="T13" fmla="*/ 4077 h 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8">
                    <a:moveTo>
                      <a:pt x="4" y="8"/>
                    </a:moveTo>
                    <a:cubicBezTo>
                      <a:pt x="2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7" y="0"/>
                      <a:pt x="9" y="1"/>
                      <a:pt x="9" y="4"/>
                    </a:cubicBezTo>
                    <a:cubicBezTo>
                      <a:pt x="9" y="6"/>
                      <a:pt x="7" y="8"/>
                      <a:pt x="4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134" name="Freeform 849"/>
              <p:cNvSpPr>
                <a:spLocks noChangeArrowheads="1"/>
              </p:cNvSpPr>
              <p:nvPr/>
            </p:nvSpPr>
            <p:spPr bwMode="auto">
              <a:xfrm>
                <a:off x="5744" y="665"/>
                <a:ext cx="13" cy="11"/>
              </a:xfrm>
              <a:custGeom>
                <a:avLst/>
                <a:gdLst>
                  <a:gd name="T0" fmla="*/ 3194 w 9"/>
                  <a:gd name="T1" fmla="*/ 4077 h 8"/>
                  <a:gd name="T2" fmla="*/ 0 w 9"/>
                  <a:gd name="T3" fmla="*/ 2164 h 8"/>
                  <a:gd name="T4" fmla="*/ 3194 w 9"/>
                  <a:gd name="T5" fmla="*/ 0 h 8"/>
                  <a:gd name="T6" fmla="*/ 3860 w 9"/>
                  <a:gd name="T7" fmla="*/ 0 h 8"/>
                  <a:gd name="T8" fmla="*/ 7173 w 9"/>
                  <a:gd name="T9" fmla="*/ 2164 h 8"/>
                  <a:gd name="T10" fmla="*/ 3194 w 9"/>
                  <a:gd name="T11" fmla="*/ 4077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8">
                    <a:moveTo>
                      <a:pt x="4" y="8"/>
                    </a:moveTo>
                    <a:cubicBezTo>
                      <a:pt x="2" y="8"/>
                      <a:pt x="0" y="6"/>
                      <a:pt x="0" y="4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7" y="0"/>
                      <a:pt x="9" y="1"/>
                      <a:pt x="9" y="4"/>
                    </a:cubicBezTo>
                    <a:cubicBezTo>
                      <a:pt x="9" y="6"/>
                      <a:pt x="7" y="8"/>
                      <a:pt x="4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135" name="Freeform 850"/>
              <p:cNvSpPr>
                <a:spLocks noChangeArrowheads="1"/>
              </p:cNvSpPr>
              <p:nvPr/>
            </p:nvSpPr>
            <p:spPr bwMode="auto">
              <a:xfrm>
                <a:off x="5723" y="678"/>
                <a:ext cx="13" cy="12"/>
              </a:xfrm>
              <a:custGeom>
                <a:avLst/>
                <a:gdLst>
                  <a:gd name="T0" fmla="*/ 3225 w 9"/>
                  <a:gd name="T1" fmla="*/ 3489 h 9"/>
                  <a:gd name="T2" fmla="*/ 0 w 9"/>
                  <a:gd name="T3" fmla="*/ 1993 h 9"/>
                  <a:gd name="T4" fmla="*/ 0 w 9"/>
                  <a:gd name="T5" fmla="*/ 1993 h 9"/>
                  <a:gd name="T6" fmla="*/ 3225 w 9"/>
                  <a:gd name="T7" fmla="*/ 0 h 9"/>
                  <a:gd name="T8" fmla="*/ 5642 w 9"/>
                  <a:gd name="T9" fmla="*/ 1993 h 9"/>
                  <a:gd name="T10" fmla="*/ 3225 w 9"/>
                  <a:gd name="T11" fmla="*/ 3489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5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136" name="Freeform 851"/>
              <p:cNvSpPr>
                <a:spLocks noChangeArrowheads="1"/>
              </p:cNvSpPr>
              <p:nvPr/>
            </p:nvSpPr>
            <p:spPr bwMode="auto">
              <a:xfrm>
                <a:off x="5704" y="665"/>
                <a:ext cx="11" cy="11"/>
              </a:xfrm>
              <a:custGeom>
                <a:avLst/>
                <a:gdLst>
                  <a:gd name="T0" fmla="*/ 2164 w 8"/>
                  <a:gd name="T1" fmla="*/ 4077 h 8"/>
                  <a:gd name="T2" fmla="*/ 0 w 8"/>
                  <a:gd name="T3" fmla="*/ 2164 h 8"/>
                  <a:gd name="T4" fmla="*/ 0 w 8"/>
                  <a:gd name="T5" fmla="*/ 2164 h 8"/>
                  <a:gd name="T6" fmla="*/ 2164 w 8"/>
                  <a:gd name="T7" fmla="*/ 0 h 8"/>
                  <a:gd name="T8" fmla="*/ 2164 w 8"/>
                  <a:gd name="T9" fmla="*/ 0 h 8"/>
                  <a:gd name="T10" fmla="*/ 4077 w 8"/>
                  <a:gd name="T11" fmla="*/ 2164 h 8"/>
                  <a:gd name="T12" fmla="*/ 2164 w 8"/>
                  <a:gd name="T13" fmla="*/ 4077 h 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8" h="8">
                    <a:moveTo>
                      <a:pt x="4" y="8"/>
                    </a:moveTo>
                    <a:cubicBezTo>
                      <a:pt x="2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7" y="0"/>
                      <a:pt x="8" y="1"/>
                      <a:pt x="8" y="4"/>
                    </a:cubicBezTo>
                    <a:cubicBezTo>
                      <a:pt x="8" y="6"/>
                      <a:pt x="6" y="8"/>
                      <a:pt x="4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137" name="Oval 852"/>
              <p:cNvSpPr>
                <a:spLocks noChangeArrowheads="1"/>
              </p:cNvSpPr>
              <p:nvPr/>
            </p:nvSpPr>
            <p:spPr bwMode="auto">
              <a:xfrm>
                <a:off x="5683" y="678"/>
                <a:ext cx="13" cy="12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US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138" name="Freeform 853"/>
              <p:cNvSpPr>
                <a:spLocks noChangeArrowheads="1"/>
              </p:cNvSpPr>
              <p:nvPr/>
            </p:nvSpPr>
            <p:spPr bwMode="auto">
              <a:xfrm>
                <a:off x="5662" y="665"/>
                <a:ext cx="13" cy="11"/>
              </a:xfrm>
              <a:custGeom>
                <a:avLst/>
                <a:gdLst>
                  <a:gd name="T0" fmla="*/ 3860 w 9"/>
                  <a:gd name="T1" fmla="*/ 4077 h 8"/>
                  <a:gd name="T2" fmla="*/ 0 w 9"/>
                  <a:gd name="T3" fmla="*/ 2164 h 8"/>
                  <a:gd name="T4" fmla="*/ 0 w 9"/>
                  <a:gd name="T5" fmla="*/ 2164 h 8"/>
                  <a:gd name="T6" fmla="*/ 3860 w 9"/>
                  <a:gd name="T7" fmla="*/ 0 h 8"/>
                  <a:gd name="T8" fmla="*/ 3860 w 9"/>
                  <a:gd name="T9" fmla="*/ 0 h 8"/>
                  <a:gd name="T10" fmla="*/ 7173 w 9"/>
                  <a:gd name="T11" fmla="*/ 2164 h 8"/>
                  <a:gd name="T12" fmla="*/ 3860 w 9"/>
                  <a:gd name="T13" fmla="*/ 4077 h 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8">
                    <a:moveTo>
                      <a:pt x="5" y="8"/>
                    </a:moveTo>
                    <a:cubicBezTo>
                      <a:pt x="2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1"/>
                      <a:pt x="2" y="0"/>
                      <a:pt x="5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7" y="0"/>
                      <a:pt x="9" y="1"/>
                      <a:pt x="9" y="4"/>
                    </a:cubicBezTo>
                    <a:cubicBezTo>
                      <a:pt x="9" y="6"/>
                      <a:pt x="7" y="8"/>
                      <a:pt x="5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139" name="Freeform 854"/>
              <p:cNvSpPr>
                <a:spLocks noChangeArrowheads="1"/>
              </p:cNvSpPr>
              <p:nvPr/>
            </p:nvSpPr>
            <p:spPr bwMode="auto">
              <a:xfrm>
                <a:off x="5642" y="678"/>
                <a:ext cx="11" cy="12"/>
              </a:xfrm>
              <a:custGeom>
                <a:avLst/>
                <a:gdLst>
                  <a:gd name="T0" fmla="*/ 2164 w 8"/>
                  <a:gd name="T1" fmla="*/ 3489 h 9"/>
                  <a:gd name="T2" fmla="*/ 0 w 8"/>
                  <a:gd name="T3" fmla="*/ 1993 h 9"/>
                  <a:gd name="T4" fmla="*/ 0 w 8"/>
                  <a:gd name="T5" fmla="*/ 1495 h 9"/>
                  <a:gd name="T6" fmla="*/ 2164 w 8"/>
                  <a:gd name="T7" fmla="*/ 0 h 9"/>
                  <a:gd name="T8" fmla="*/ 4077 w 8"/>
                  <a:gd name="T9" fmla="*/ 1993 h 9"/>
                  <a:gd name="T10" fmla="*/ 4077 w 8"/>
                  <a:gd name="T11" fmla="*/ 1993 h 9"/>
                  <a:gd name="T12" fmla="*/ 2164 w 8"/>
                  <a:gd name="T13" fmla="*/ 3489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5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140" name="Freeform 855"/>
              <p:cNvSpPr>
                <a:spLocks noChangeArrowheads="1"/>
              </p:cNvSpPr>
              <p:nvPr/>
            </p:nvSpPr>
            <p:spPr bwMode="auto">
              <a:xfrm>
                <a:off x="5621" y="665"/>
                <a:ext cx="13" cy="11"/>
              </a:xfrm>
              <a:custGeom>
                <a:avLst/>
                <a:gdLst>
                  <a:gd name="T0" fmla="*/ 2417 w 9"/>
                  <a:gd name="T1" fmla="*/ 4077 h 8"/>
                  <a:gd name="T2" fmla="*/ 0 w 9"/>
                  <a:gd name="T3" fmla="*/ 2164 h 8"/>
                  <a:gd name="T4" fmla="*/ 2417 w 9"/>
                  <a:gd name="T5" fmla="*/ 0 h 8"/>
                  <a:gd name="T6" fmla="*/ 2417 w 9"/>
                  <a:gd name="T7" fmla="*/ 0 h 8"/>
                  <a:gd name="T8" fmla="*/ 5642 w 9"/>
                  <a:gd name="T9" fmla="*/ 2164 h 8"/>
                  <a:gd name="T10" fmla="*/ 2417 w 9"/>
                  <a:gd name="T11" fmla="*/ 4077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8">
                    <a:moveTo>
                      <a:pt x="4" y="8"/>
                    </a:moveTo>
                    <a:cubicBezTo>
                      <a:pt x="2" y="8"/>
                      <a:pt x="0" y="6"/>
                      <a:pt x="0" y="4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7" y="0"/>
                      <a:pt x="9" y="1"/>
                      <a:pt x="9" y="4"/>
                    </a:cubicBezTo>
                    <a:cubicBezTo>
                      <a:pt x="9" y="6"/>
                      <a:pt x="7" y="8"/>
                      <a:pt x="4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141" name="Freeform 856"/>
              <p:cNvSpPr>
                <a:spLocks noChangeArrowheads="1"/>
              </p:cNvSpPr>
              <p:nvPr/>
            </p:nvSpPr>
            <p:spPr bwMode="auto">
              <a:xfrm>
                <a:off x="5393" y="678"/>
                <a:ext cx="13" cy="12"/>
              </a:xfrm>
              <a:custGeom>
                <a:avLst/>
                <a:gdLst>
                  <a:gd name="T0" fmla="*/ 3225 w 9"/>
                  <a:gd name="T1" fmla="*/ 3489 h 9"/>
                  <a:gd name="T2" fmla="*/ 0 w 9"/>
                  <a:gd name="T3" fmla="*/ 1993 h 9"/>
                  <a:gd name="T4" fmla="*/ 0 w 9"/>
                  <a:gd name="T5" fmla="*/ 1993 h 9"/>
                  <a:gd name="T6" fmla="*/ 3225 w 9"/>
                  <a:gd name="T7" fmla="*/ 0 h 9"/>
                  <a:gd name="T8" fmla="*/ 5642 w 9"/>
                  <a:gd name="T9" fmla="*/ 1993 h 9"/>
                  <a:gd name="T10" fmla="*/ 3225 w 9"/>
                  <a:gd name="T11" fmla="*/ 3489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5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142" name="Freeform 857"/>
              <p:cNvSpPr>
                <a:spLocks noChangeArrowheads="1"/>
              </p:cNvSpPr>
              <p:nvPr/>
            </p:nvSpPr>
            <p:spPr bwMode="auto">
              <a:xfrm>
                <a:off x="5250" y="665"/>
                <a:ext cx="11" cy="11"/>
              </a:xfrm>
              <a:custGeom>
                <a:avLst/>
                <a:gdLst>
                  <a:gd name="T0" fmla="*/ 2164 w 8"/>
                  <a:gd name="T1" fmla="*/ 4077 h 8"/>
                  <a:gd name="T2" fmla="*/ 0 w 8"/>
                  <a:gd name="T3" fmla="*/ 2164 h 8"/>
                  <a:gd name="T4" fmla="*/ 0 w 8"/>
                  <a:gd name="T5" fmla="*/ 2164 h 8"/>
                  <a:gd name="T6" fmla="*/ 2164 w 8"/>
                  <a:gd name="T7" fmla="*/ 0 h 8"/>
                  <a:gd name="T8" fmla="*/ 2164 w 8"/>
                  <a:gd name="T9" fmla="*/ 0 h 8"/>
                  <a:gd name="T10" fmla="*/ 4077 w 8"/>
                  <a:gd name="T11" fmla="*/ 2164 h 8"/>
                  <a:gd name="T12" fmla="*/ 2164 w 8"/>
                  <a:gd name="T13" fmla="*/ 4077 h 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8" h="8">
                    <a:moveTo>
                      <a:pt x="4" y="8"/>
                    </a:moveTo>
                    <a:cubicBezTo>
                      <a:pt x="2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1"/>
                      <a:pt x="1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6" y="0"/>
                      <a:pt x="8" y="1"/>
                      <a:pt x="8" y="4"/>
                    </a:cubicBezTo>
                    <a:cubicBezTo>
                      <a:pt x="8" y="6"/>
                      <a:pt x="6" y="8"/>
                      <a:pt x="4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143" name="Freeform 858"/>
              <p:cNvSpPr>
                <a:spLocks noChangeArrowheads="1"/>
              </p:cNvSpPr>
              <p:nvPr/>
            </p:nvSpPr>
            <p:spPr bwMode="auto">
              <a:xfrm>
                <a:off x="5373" y="665"/>
                <a:ext cx="11" cy="11"/>
              </a:xfrm>
              <a:custGeom>
                <a:avLst/>
                <a:gdLst>
                  <a:gd name="T0" fmla="*/ 2164 w 8"/>
                  <a:gd name="T1" fmla="*/ 4077 h 8"/>
                  <a:gd name="T2" fmla="*/ 0 w 8"/>
                  <a:gd name="T3" fmla="*/ 2164 h 8"/>
                  <a:gd name="T4" fmla="*/ 0 w 8"/>
                  <a:gd name="T5" fmla="*/ 2164 h 8"/>
                  <a:gd name="T6" fmla="*/ 2164 w 8"/>
                  <a:gd name="T7" fmla="*/ 0 h 8"/>
                  <a:gd name="T8" fmla="*/ 2164 w 8"/>
                  <a:gd name="T9" fmla="*/ 0 h 8"/>
                  <a:gd name="T10" fmla="*/ 4077 w 8"/>
                  <a:gd name="T11" fmla="*/ 2164 h 8"/>
                  <a:gd name="T12" fmla="*/ 2164 w 8"/>
                  <a:gd name="T13" fmla="*/ 4077 h 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8" h="8">
                    <a:moveTo>
                      <a:pt x="4" y="8"/>
                    </a:moveTo>
                    <a:cubicBezTo>
                      <a:pt x="2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6" y="0"/>
                      <a:pt x="8" y="1"/>
                      <a:pt x="8" y="4"/>
                    </a:cubicBezTo>
                    <a:cubicBezTo>
                      <a:pt x="8" y="6"/>
                      <a:pt x="6" y="8"/>
                      <a:pt x="4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144" name="Freeform 859"/>
              <p:cNvSpPr>
                <a:spLocks noChangeArrowheads="1"/>
              </p:cNvSpPr>
              <p:nvPr/>
            </p:nvSpPr>
            <p:spPr bwMode="auto">
              <a:xfrm>
                <a:off x="5270" y="678"/>
                <a:ext cx="12" cy="12"/>
              </a:xfrm>
              <a:custGeom>
                <a:avLst/>
                <a:gdLst>
                  <a:gd name="T0" fmla="*/ 1993 w 9"/>
                  <a:gd name="T1" fmla="*/ 3489 h 9"/>
                  <a:gd name="T2" fmla="*/ 1993 w 9"/>
                  <a:gd name="T3" fmla="*/ 3489 h 9"/>
                  <a:gd name="T4" fmla="*/ 1495 w 9"/>
                  <a:gd name="T5" fmla="*/ 3489 h 9"/>
                  <a:gd name="T6" fmla="*/ 0 w 9"/>
                  <a:gd name="T7" fmla="*/ 1495 h 9"/>
                  <a:gd name="T8" fmla="*/ 1993 w 9"/>
                  <a:gd name="T9" fmla="*/ 0 h 9"/>
                  <a:gd name="T10" fmla="*/ 1993 w 9"/>
                  <a:gd name="T11" fmla="*/ 0 h 9"/>
                  <a:gd name="T12" fmla="*/ 1993 w 9"/>
                  <a:gd name="T13" fmla="*/ 0 h 9"/>
                  <a:gd name="T14" fmla="*/ 3489 w 9"/>
                  <a:gd name="T15" fmla="*/ 1993 h 9"/>
                  <a:gd name="T16" fmla="*/ 1993 w 9"/>
                  <a:gd name="T17" fmla="*/ 3489 h 9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2" y="9"/>
                      <a:pt x="0" y="7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7" y="0"/>
                      <a:pt x="9" y="3"/>
                      <a:pt x="9" y="5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145" name="Freeform 860"/>
              <p:cNvSpPr>
                <a:spLocks noChangeArrowheads="1"/>
              </p:cNvSpPr>
              <p:nvPr/>
            </p:nvSpPr>
            <p:spPr bwMode="auto">
              <a:xfrm>
                <a:off x="5270" y="714"/>
                <a:ext cx="12" cy="12"/>
              </a:xfrm>
              <a:custGeom>
                <a:avLst/>
                <a:gdLst>
                  <a:gd name="T0" fmla="*/ 1993 w 9"/>
                  <a:gd name="T1" fmla="*/ 3489 h 9"/>
                  <a:gd name="T2" fmla="*/ 1993 w 9"/>
                  <a:gd name="T3" fmla="*/ 3489 h 9"/>
                  <a:gd name="T4" fmla="*/ 1495 w 9"/>
                  <a:gd name="T5" fmla="*/ 3489 h 9"/>
                  <a:gd name="T6" fmla="*/ 0 w 9"/>
                  <a:gd name="T7" fmla="*/ 1495 h 9"/>
                  <a:gd name="T8" fmla="*/ 1993 w 9"/>
                  <a:gd name="T9" fmla="*/ 0 h 9"/>
                  <a:gd name="T10" fmla="*/ 1993 w 9"/>
                  <a:gd name="T11" fmla="*/ 0 h 9"/>
                  <a:gd name="T12" fmla="*/ 1993 w 9"/>
                  <a:gd name="T13" fmla="*/ 0 h 9"/>
                  <a:gd name="T14" fmla="*/ 3489 w 9"/>
                  <a:gd name="T15" fmla="*/ 1993 h 9"/>
                  <a:gd name="T16" fmla="*/ 1993 w 9"/>
                  <a:gd name="T17" fmla="*/ 3489 h 9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2" y="8"/>
                      <a:pt x="0" y="6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7" y="0"/>
                      <a:pt x="9" y="2"/>
                      <a:pt x="9" y="5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146" name="Freeform 861"/>
              <p:cNvSpPr>
                <a:spLocks noChangeArrowheads="1"/>
              </p:cNvSpPr>
              <p:nvPr/>
            </p:nvSpPr>
            <p:spPr bwMode="auto">
              <a:xfrm>
                <a:off x="5415" y="684"/>
                <a:ext cx="13" cy="13"/>
              </a:xfrm>
              <a:custGeom>
                <a:avLst/>
                <a:gdLst>
                  <a:gd name="T0" fmla="*/ 2417 w 9"/>
                  <a:gd name="T1" fmla="*/ 5642 h 9"/>
                  <a:gd name="T2" fmla="*/ 0 w 9"/>
                  <a:gd name="T3" fmla="*/ 3225 h 9"/>
                  <a:gd name="T4" fmla="*/ 0 w 9"/>
                  <a:gd name="T5" fmla="*/ 3225 h 9"/>
                  <a:gd name="T6" fmla="*/ 2417 w 9"/>
                  <a:gd name="T7" fmla="*/ 0 h 9"/>
                  <a:gd name="T8" fmla="*/ 5642 w 9"/>
                  <a:gd name="T9" fmla="*/ 3225 h 9"/>
                  <a:gd name="T10" fmla="*/ 2417 w 9"/>
                  <a:gd name="T11" fmla="*/ 5642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5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147" name="Freeform 862"/>
              <p:cNvSpPr>
                <a:spLocks noChangeArrowheads="1"/>
              </p:cNvSpPr>
              <p:nvPr/>
            </p:nvSpPr>
            <p:spPr bwMode="auto">
              <a:xfrm>
                <a:off x="5559" y="720"/>
                <a:ext cx="13" cy="13"/>
              </a:xfrm>
              <a:custGeom>
                <a:avLst/>
                <a:gdLst>
                  <a:gd name="T0" fmla="*/ 3194 w 9"/>
                  <a:gd name="T1" fmla="*/ 7173 h 9"/>
                  <a:gd name="T2" fmla="*/ 0 w 9"/>
                  <a:gd name="T3" fmla="*/ 3194 h 9"/>
                  <a:gd name="T4" fmla="*/ 0 w 9"/>
                  <a:gd name="T5" fmla="*/ 3194 h 9"/>
                  <a:gd name="T6" fmla="*/ 3194 w 9"/>
                  <a:gd name="T7" fmla="*/ 0 h 9"/>
                  <a:gd name="T8" fmla="*/ 7173 w 9"/>
                  <a:gd name="T9" fmla="*/ 3194 h 9"/>
                  <a:gd name="T10" fmla="*/ 3194 w 9"/>
                  <a:gd name="T11" fmla="*/ 7173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2" y="9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148" name="Freeform 863"/>
              <p:cNvSpPr>
                <a:spLocks noChangeArrowheads="1"/>
              </p:cNvSpPr>
              <p:nvPr/>
            </p:nvSpPr>
            <p:spPr bwMode="auto">
              <a:xfrm>
                <a:off x="5498" y="684"/>
                <a:ext cx="12" cy="13"/>
              </a:xfrm>
              <a:custGeom>
                <a:avLst/>
                <a:gdLst>
                  <a:gd name="T0" fmla="*/ 1495 w 9"/>
                  <a:gd name="T1" fmla="*/ 5642 h 9"/>
                  <a:gd name="T2" fmla="*/ 0 w 9"/>
                  <a:gd name="T3" fmla="*/ 3225 h 9"/>
                  <a:gd name="T4" fmla="*/ 0 w 9"/>
                  <a:gd name="T5" fmla="*/ 3225 h 9"/>
                  <a:gd name="T6" fmla="*/ 1495 w 9"/>
                  <a:gd name="T7" fmla="*/ 0 h 9"/>
                  <a:gd name="T8" fmla="*/ 3489 w 9"/>
                  <a:gd name="T9" fmla="*/ 3225 h 9"/>
                  <a:gd name="T10" fmla="*/ 1495 w 9"/>
                  <a:gd name="T11" fmla="*/ 5642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5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149" name="Oval 864"/>
              <p:cNvSpPr>
                <a:spLocks noChangeArrowheads="1"/>
              </p:cNvSpPr>
              <p:nvPr/>
            </p:nvSpPr>
            <p:spPr bwMode="auto">
              <a:xfrm>
                <a:off x="5744" y="684"/>
                <a:ext cx="13" cy="13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US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150" name="Freeform 865"/>
              <p:cNvSpPr>
                <a:spLocks noChangeArrowheads="1"/>
              </p:cNvSpPr>
              <p:nvPr/>
            </p:nvSpPr>
            <p:spPr bwMode="auto">
              <a:xfrm>
                <a:off x="5723" y="698"/>
                <a:ext cx="13" cy="13"/>
              </a:xfrm>
              <a:custGeom>
                <a:avLst/>
                <a:gdLst>
                  <a:gd name="T0" fmla="*/ 3225 w 9"/>
                  <a:gd name="T1" fmla="*/ 5642 h 9"/>
                  <a:gd name="T2" fmla="*/ 3225 w 9"/>
                  <a:gd name="T3" fmla="*/ 5642 h 9"/>
                  <a:gd name="T4" fmla="*/ 0 w 9"/>
                  <a:gd name="T5" fmla="*/ 3225 h 9"/>
                  <a:gd name="T6" fmla="*/ 0 w 9"/>
                  <a:gd name="T7" fmla="*/ 2417 h 9"/>
                  <a:gd name="T8" fmla="*/ 3225 w 9"/>
                  <a:gd name="T9" fmla="*/ 0 h 9"/>
                  <a:gd name="T10" fmla="*/ 5642 w 9"/>
                  <a:gd name="T11" fmla="*/ 2417 h 9"/>
                  <a:gd name="T12" fmla="*/ 3225 w 9"/>
                  <a:gd name="T13" fmla="*/ 5642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151" name="Freeform 866"/>
              <p:cNvSpPr>
                <a:spLocks noChangeArrowheads="1"/>
              </p:cNvSpPr>
              <p:nvPr/>
            </p:nvSpPr>
            <p:spPr bwMode="auto">
              <a:xfrm>
                <a:off x="5704" y="684"/>
                <a:ext cx="11" cy="13"/>
              </a:xfrm>
              <a:custGeom>
                <a:avLst/>
                <a:gdLst>
                  <a:gd name="T0" fmla="*/ 2164 w 8"/>
                  <a:gd name="T1" fmla="*/ 5642 h 9"/>
                  <a:gd name="T2" fmla="*/ 0 w 8"/>
                  <a:gd name="T3" fmla="*/ 3225 h 9"/>
                  <a:gd name="T4" fmla="*/ 0 w 8"/>
                  <a:gd name="T5" fmla="*/ 3225 h 9"/>
                  <a:gd name="T6" fmla="*/ 2164 w 8"/>
                  <a:gd name="T7" fmla="*/ 0 h 9"/>
                  <a:gd name="T8" fmla="*/ 4077 w 8"/>
                  <a:gd name="T9" fmla="*/ 3225 h 9"/>
                  <a:gd name="T10" fmla="*/ 2164 w 8"/>
                  <a:gd name="T11" fmla="*/ 5642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5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152" name="Freeform 867"/>
              <p:cNvSpPr>
                <a:spLocks noChangeArrowheads="1"/>
              </p:cNvSpPr>
              <p:nvPr/>
            </p:nvSpPr>
            <p:spPr bwMode="auto">
              <a:xfrm>
                <a:off x="5683" y="698"/>
                <a:ext cx="13" cy="13"/>
              </a:xfrm>
              <a:custGeom>
                <a:avLst/>
                <a:gdLst>
                  <a:gd name="T0" fmla="*/ 2417 w 9"/>
                  <a:gd name="T1" fmla="*/ 5642 h 9"/>
                  <a:gd name="T2" fmla="*/ 2417 w 9"/>
                  <a:gd name="T3" fmla="*/ 5642 h 9"/>
                  <a:gd name="T4" fmla="*/ 0 w 9"/>
                  <a:gd name="T5" fmla="*/ 2417 h 9"/>
                  <a:gd name="T6" fmla="*/ 2417 w 9"/>
                  <a:gd name="T7" fmla="*/ 0 h 9"/>
                  <a:gd name="T8" fmla="*/ 5642 w 9"/>
                  <a:gd name="T9" fmla="*/ 2417 h 9"/>
                  <a:gd name="T10" fmla="*/ 2417 w 9"/>
                  <a:gd name="T11" fmla="*/ 5642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4" y="9"/>
                      <a:pt x="4" y="9"/>
                      <a:pt x="4" y="9"/>
                    </a:cubicBezTo>
                    <a:cubicBezTo>
                      <a:pt x="2" y="9"/>
                      <a:pt x="0" y="7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153" name="Freeform 868"/>
              <p:cNvSpPr>
                <a:spLocks noChangeArrowheads="1"/>
              </p:cNvSpPr>
              <p:nvPr/>
            </p:nvSpPr>
            <p:spPr bwMode="auto">
              <a:xfrm>
                <a:off x="5662" y="684"/>
                <a:ext cx="13" cy="13"/>
              </a:xfrm>
              <a:custGeom>
                <a:avLst/>
                <a:gdLst>
                  <a:gd name="T0" fmla="*/ 3860 w 9"/>
                  <a:gd name="T1" fmla="*/ 5642 h 9"/>
                  <a:gd name="T2" fmla="*/ 0 w 9"/>
                  <a:gd name="T3" fmla="*/ 3225 h 9"/>
                  <a:gd name="T4" fmla="*/ 0 w 9"/>
                  <a:gd name="T5" fmla="*/ 3225 h 9"/>
                  <a:gd name="T6" fmla="*/ 3860 w 9"/>
                  <a:gd name="T7" fmla="*/ 0 h 9"/>
                  <a:gd name="T8" fmla="*/ 7173 w 9"/>
                  <a:gd name="T9" fmla="*/ 3225 h 9"/>
                  <a:gd name="T10" fmla="*/ 3860 w 9"/>
                  <a:gd name="T11" fmla="*/ 5642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5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154" name="Freeform 869"/>
              <p:cNvSpPr>
                <a:spLocks noChangeArrowheads="1"/>
              </p:cNvSpPr>
              <p:nvPr/>
            </p:nvSpPr>
            <p:spPr bwMode="auto">
              <a:xfrm>
                <a:off x="5642" y="698"/>
                <a:ext cx="11" cy="13"/>
              </a:xfrm>
              <a:custGeom>
                <a:avLst/>
                <a:gdLst>
                  <a:gd name="T0" fmla="*/ 2164 w 8"/>
                  <a:gd name="T1" fmla="*/ 5642 h 9"/>
                  <a:gd name="T2" fmla="*/ 2164 w 8"/>
                  <a:gd name="T3" fmla="*/ 5642 h 9"/>
                  <a:gd name="T4" fmla="*/ 0 w 8"/>
                  <a:gd name="T5" fmla="*/ 3225 h 9"/>
                  <a:gd name="T6" fmla="*/ 0 w 8"/>
                  <a:gd name="T7" fmla="*/ 2417 h 9"/>
                  <a:gd name="T8" fmla="*/ 2164 w 8"/>
                  <a:gd name="T9" fmla="*/ 0 h 9"/>
                  <a:gd name="T10" fmla="*/ 4077 w 8"/>
                  <a:gd name="T11" fmla="*/ 2417 h 9"/>
                  <a:gd name="T12" fmla="*/ 4077 w 8"/>
                  <a:gd name="T13" fmla="*/ 3225 h 9"/>
                  <a:gd name="T14" fmla="*/ 2164 w 8"/>
                  <a:gd name="T15" fmla="*/ 5642 h 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4" y="9"/>
                      <a:pt x="4" y="9"/>
                      <a:pt x="4" y="9"/>
                    </a:cubicBez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155" name="Oval 870"/>
              <p:cNvSpPr>
                <a:spLocks noChangeArrowheads="1"/>
              </p:cNvSpPr>
              <p:nvPr/>
            </p:nvSpPr>
            <p:spPr bwMode="auto">
              <a:xfrm>
                <a:off x="5621" y="684"/>
                <a:ext cx="13" cy="13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US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156" name="Freeform 871"/>
              <p:cNvSpPr>
                <a:spLocks noChangeArrowheads="1"/>
              </p:cNvSpPr>
              <p:nvPr/>
            </p:nvSpPr>
            <p:spPr bwMode="auto">
              <a:xfrm>
                <a:off x="5393" y="698"/>
                <a:ext cx="13" cy="13"/>
              </a:xfrm>
              <a:custGeom>
                <a:avLst/>
                <a:gdLst>
                  <a:gd name="T0" fmla="*/ 3225 w 9"/>
                  <a:gd name="T1" fmla="*/ 5642 h 9"/>
                  <a:gd name="T2" fmla="*/ 3225 w 9"/>
                  <a:gd name="T3" fmla="*/ 5642 h 9"/>
                  <a:gd name="T4" fmla="*/ 0 w 9"/>
                  <a:gd name="T5" fmla="*/ 3225 h 9"/>
                  <a:gd name="T6" fmla="*/ 0 w 9"/>
                  <a:gd name="T7" fmla="*/ 2417 h 9"/>
                  <a:gd name="T8" fmla="*/ 3225 w 9"/>
                  <a:gd name="T9" fmla="*/ 0 h 9"/>
                  <a:gd name="T10" fmla="*/ 5642 w 9"/>
                  <a:gd name="T11" fmla="*/ 2417 h 9"/>
                  <a:gd name="T12" fmla="*/ 3225 w 9"/>
                  <a:gd name="T13" fmla="*/ 5642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157" name="Rectangle 872"/>
              <p:cNvSpPr>
                <a:spLocks noChangeArrowheads="1"/>
              </p:cNvSpPr>
              <p:nvPr/>
            </p:nvSpPr>
            <p:spPr bwMode="auto">
              <a:xfrm>
                <a:off x="5393" y="698"/>
                <a:ext cx="13" cy="1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US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158" name="Rectangle 873"/>
              <p:cNvSpPr>
                <a:spLocks noChangeArrowheads="1"/>
              </p:cNvSpPr>
              <p:nvPr/>
            </p:nvSpPr>
            <p:spPr bwMode="auto">
              <a:xfrm>
                <a:off x="5393" y="698"/>
                <a:ext cx="13" cy="1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US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159" name="Freeform 874"/>
              <p:cNvSpPr>
                <a:spLocks noChangeArrowheads="1"/>
              </p:cNvSpPr>
              <p:nvPr/>
            </p:nvSpPr>
            <p:spPr bwMode="auto">
              <a:xfrm>
                <a:off x="5581" y="705"/>
                <a:ext cx="10" cy="13"/>
              </a:xfrm>
              <a:custGeom>
                <a:avLst/>
                <a:gdLst>
                  <a:gd name="T0" fmla="*/ 868 w 8"/>
                  <a:gd name="T1" fmla="*/ 7173 h 9"/>
                  <a:gd name="T2" fmla="*/ 868 w 8"/>
                  <a:gd name="T3" fmla="*/ 7173 h 9"/>
                  <a:gd name="T4" fmla="*/ 0 w 8"/>
                  <a:gd name="T5" fmla="*/ 3860 h 9"/>
                  <a:gd name="T6" fmla="*/ 0 w 8"/>
                  <a:gd name="T7" fmla="*/ 3194 h 9"/>
                  <a:gd name="T8" fmla="*/ 868 w 8"/>
                  <a:gd name="T9" fmla="*/ 0 h 9"/>
                  <a:gd name="T10" fmla="*/ 1780 w 8"/>
                  <a:gd name="T11" fmla="*/ 3194 h 9"/>
                  <a:gd name="T12" fmla="*/ 868 w 8"/>
                  <a:gd name="T13" fmla="*/ 7173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4" y="9"/>
                      <a:pt x="4" y="9"/>
                      <a:pt x="4" y="9"/>
                    </a:cubicBez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160" name="Freeform 875"/>
              <p:cNvSpPr>
                <a:spLocks noChangeArrowheads="1"/>
              </p:cNvSpPr>
              <p:nvPr/>
            </p:nvSpPr>
            <p:spPr bwMode="auto">
              <a:xfrm>
                <a:off x="5744" y="705"/>
                <a:ext cx="13" cy="13"/>
              </a:xfrm>
              <a:custGeom>
                <a:avLst/>
                <a:gdLst>
                  <a:gd name="T0" fmla="*/ 3860 w 9"/>
                  <a:gd name="T1" fmla="*/ 7173 h 9"/>
                  <a:gd name="T2" fmla="*/ 3194 w 9"/>
                  <a:gd name="T3" fmla="*/ 7173 h 9"/>
                  <a:gd name="T4" fmla="*/ 0 w 9"/>
                  <a:gd name="T5" fmla="*/ 3194 h 9"/>
                  <a:gd name="T6" fmla="*/ 3194 w 9"/>
                  <a:gd name="T7" fmla="*/ 0 h 9"/>
                  <a:gd name="T8" fmla="*/ 7173 w 9"/>
                  <a:gd name="T9" fmla="*/ 3194 h 9"/>
                  <a:gd name="T10" fmla="*/ 3860 w 9"/>
                  <a:gd name="T11" fmla="*/ 7173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4" y="9"/>
                      <a:pt x="4" y="9"/>
                      <a:pt x="4" y="9"/>
                    </a:cubicBezTo>
                    <a:cubicBezTo>
                      <a:pt x="2" y="9"/>
                      <a:pt x="0" y="7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161" name="Freeform 876"/>
              <p:cNvSpPr>
                <a:spLocks noChangeArrowheads="1"/>
              </p:cNvSpPr>
              <p:nvPr/>
            </p:nvSpPr>
            <p:spPr bwMode="auto">
              <a:xfrm>
                <a:off x="5723" y="720"/>
                <a:ext cx="13" cy="13"/>
              </a:xfrm>
              <a:custGeom>
                <a:avLst/>
                <a:gdLst>
                  <a:gd name="T0" fmla="*/ 3225 w 9"/>
                  <a:gd name="T1" fmla="*/ 7173 h 9"/>
                  <a:gd name="T2" fmla="*/ 0 w 9"/>
                  <a:gd name="T3" fmla="*/ 3194 h 9"/>
                  <a:gd name="T4" fmla="*/ 0 w 9"/>
                  <a:gd name="T5" fmla="*/ 3194 h 9"/>
                  <a:gd name="T6" fmla="*/ 3225 w 9"/>
                  <a:gd name="T7" fmla="*/ 0 h 9"/>
                  <a:gd name="T8" fmla="*/ 5642 w 9"/>
                  <a:gd name="T9" fmla="*/ 3194 h 9"/>
                  <a:gd name="T10" fmla="*/ 3225 w 9"/>
                  <a:gd name="T11" fmla="*/ 7173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2" y="9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162" name="Freeform 877"/>
              <p:cNvSpPr>
                <a:spLocks noChangeArrowheads="1"/>
              </p:cNvSpPr>
              <p:nvPr/>
            </p:nvSpPr>
            <p:spPr bwMode="auto">
              <a:xfrm>
                <a:off x="5704" y="705"/>
                <a:ext cx="11" cy="13"/>
              </a:xfrm>
              <a:custGeom>
                <a:avLst/>
                <a:gdLst>
                  <a:gd name="T0" fmla="*/ 2164 w 8"/>
                  <a:gd name="T1" fmla="*/ 7173 h 9"/>
                  <a:gd name="T2" fmla="*/ 2164 w 8"/>
                  <a:gd name="T3" fmla="*/ 7173 h 9"/>
                  <a:gd name="T4" fmla="*/ 0 w 8"/>
                  <a:gd name="T5" fmla="*/ 3860 h 9"/>
                  <a:gd name="T6" fmla="*/ 0 w 8"/>
                  <a:gd name="T7" fmla="*/ 3194 h 9"/>
                  <a:gd name="T8" fmla="*/ 2164 w 8"/>
                  <a:gd name="T9" fmla="*/ 0 h 9"/>
                  <a:gd name="T10" fmla="*/ 4077 w 8"/>
                  <a:gd name="T11" fmla="*/ 3194 h 9"/>
                  <a:gd name="T12" fmla="*/ 2164 w 8"/>
                  <a:gd name="T13" fmla="*/ 7173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4" y="9"/>
                      <a:pt x="4" y="9"/>
                      <a:pt x="4" y="9"/>
                    </a:cubicBez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163" name="Oval 878"/>
              <p:cNvSpPr>
                <a:spLocks noChangeArrowheads="1"/>
              </p:cNvSpPr>
              <p:nvPr/>
            </p:nvSpPr>
            <p:spPr bwMode="auto">
              <a:xfrm>
                <a:off x="5683" y="720"/>
                <a:ext cx="13" cy="13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US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164" name="Freeform 879"/>
              <p:cNvSpPr>
                <a:spLocks noChangeArrowheads="1"/>
              </p:cNvSpPr>
              <p:nvPr/>
            </p:nvSpPr>
            <p:spPr bwMode="auto">
              <a:xfrm>
                <a:off x="5662" y="705"/>
                <a:ext cx="13" cy="13"/>
              </a:xfrm>
              <a:custGeom>
                <a:avLst/>
                <a:gdLst>
                  <a:gd name="T0" fmla="*/ 3860 w 9"/>
                  <a:gd name="T1" fmla="*/ 7173 h 9"/>
                  <a:gd name="T2" fmla="*/ 3860 w 9"/>
                  <a:gd name="T3" fmla="*/ 7173 h 9"/>
                  <a:gd name="T4" fmla="*/ 0 w 9"/>
                  <a:gd name="T5" fmla="*/ 3860 h 9"/>
                  <a:gd name="T6" fmla="*/ 0 w 9"/>
                  <a:gd name="T7" fmla="*/ 3194 h 9"/>
                  <a:gd name="T8" fmla="*/ 3860 w 9"/>
                  <a:gd name="T9" fmla="*/ 0 h 9"/>
                  <a:gd name="T10" fmla="*/ 7173 w 9"/>
                  <a:gd name="T11" fmla="*/ 3194 h 9"/>
                  <a:gd name="T12" fmla="*/ 3860 w 9"/>
                  <a:gd name="T13" fmla="*/ 7173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2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165" name="Freeform 880"/>
              <p:cNvSpPr>
                <a:spLocks noChangeArrowheads="1"/>
              </p:cNvSpPr>
              <p:nvPr/>
            </p:nvSpPr>
            <p:spPr bwMode="auto">
              <a:xfrm>
                <a:off x="5642" y="720"/>
                <a:ext cx="11" cy="13"/>
              </a:xfrm>
              <a:custGeom>
                <a:avLst/>
                <a:gdLst>
                  <a:gd name="T0" fmla="*/ 2164 w 8"/>
                  <a:gd name="T1" fmla="*/ 7173 h 9"/>
                  <a:gd name="T2" fmla="*/ 0 w 8"/>
                  <a:gd name="T3" fmla="*/ 3194 h 9"/>
                  <a:gd name="T4" fmla="*/ 0 w 8"/>
                  <a:gd name="T5" fmla="*/ 3194 h 9"/>
                  <a:gd name="T6" fmla="*/ 2164 w 8"/>
                  <a:gd name="T7" fmla="*/ 0 h 9"/>
                  <a:gd name="T8" fmla="*/ 4077 w 8"/>
                  <a:gd name="T9" fmla="*/ 3194 h 9"/>
                  <a:gd name="T10" fmla="*/ 4077 w 8"/>
                  <a:gd name="T11" fmla="*/ 3194 h 9"/>
                  <a:gd name="T12" fmla="*/ 2164 w 8"/>
                  <a:gd name="T13" fmla="*/ 7173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2" y="9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166" name="Freeform 881"/>
              <p:cNvSpPr>
                <a:spLocks noChangeArrowheads="1"/>
              </p:cNvSpPr>
              <p:nvPr/>
            </p:nvSpPr>
            <p:spPr bwMode="auto">
              <a:xfrm>
                <a:off x="5621" y="705"/>
                <a:ext cx="13" cy="13"/>
              </a:xfrm>
              <a:custGeom>
                <a:avLst/>
                <a:gdLst>
                  <a:gd name="T0" fmla="*/ 2417 w 9"/>
                  <a:gd name="T1" fmla="*/ 7173 h 9"/>
                  <a:gd name="T2" fmla="*/ 2417 w 9"/>
                  <a:gd name="T3" fmla="*/ 7173 h 9"/>
                  <a:gd name="T4" fmla="*/ 0 w 9"/>
                  <a:gd name="T5" fmla="*/ 3194 h 9"/>
                  <a:gd name="T6" fmla="*/ 2417 w 9"/>
                  <a:gd name="T7" fmla="*/ 0 h 9"/>
                  <a:gd name="T8" fmla="*/ 5642 w 9"/>
                  <a:gd name="T9" fmla="*/ 3194 h 9"/>
                  <a:gd name="T10" fmla="*/ 2417 w 9"/>
                  <a:gd name="T11" fmla="*/ 7173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4" y="9"/>
                      <a:pt x="4" y="9"/>
                      <a:pt x="4" y="9"/>
                    </a:cubicBezTo>
                    <a:cubicBezTo>
                      <a:pt x="2" y="9"/>
                      <a:pt x="0" y="7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167" name="Oval 882"/>
              <p:cNvSpPr>
                <a:spLocks noChangeArrowheads="1"/>
              </p:cNvSpPr>
              <p:nvPr/>
            </p:nvSpPr>
            <p:spPr bwMode="auto">
              <a:xfrm>
                <a:off x="5744" y="727"/>
                <a:ext cx="13" cy="12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US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168" name="Freeform 883"/>
              <p:cNvSpPr>
                <a:spLocks noChangeArrowheads="1"/>
              </p:cNvSpPr>
              <p:nvPr/>
            </p:nvSpPr>
            <p:spPr bwMode="auto">
              <a:xfrm>
                <a:off x="5704" y="727"/>
                <a:ext cx="11" cy="12"/>
              </a:xfrm>
              <a:custGeom>
                <a:avLst/>
                <a:gdLst>
                  <a:gd name="T0" fmla="*/ 2164 w 8"/>
                  <a:gd name="T1" fmla="*/ 3489 h 9"/>
                  <a:gd name="T2" fmla="*/ 0 w 8"/>
                  <a:gd name="T3" fmla="*/ 1495 h 9"/>
                  <a:gd name="T4" fmla="*/ 0 w 8"/>
                  <a:gd name="T5" fmla="*/ 1495 h 9"/>
                  <a:gd name="T6" fmla="*/ 2164 w 8"/>
                  <a:gd name="T7" fmla="*/ 0 h 9"/>
                  <a:gd name="T8" fmla="*/ 4077 w 8"/>
                  <a:gd name="T9" fmla="*/ 1495 h 9"/>
                  <a:gd name="T10" fmla="*/ 2164 w 8"/>
                  <a:gd name="T11" fmla="*/ 3489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8" h="9">
                    <a:moveTo>
                      <a:pt x="4" y="9"/>
                    </a:moveTo>
                    <a:cubicBezTo>
                      <a:pt x="2" y="9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7"/>
                      <a:pt x="6" y="9"/>
                      <a:pt x="4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169" name="Freeform 884"/>
              <p:cNvSpPr>
                <a:spLocks noChangeArrowheads="1"/>
              </p:cNvSpPr>
              <p:nvPr/>
            </p:nvSpPr>
            <p:spPr bwMode="auto">
              <a:xfrm>
                <a:off x="5662" y="727"/>
                <a:ext cx="13" cy="12"/>
              </a:xfrm>
              <a:custGeom>
                <a:avLst/>
                <a:gdLst>
                  <a:gd name="T0" fmla="*/ 3860 w 9"/>
                  <a:gd name="T1" fmla="*/ 3489 h 9"/>
                  <a:gd name="T2" fmla="*/ 0 w 9"/>
                  <a:gd name="T3" fmla="*/ 1495 h 9"/>
                  <a:gd name="T4" fmla="*/ 0 w 9"/>
                  <a:gd name="T5" fmla="*/ 1495 h 9"/>
                  <a:gd name="T6" fmla="*/ 3860 w 9"/>
                  <a:gd name="T7" fmla="*/ 0 h 9"/>
                  <a:gd name="T8" fmla="*/ 7173 w 9"/>
                  <a:gd name="T9" fmla="*/ 1495 h 9"/>
                  <a:gd name="T10" fmla="*/ 3860 w 9"/>
                  <a:gd name="T11" fmla="*/ 3489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2" y="9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5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170" name="Oval 885"/>
              <p:cNvSpPr>
                <a:spLocks noChangeArrowheads="1"/>
              </p:cNvSpPr>
              <p:nvPr/>
            </p:nvSpPr>
            <p:spPr bwMode="auto">
              <a:xfrm>
                <a:off x="5621" y="727"/>
                <a:ext cx="13" cy="12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US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171" name="Freeform 886"/>
              <p:cNvSpPr>
                <a:spLocks noChangeArrowheads="1"/>
              </p:cNvSpPr>
              <p:nvPr/>
            </p:nvSpPr>
            <p:spPr bwMode="auto">
              <a:xfrm>
                <a:off x="5354" y="347"/>
                <a:ext cx="13" cy="11"/>
              </a:xfrm>
              <a:custGeom>
                <a:avLst/>
                <a:gdLst>
                  <a:gd name="T0" fmla="*/ 2417 w 9"/>
                  <a:gd name="T1" fmla="*/ 4077 h 8"/>
                  <a:gd name="T2" fmla="*/ 0 w 9"/>
                  <a:gd name="T3" fmla="*/ 2164 h 8"/>
                  <a:gd name="T4" fmla="*/ 0 w 9"/>
                  <a:gd name="T5" fmla="*/ 2164 h 8"/>
                  <a:gd name="T6" fmla="*/ 2417 w 9"/>
                  <a:gd name="T7" fmla="*/ 0 h 8"/>
                  <a:gd name="T8" fmla="*/ 5642 w 9"/>
                  <a:gd name="T9" fmla="*/ 2164 h 8"/>
                  <a:gd name="T10" fmla="*/ 2417 w 9"/>
                  <a:gd name="T11" fmla="*/ 4077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8">
                    <a:moveTo>
                      <a:pt x="4" y="8"/>
                    </a:moveTo>
                    <a:cubicBezTo>
                      <a:pt x="2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7" y="0"/>
                      <a:pt x="9" y="1"/>
                      <a:pt x="9" y="4"/>
                    </a:cubicBezTo>
                    <a:cubicBezTo>
                      <a:pt x="9" y="6"/>
                      <a:pt x="7" y="8"/>
                      <a:pt x="4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172" name="Freeform 887"/>
              <p:cNvSpPr>
                <a:spLocks noChangeArrowheads="1"/>
              </p:cNvSpPr>
              <p:nvPr/>
            </p:nvSpPr>
            <p:spPr bwMode="auto">
              <a:xfrm>
                <a:off x="5393" y="242"/>
                <a:ext cx="13" cy="11"/>
              </a:xfrm>
              <a:custGeom>
                <a:avLst/>
                <a:gdLst>
                  <a:gd name="T0" fmla="*/ 3225 w 9"/>
                  <a:gd name="T1" fmla="*/ 4077 h 8"/>
                  <a:gd name="T2" fmla="*/ 3225 w 9"/>
                  <a:gd name="T3" fmla="*/ 4077 h 8"/>
                  <a:gd name="T4" fmla="*/ 0 w 9"/>
                  <a:gd name="T5" fmla="*/ 2164 h 8"/>
                  <a:gd name="T6" fmla="*/ 0 w 9"/>
                  <a:gd name="T7" fmla="*/ 2164 h 8"/>
                  <a:gd name="T8" fmla="*/ 3225 w 9"/>
                  <a:gd name="T9" fmla="*/ 0 h 8"/>
                  <a:gd name="T10" fmla="*/ 5642 w 9"/>
                  <a:gd name="T11" fmla="*/ 2164 h 8"/>
                  <a:gd name="T12" fmla="*/ 3225 w 9"/>
                  <a:gd name="T13" fmla="*/ 4077 h 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8">
                    <a:moveTo>
                      <a:pt x="5" y="8"/>
                    </a:moveTo>
                    <a:cubicBezTo>
                      <a:pt x="5" y="8"/>
                      <a:pt x="5" y="8"/>
                      <a:pt x="5" y="8"/>
                    </a:cubicBezTo>
                    <a:cubicBezTo>
                      <a:pt x="2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1"/>
                      <a:pt x="2" y="0"/>
                      <a:pt x="5" y="0"/>
                    </a:cubicBezTo>
                    <a:cubicBezTo>
                      <a:pt x="7" y="0"/>
                      <a:pt x="9" y="1"/>
                      <a:pt x="9" y="4"/>
                    </a:cubicBezTo>
                    <a:cubicBezTo>
                      <a:pt x="9" y="6"/>
                      <a:pt x="7" y="8"/>
                      <a:pt x="5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2173" name="Freeform 888"/>
              <p:cNvSpPr>
                <a:spLocks noChangeArrowheads="1"/>
              </p:cNvSpPr>
              <p:nvPr/>
            </p:nvSpPr>
            <p:spPr bwMode="auto">
              <a:xfrm>
                <a:off x="5744" y="748"/>
                <a:ext cx="13" cy="11"/>
              </a:xfrm>
              <a:custGeom>
                <a:avLst/>
                <a:gdLst>
                  <a:gd name="T0" fmla="*/ 3194 w 9"/>
                  <a:gd name="T1" fmla="*/ 4077 h 8"/>
                  <a:gd name="T2" fmla="*/ 0 w 9"/>
                  <a:gd name="T3" fmla="*/ 2164 h 8"/>
                  <a:gd name="T4" fmla="*/ 3194 w 9"/>
                  <a:gd name="T5" fmla="*/ 0 h 8"/>
                  <a:gd name="T6" fmla="*/ 7173 w 9"/>
                  <a:gd name="T7" fmla="*/ 2164 h 8"/>
                  <a:gd name="T8" fmla="*/ 7173 w 9"/>
                  <a:gd name="T9" fmla="*/ 2164 h 8"/>
                  <a:gd name="T10" fmla="*/ 3194 w 9"/>
                  <a:gd name="T11" fmla="*/ 4077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8">
                    <a:moveTo>
                      <a:pt x="4" y="8"/>
                    </a:moveTo>
                    <a:cubicBezTo>
                      <a:pt x="2" y="8"/>
                      <a:pt x="0" y="6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9" y="6"/>
                      <a:pt x="7" y="8"/>
                      <a:pt x="4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3" name="Oval 889"/>
              <p:cNvSpPr>
                <a:spLocks noChangeArrowheads="1"/>
              </p:cNvSpPr>
              <p:nvPr/>
            </p:nvSpPr>
            <p:spPr bwMode="auto">
              <a:xfrm>
                <a:off x="5723" y="741"/>
                <a:ext cx="13" cy="11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US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</p:grpSp>
        <p:grpSp>
          <p:nvGrpSpPr>
            <p:cNvPr id="11291" name="Group 890"/>
            <p:cNvGrpSpPr>
              <a:grpSpLocks/>
            </p:cNvGrpSpPr>
            <p:nvPr/>
          </p:nvGrpSpPr>
          <p:grpSpPr bwMode="auto">
            <a:xfrm>
              <a:off x="1" y="572"/>
              <a:ext cx="5754" cy="265"/>
              <a:chOff x="1" y="572"/>
              <a:chExt cx="5754" cy="265"/>
            </a:xfrm>
          </p:grpSpPr>
          <p:sp>
            <p:nvSpPr>
              <p:cNvPr id="11292" name="Freeform 891"/>
              <p:cNvSpPr>
                <a:spLocks noChangeArrowheads="1"/>
              </p:cNvSpPr>
              <p:nvPr/>
            </p:nvSpPr>
            <p:spPr bwMode="auto">
              <a:xfrm>
                <a:off x="1" y="634"/>
                <a:ext cx="5754" cy="203"/>
              </a:xfrm>
              <a:custGeom>
                <a:avLst/>
                <a:gdLst>
                  <a:gd name="T0" fmla="*/ 5673 w 5758"/>
                  <a:gd name="T1" fmla="*/ 130 h 206"/>
                  <a:gd name="T2" fmla="*/ 2867 w 5758"/>
                  <a:gd name="T3" fmla="*/ 0 h 206"/>
                  <a:gd name="T4" fmla="*/ 66 w 5758"/>
                  <a:gd name="T5" fmla="*/ 130 h 206"/>
                  <a:gd name="T6" fmla="*/ 0 w 5758"/>
                  <a:gd name="T7" fmla="*/ 135 h 206"/>
                  <a:gd name="T8" fmla="*/ 0 w 5758"/>
                  <a:gd name="T9" fmla="*/ 179 h 206"/>
                  <a:gd name="T10" fmla="*/ 2862 w 5758"/>
                  <a:gd name="T11" fmla="*/ 184 h 206"/>
                  <a:gd name="T12" fmla="*/ 5733 w 5758"/>
                  <a:gd name="T13" fmla="*/ 177 h 206"/>
                  <a:gd name="T14" fmla="*/ 5734 w 5758"/>
                  <a:gd name="T15" fmla="*/ 135 h 206"/>
                  <a:gd name="T16" fmla="*/ 5673 w 5758"/>
                  <a:gd name="T17" fmla="*/ 130 h 20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5758" h="206">
                    <a:moveTo>
                      <a:pt x="5697" y="142"/>
                    </a:moveTo>
                    <a:cubicBezTo>
                      <a:pt x="5311" y="91"/>
                      <a:pt x="4357" y="0"/>
                      <a:pt x="2879" y="0"/>
                    </a:cubicBezTo>
                    <a:cubicBezTo>
                      <a:pt x="1401" y="0"/>
                      <a:pt x="452" y="91"/>
                      <a:pt x="66" y="142"/>
                    </a:cubicBezTo>
                    <a:cubicBezTo>
                      <a:pt x="41" y="142"/>
                      <a:pt x="20" y="147"/>
                      <a:pt x="0" y="147"/>
                    </a:cubicBezTo>
                    <a:cubicBezTo>
                      <a:pt x="0" y="181"/>
                      <a:pt x="0" y="197"/>
                      <a:pt x="0" y="197"/>
                    </a:cubicBezTo>
                    <a:cubicBezTo>
                      <a:pt x="479" y="206"/>
                      <a:pt x="1915" y="202"/>
                      <a:pt x="2874" y="202"/>
                    </a:cubicBezTo>
                    <a:cubicBezTo>
                      <a:pt x="3833" y="202"/>
                      <a:pt x="5276" y="204"/>
                      <a:pt x="5757" y="195"/>
                    </a:cubicBezTo>
                    <a:cubicBezTo>
                      <a:pt x="5758" y="166"/>
                      <a:pt x="5758" y="147"/>
                      <a:pt x="5758" y="147"/>
                    </a:cubicBezTo>
                    <a:cubicBezTo>
                      <a:pt x="5743" y="147"/>
                      <a:pt x="5722" y="142"/>
                      <a:pt x="5697" y="142"/>
                    </a:cubicBezTo>
                    <a:close/>
                  </a:path>
                </a:pathLst>
              </a:custGeom>
              <a:gradFill rotWithShape="0">
                <a:gsLst>
                  <a:gs pos="0">
                    <a:srgbClr val="000000"/>
                  </a:gs>
                  <a:gs pos="100000">
                    <a:srgbClr val="000000">
                      <a:alpha val="50000"/>
                    </a:srgbClr>
                  </a:gs>
                </a:gsLst>
                <a:lin ang="5400000" scaled="1"/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  <p:sp>
            <p:nvSpPr>
              <p:cNvPr id="11293" name="Freeform 892"/>
              <p:cNvSpPr>
                <a:spLocks noChangeArrowheads="1"/>
              </p:cNvSpPr>
              <p:nvPr/>
            </p:nvSpPr>
            <p:spPr bwMode="auto">
              <a:xfrm>
                <a:off x="1" y="572"/>
                <a:ext cx="5754" cy="205"/>
              </a:xfrm>
              <a:custGeom>
                <a:avLst/>
                <a:gdLst>
                  <a:gd name="T0" fmla="*/ 2147483647 w 1134"/>
                  <a:gd name="T1" fmla="*/ 0 h 41"/>
                  <a:gd name="T2" fmla="*/ 0 w 1134"/>
                  <a:gd name="T3" fmla="*/ 2147483647 h 41"/>
                  <a:gd name="T4" fmla="*/ 283797139 w 1134"/>
                  <a:gd name="T5" fmla="*/ 2147483647 h 41"/>
                  <a:gd name="T6" fmla="*/ 748446496 w 1134"/>
                  <a:gd name="T7" fmla="*/ 2147483647 h 41"/>
                  <a:gd name="T8" fmla="*/ 2147483647 w 1134"/>
                  <a:gd name="T9" fmla="*/ 683609375 h 41"/>
                  <a:gd name="T10" fmla="*/ 2147483647 w 1134"/>
                  <a:gd name="T11" fmla="*/ 2147483647 h 41"/>
                  <a:gd name="T12" fmla="*/ 2147483647 w 1134"/>
                  <a:gd name="T13" fmla="*/ 2147483647 h 41"/>
                  <a:gd name="T14" fmla="*/ 2147483647 w 1134"/>
                  <a:gd name="T15" fmla="*/ 2147483647 h 41"/>
                  <a:gd name="T16" fmla="*/ 2147483647 w 1134"/>
                  <a:gd name="T17" fmla="*/ 2147483647 h 41"/>
                  <a:gd name="T18" fmla="*/ 2147483647 w 1134"/>
                  <a:gd name="T19" fmla="*/ 0 h 41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1134" h="41">
                    <a:moveTo>
                      <a:pt x="567" y="0"/>
                    </a:moveTo>
                    <a:cubicBezTo>
                      <a:pt x="264" y="0"/>
                      <a:pt x="69" y="29"/>
                      <a:pt x="0" y="41"/>
                    </a:cubicBezTo>
                    <a:cubicBezTo>
                      <a:pt x="5" y="41"/>
                      <a:pt x="5" y="41"/>
                      <a:pt x="5" y="41"/>
                    </a:cubicBezTo>
                    <a:cubicBezTo>
                      <a:pt x="13" y="41"/>
                      <a:pt x="13" y="41"/>
                      <a:pt x="13" y="41"/>
                    </a:cubicBezTo>
                    <a:cubicBezTo>
                      <a:pt x="89" y="31"/>
                      <a:pt x="276" y="13"/>
                      <a:pt x="567" y="13"/>
                    </a:cubicBezTo>
                    <a:cubicBezTo>
                      <a:pt x="858" y="13"/>
                      <a:pt x="1046" y="31"/>
                      <a:pt x="1122" y="41"/>
                    </a:cubicBezTo>
                    <a:cubicBezTo>
                      <a:pt x="1129" y="41"/>
                      <a:pt x="1129" y="41"/>
                      <a:pt x="1129" y="41"/>
                    </a:cubicBezTo>
                    <a:cubicBezTo>
                      <a:pt x="1134" y="41"/>
                      <a:pt x="1134" y="41"/>
                      <a:pt x="1134" y="41"/>
                    </a:cubicBezTo>
                    <a:cubicBezTo>
                      <a:pt x="1134" y="41"/>
                      <a:pt x="1134" y="41"/>
                      <a:pt x="1134" y="41"/>
                    </a:cubicBezTo>
                    <a:cubicBezTo>
                      <a:pt x="1066" y="29"/>
                      <a:pt x="870" y="0"/>
                      <a:pt x="567" y="0"/>
                    </a:cubicBezTo>
                    <a:close/>
                  </a:path>
                </a:pathLst>
              </a:custGeom>
              <a:solidFill>
                <a:srgbClr val="FFFFFF">
                  <a:alpha val="50195"/>
                </a:srgb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49263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GB" smtClean="0">
                  <a:solidFill>
                    <a:srgbClr val="FFFFFF"/>
                  </a:solidFill>
                  <a:ea typeface="MS PGothic" pitchFamily="34" charset="-128"/>
                  <a:cs typeface="Arial"/>
                </a:endParaRPr>
              </a:p>
            </p:txBody>
          </p:sp>
        </p:grpSp>
      </p:grpSp>
      <p:grpSp>
        <p:nvGrpSpPr>
          <p:cNvPr id="11267" name="Group 893"/>
          <p:cNvGrpSpPr>
            <a:grpSpLocks/>
          </p:cNvGrpSpPr>
          <p:nvPr/>
        </p:nvGrpSpPr>
        <p:grpSpPr bwMode="auto">
          <a:xfrm>
            <a:off x="4341813" y="6453188"/>
            <a:ext cx="458787" cy="298450"/>
            <a:chOff x="2735" y="4065"/>
            <a:chExt cx="289" cy="188"/>
          </a:xfrm>
        </p:grpSpPr>
        <p:sp>
          <p:nvSpPr>
            <p:cNvPr id="11273" name="Rectangle 894"/>
            <p:cNvSpPr>
              <a:spLocks noChangeArrowheads="1"/>
            </p:cNvSpPr>
            <p:nvPr/>
          </p:nvSpPr>
          <p:spPr bwMode="auto">
            <a:xfrm>
              <a:off x="2735" y="4065"/>
              <a:ext cx="289" cy="188"/>
            </a:xfrm>
            <a:prstGeom prst="rect">
              <a:avLst/>
            </a:prstGeom>
            <a:solidFill>
              <a:srgbClr val="134095"/>
            </a:solidFill>
            <a:ln w="12600">
              <a:solidFill>
                <a:srgbClr val="FFFFFF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US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11274" name="Freeform 895"/>
            <p:cNvSpPr>
              <a:spLocks noChangeArrowheads="1"/>
            </p:cNvSpPr>
            <p:nvPr/>
          </p:nvSpPr>
          <p:spPr bwMode="auto">
            <a:xfrm>
              <a:off x="2870" y="4089"/>
              <a:ext cx="19" cy="16"/>
            </a:xfrm>
            <a:custGeom>
              <a:avLst/>
              <a:gdLst>
                <a:gd name="T0" fmla="*/ 0 w 45"/>
                <a:gd name="T1" fmla="*/ 0 h 40"/>
                <a:gd name="T2" fmla="*/ 0 w 45"/>
                <a:gd name="T3" fmla="*/ 0 h 40"/>
                <a:gd name="T4" fmla="*/ 0 w 45"/>
                <a:gd name="T5" fmla="*/ 0 h 40"/>
                <a:gd name="T6" fmla="*/ 0 w 45"/>
                <a:gd name="T7" fmla="*/ 0 h 40"/>
                <a:gd name="T8" fmla="*/ 0 w 45"/>
                <a:gd name="T9" fmla="*/ 0 h 40"/>
                <a:gd name="T10" fmla="*/ 0 w 45"/>
                <a:gd name="T11" fmla="*/ 0 h 40"/>
                <a:gd name="T12" fmla="*/ 0 w 45"/>
                <a:gd name="T13" fmla="*/ 0 h 40"/>
                <a:gd name="T14" fmla="*/ 0 w 45"/>
                <a:gd name="T15" fmla="*/ 0 h 40"/>
                <a:gd name="T16" fmla="*/ 0 w 45"/>
                <a:gd name="T17" fmla="*/ 0 h 40"/>
                <a:gd name="T18" fmla="*/ 0 w 45"/>
                <a:gd name="T19" fmla="*/ 0 h 40"/>
                <a:gd name="T20" fmla="*/ 0 w 45"/>
                <a:gd name="T21" fmla="*/ 0 h 4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45" h="40">
                  <a:moveTo>
                    <a:pt x="16" y="14"/>
                  </a:moveTo>
                  <a:lnTo>
                    <a:pt x="21" y="0"/>
                  </a:lnTo>
                  <a:lnTo>
                    <a:pt x="28" y="14"/>
                  </a:lnTo>
                  <a:lnTo>
                    <a:pt x="45" y="14"/>
                  </a:lnTo>
                  <a:lnTo>
                    <a:pt x="30" y="26"/>
                  </a:lnTo>
                  <a:lnTo>
                    <a:pt x="35" y="40"/>
                  </a:lnTo>
                  <a:lnTo>
                    <a:pt x="21" y="30"/>
                  </a:lnTo>
                  <a:lnTo>
                    <a:pt x="9" y="40"/>
                  </a:lnTo>
                  <a:lnTo>
                    <a:pt x="14" y="26"/>
                  </a:lnTo>
                  <a:lnTo>
                    <a:pt x="0" y="14"/>
                  </a:lnTo>
                  <a:lnTo>
                    <a:pt x="16" y="14"/>
                  </a:lnTo>
                  <a:close/>
                </a:path>
              </a:pathLst>
            </a:custGeom>
            <a:solidFill>
              <a:srgbClr val="FFF2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11275" name="Freeform 896"/>
            <p:cNvSpPr>
              <a:spLocks noChangeArrowheads="1"/>
            </p:cNvSpPr>
            <p:nvPr/>
          </p:nvSpPr>
          <p:spPr bwMode="auto">
            <a:xfrm>
              <a:off x="2837" y="4097"/>
              <a:ext cx="18" cy="18"/>
            </a:xfrm>
            <a:custGeom>
              <a:avLst/>
              <a:gdLst>
                <a:gd name="T0" fmla="*/ 0 w 42"/>
                <a:gd name="T1" fmla="*/ 0 h 43"/>
                <a:gd name="T2" fmla="*/ 0 w 42"/>
                <a:gd name="T3" fmla="*/ 0 h 43"/>
                <a:gd name="T4" fmla="*/ 0 w 42"/>
                <a:gd name="T5" fmla="*/ 0 h 43"/>
                <a:gd name="T6" fmla="*/ 0 w 42"/>
                <a:gd name="T7" fmla="*/ 0 h 43"/>
                <a:gd name="T8" fmla="*/ 0 w 42"/>
                <a:gd name="T9" fmla="*/ 0 h 43"/>
                <a:gd name="T10" fmla="*/ 0 w 42"/>
                <a:gd name="T11" fmla="*/ 0 h 43"/>
                <a:gd name="T12" fmla="*/ 0 w 42"/>
                <a:gd name="T13" fmla="*/ 0 h 43"/>
                <a:gd name="T14" fmla="*/ 0 w 42"/>
                <a:gd name="T15" fmla="*/ 0 h 43"/>
                <a:gd name="T16" fmla="*/ 0 w 42"/>
                <a:gd name="T17" fmla="*/ 0 h 43"/>
                <a:gd name="T18" fmla="*/ 0 w 42"/>
                <a:gd name="T19" fmla="*/ 0 h 43"/>
                <a:gd name="T20" fmla="*/ 0 w 42"/>
                <a:gd name="T21" fmla="*/ 0 h 4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42" h="43">
                  <a:moveTo>
                    <a:pt x="16" y="17"/>
                  </a:moveTo>
                  <a:lnTo>
                    <a:pt x="21" y="0"/>
                  </a:lnTo>
                  <a:lnTo>
                    <a:pt x="26" y="17"/>
                  </a:lnTo>
                  <a:lnTo>
                    <a:pt x="42" y="17"/>
                  </a:lnTo>
                  <a:lnTo>
                    <a:pt x="28" y="26"/>
                  </a:lnTo>
                  <a:lnTo>
                    <a:pt x="35" y="43"/>
                  </a:lnTo>
                  <a:lnTo>
                    <a:pt x="21" y="33"/>
                  </a:lnTo>
                  <a:lnTo>
                    <a:pt x="7" y="43"/>
                  </a:lnTo>
                  <a:lnTo>
                    <a:pt x="11" y="26"/>
                  </a:lnTo>
                  <a:lnTo>
                    <a:pt x="0" y="17"/>
                  </a:lnTo>
                  <a:lnTo>
                    <a:pt x="16" y="17"/>
                  </a:lnTo>
                  <a:close/>
                </a:path>
              </a:pathLst>
            </a:custGeom>
            <a:solidFill>
              <a:srgbClr val="FFF2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11276" name="Freeform 897"/>
            <p:cNvSpPr>
              <a:spLocks noChangeArrowheads="1"/>
            </p:cNvSpPr>
            <p:nvPr/>
          </p:nvSpPr>
          <p:spPr bwMode="auto">
            <a:xfrm>
              <a:off x="2837" y="4206"/>
              <a:ext cx="19" cy="17"/>
            </a:xfrm>
            <a:custGeom>
              <a:avLst/>
              <a:gdLst>
                <a:gd name="T0" fmla="*/ 0 w 44"/>
                <a:gd name="T1" fmla="*/ 0 h 43"/>
                <a:gd name="T2" fmla="*/ 0 w 44"/>
                <a:gd name="T3" fmla="*/ 0 h 43"/>
                <a:gd name="T4" fmla="*/ 0 w 44"/>
                <a:gd name="T5" fmla="*/ 0 h 43"/>
                <a:gd name="T6" fmla="*/ 0 w 44"/>
                <a:gd name="T7" fmla="*/ 0 h 43"/>
                <a:gd name="T8" fmla="*/ 0 w 44"/>
                <a:gd name="T9" fmla="*/ 0 h 43"/>
                <a:gd name="T10" fmla="*/ 0 w 44"/>
                <a:gd name="T11" fmla="*/ 0 h 43"/>
                <a:gd name="T12" fmla="*/ 0 w 44"/>
                <a:gd name="T13" fmla="*/ 0 h 43"/>
                <a:gd name="T14" fmla="*/ 0 w 44"/>
                <a:gd name="T15" fmla="*/ 0 h 43"/>
                <a:gd name="T16" fmla="*/ 0 w 44"/>
                <a:gd name="T17" fmla="*/ 0 h 43"/>
                <a:gd name="T18" fmla="*/ 0 w 44"/>
                <a:gd name="T19" fmla="*/ 0 h 43"/>
                <a:gd name="T20" fmla="*/ 0 w 44"/>
                <a:gd name="T21" fmla="*/ 0 h 4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44" h="43">
                  <a:moveTo>
                    <a:pt x="16" y="17"/>
                  </a:moveTo>
                  <a:lnTo>
                    <a:pt x="21" y="0"/>
                  </a:lnTo>
                  <a:lnTo>
                    <a:pt x="26" y="17"/>
                  </a:lnTo>
                  <a:lnTo>
                    <a:pt x="44" y="17"/>
                  </a:lnTo>
                  <a:lnTo>
                    <a:pt x="30" y="26"/>
                  </a:lnTo>
                  <a:lnTo>
                    <a:pt x="35" y="43"/>
                  </a:lnTo>
                  <a:lnTo>
                    <a:pt x="21" y="31"/>
                  </a:lnTo>
                  <a:lnTo>
                    <a:pt x="7" y="43"/>
                  </a:lnTo>
                  <a:lnTo>
                    <a:pt x="14" y="26"/>
                  </a:lnTo>
                  <a:lnTo>
                    <a:pt x="0" y="17"/>
                  </a:lnTo>
                  <a:lnTo>
                    <a:pt x="16" y="17"/>
                  </a:lnTo>
                  <a:close/>
                </a:path>
              </a:pathLst>
            </a:custGeom>
            <a:solidFill>
              <a:srgbClr val="FFF2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11277" name="Freeform 898"/>
            <p:cNvSpPr>
              <a:spLocks noChangeArrowheads="1"/>
            </p:cNvSpPr>
            <p:nvPr/>
          </p:nvSpPr>
          <p:spPr bwMode="auto">
            <a:xfrm>
              <a:off x="2870" y="4215"/>
              <a:ext cx="19" cy="17"/>
            </a:xfrm>
            <a:custGeom>
              <a:avLst/>
              <a:gdLst>
                <a:gd name="T0" fmla="*/ 0 w 45"/>
                <a:gd name="T1" fmla="*/ 0 h 42"/>
                <a:gd name="T2" fmla="*/ 0 w 45"/>
                <a:gd name="T3" fmla="*/ 0 h 42"/>
                <a:gd name="T4" fmla="*/ 0 w 45"/>
                <a:gd name="T5" fmla="*/ 0 h 42"/>
                <a:gd name="T6" fmla="*/ 0 w 45"/>
                <a:gd name="T7" fmla="*/ 0 h 42"/>
                <a:gd name="T8" fmla="*/ 0 w 45"/>
                <a:gd name="T9" fmla="*/ 0 h 42"/>
                <a:gd name="T10" fmla="*/ 0 w 45"/>
                <a:gd name="T11" fmla="*/ 0 h 42"/>
                <a:gd name="T12" fmla="*/ 0 w 45"/>
                <a:gd name="T13" fmla="*/ 0 h 42"/>
                <a:gd name="T14" fmla="*/ 0 w 45"/>
                <a:gd name="T15" fmla="*/ 0 h 42"/>
                <a:gd name="T16" fmla="*/ 0 w 45"/>
                <a:gd name="T17" fmla="*/ 0 h 42"/>
                <a:gd name="T18" fmla="*/ 0 w 45"/>
                <a:gd name="T19" fmla="*/ 0 h 42"/>
                <a:gd name="T20" fmla="*/ 0 w 45"/>
                <a:gd name="T21" fmla="*/ 0 h 4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45" h="42">
                  <a:moveTo>
                    <a:pt x="16" y="16"/>
                  </a:moveTo>
                  <a:lnTo>
                    <a:pt x="21" y="0"/>
                  </a:lnTo>
                  <a:lnTo>
                    <a:pt x="28" y="16"/>
                  </a:lnTo>
                  <a:lnTo>
                    <a:pt x="45" y="16"/>
                  </a:lnTo>
                  <a:lnTo>
                    <a:pt x="30" y="26"/>
                  </a:lnTo>
                  <a:lnTo>
                    <a:pt x="35" y="42"/>
                  </a:lnTo>
                  <a:lnTo>
                    <a:pt x="21" y="33"/>
                  </a:lnTo>
                  <a:lnTo>
                    <a:pt x="9" y="42"/>
                  </a:lnTo>
                  <a:lnTo>
                    <a:pt x="14" y="26"/>
                  </a:lnTo>
                  <a:lnTo>
                    <a:pt x="0" y="16"/>
                  </a:lnTo>
                  <a:lnTo>
                    <a:pt x="16" y="16"/>
                  </a:lnTo>
                  <a:close/>
                </a:path>
              </a:pathLst>
            </a:custGeom>
            <a:solidFill>
              <a:srgbClr val="FFF2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11278" name="Freeform 899"/>
            <p:cNvSpPr>
              <a:spLocks noChangeArrowheads="1"/>
            </p:cNvSpPr>
            <p:nvPr/>
          </p:nvSpPr>
          <p:spPr bwMode="auto">
            <a:xfrm>
              <a:off x="2812" y="4184"/>
              <a:ext cx="19" cy="16"/>
            </a:xfrm>
            <a:custGeom>
              <a:avLst/>
              <a:gdLst>
                <a:gd name="T0" fmla="*/ 0 w 45"/>
                <a:gd name="T1" fmla="*/ 0 h 40"/>
                <a:gd name="T2" fmla="*/ 0 w 45"/>
                <a:gd name="T3" fmla="*/ 0 h 40"/>
                <a:gd name="T4" fmla="*/ 0 w 45"/>
                <a:gd name="T5" fmla="*/ 0 h 40"/>
                <a:gd name="T6" fmla="*/ 0 w 45"/>
                <a:gd name="T7" fmla="*/ 0 h 40"/>
                <a:gd name="T8" fmla="*/ 0 w 45"/>
                <a:gd name="T9" fmla="*/ 0 h 40"/>
                <a:gd name="T10" fmla="*/ 0 w 45"/>
                <a:gd name="T11" fmla="*/ 0 h 40"/>
                <a:gd name="T12" fmla="*/ 0 w 45"/>
                <a:gd name="T13" fmla="*/ 0 h 40"/>
                <a:gd name="T14" fmla="*/ 0 w 45"/>
                <a:gd name="T15" fmla="*/ 0 h 40"/>
                <a:gd name="T16" fmla="*/ 0 w 45"/>
                <a:gd name="T17" fmla="*/ 0 h 40"/>
                <a:gd name="T18" fmla="*/ 0 w 45"/>
                <a:gd name="T19" fmla="*/ 0 h 40"/>
                <a:gd name="T20" fmla="*/ 0 w 45"/>
                <a:gd name="T21" fmla="*/ 0 h 4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45" h="40">
                  <a:moveTo>
                    <a:pt x="19" y="14"/>
                  </a:moveTo>
                  <a:lnTo>
                    <a:pt x="24" y="0"/>
                  </a:lnTo>
                  <a:lnTo>
                    <a:pt x="28" y="14"/>
                  </a:lnTo>
                  <a:lnTo>
                    <a:pt x="45" y="14"/>
                  </a:lnTo>
                  <a:lnTo>
                    <a:pt x="31" y="26"/>
                  </a:lnTo>
                  <a:lnTo>
                    <a:pt x="38" y="40"/>
                  </a:lnTo>
                  <a:lnTo>
                    <a:pt x="24" y="31"/>
                  </a:lnTo>
                  <a:lnTo>
                    <a:pt x="9" y="40"/>
                  </a:lnTo>
                  <a:lnTo>
                    <a:pt x="14" y="26"/>
                  </a:lnTo>
                  <a:lnTo>
                    <a:pt x="0" y="14"/>
                  </a:lnTo>
                  <a:lnTo>
                    <a:pt x="19" y="14"/>
                  </a:lnTo>
                  <a:close/>
                </a:path>
              </a:pathLst>
            </a:custGeom>
            <a:solidFill>
              <a:srgbClr val="FFF2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11279" name="Freeform 900"/>
            <p:cNvSpPr>
              <a:spLocks noChangeArrowheads="1"/>
            </p:cNvSpPr>
            <p:nvPr/>
          </p:nvSpPr>
          <p:spPr bwMode="auto">
            <a:xfrm>
              <a:off x="2804" y="4151"/>
              <a:ext cx="19" cy="17"/>
            </a:xfrm>
            <a:custGeom>
              <a:avLst/>
              <a:gdLst>
                <a:gd name="T0" fmla="*/ 0 w 45"/>
                <a:gd name="T1" fmla="*/ 0 h 42"/>
                <a:gd name="T2" fmla="*/ 0 w 45"/>
                <a:gd name="T3" fmla="*/ 0 h 42"/>
                <a:gd name="T4" fmla="*/ 0 w 45"/>
                <a:gd name="T5" fmla="*/ 0 h 42"/>
                <a:gd name="T6" fmla="*/ 0 w 45"/>
                <a:gd name="T7" fmla="*/ 0 h 42"/>
                <a:gd name="T8" fmla="*/ 0 w 45"/>
                <a:gd name="T9" fmla="*/ 0 h 42"/>
                <a:gd name="T10" fmla="*/ 0 w 45"/>
                <a:gd name="T11" fmla="*/ 0 h 42"/>
                <a:gd name="T12" fmla="*/ 0 w 45"/>
                <a:gd name="T13" fmla="*/ 0 h 42"/>
                <a:gd name="T14" fmla="*/ 0 w 45"/>
                <a:gd name="T15" fmla="*/ 0 h 42"/>
                <a:gd name="T16" fmla="*/ 0 w 45"/>
                <a:gd name="T17" fmla="*/ 0 h 42"/>
                <a:gd name="T18" fmla="*/ 0 w 45"/>
                <a:gd name="T19" fmla="*/ 0 h 42"/>
                <a:gd name="T20" fmla="*/ 0 w 45"/>
                <a:gd name="T21" fmla="*/ 0 h 4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45" h="42">
                  <a:moveTo>
                    <a:pt x="17" y="16"/>
                  </a:moveTo>
                  <a:lnTo>
                    <a:pt x="22" y="0"/>
                  </a:lnTo>
                  <a:lnTo>
                    <a:pt x="29" y="16"/>
                  </a:lnTo>
                  <a:lnTo>
                    <a:pt x="45" y="16"/>
                  </a:lnTo>
                  <a:lnTo>
                    <a:pt x="31" y="26"/>
                  </a:lnTo>
                  <a:lnTo>
                    <a:pt x="36" y="42"/>
                  </a:lnTo>
                  <a:lnTo>
                    <a:pt x="22" y="33"/>
                  </a:lnTo>
                  <a:lnTo>
                    <a:pt x="10" y="42"/>
                  </a:lnTo>
                  <a:lnTo>
                    <a:pt x="15" y="26"/>
                  </a:lnTo>
                  <a:lnTo>
                    <a:pt x="0" y="16"/>
                  </a:lnTo>
                  <a:lnTo>
                    <a:pt x="17" y="16"/>
                  </a:lnTo>
                  <a:close/>
                </a:path>
              </a:pathLst>
            </a:custGeom>
            <a:solidFill>
              <a:srgbClr val="FFF2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11280" name="Freeform 901"/>
            <p:cNvSpPr>
              <a:spLocks noChangeArrowheads="1"/>
            </p:cNvSpPr>
            <p:nvPr/>
          </p:nvSpPr>
          <p:spPr bwMode="auto">
            <a:xfrm>
              <a:off x="2813" y="4120"/>
              <a:ext cx="18" cy="17"/>
            </a:xfrm>
            <a:custGeom>
              <a:avLst/>
              <a:gdLst>
                <a:gd name="T0" fmla="*/ 0 w 43"/>
                <a:gd name="T1" fmla="*/ 0 h 42"/>
                <a:gd name="T2" fmla="*/ 0 w 43"/>
                <a:gd name="T3" fmla="*/ 0 h 42"/>
                <a:gd name="T4" fmla="*/ 0 w 43"/>
                <a:gd name="T5" fmla="*/ 0 h 42"/>
                <a:gd name="T6" fmla="*/ 0 w 43"/>
                <a:gd name="T7" fmla="*/ 0 h 42"/>
                <a:gd name="T8" fmla="*/ 0 w 43"/>
                <a:gd name="T9" fmla="*/ 0 h 42"/>
                <a:gd name="T10" fmla="*/ 0 w 43"/>
                <a:gd name="T11" fmla="*/ 0 h 42"/>
                <a:gd name="T12" fmla="*/ 0 w 43"/>
                <a:gd name="T13" fmla="*/ 0 h 42"/>
                <a:gd name="T14" fmla="*/ 0 w 43"/>
                <a:gd name="T15" fmla="*/ 0 h 42"/>
                <a:gd name="T16" fmla="*/ 0 w 43"/>
                <a:gd name="T17" fmla="*/ 0 h 42"/>
                <a:gd name="T18" fmla="*/ 0 w 43"/>
                <a:gd name="T19" fmla="*/ 0 h 42"/>
                <a:gd name="T20" fmla="*/ 0 w 43"/>
                <a:gd name="T21" fmla="*/ 0 h 4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43" h="42">
                  <a:moveTo>
                    <a:pt x="17" y="16"/>
                  </a:moveTo>
                  <a:lnTo>
                    <a:pt x="22" y="0"/>
                  </a:lnTo>
                  <a:lnTo>
                    <a:pt x="26" y="16"/>
                  </a:lnTo>
                  <a:lnTo>
                    <a:pt x="43" y="16"/>
                  </a:lnTo>
                  <a:lnTo>
                    <a:pt x="31" y="26"/>
                  </a:lnTo>
                  <a:lnTo>
                    <a:pt x="36" y="42"/>
                  </a:lnTo>
                  <a:lnTo>
                    <a:pt x="22" y="33"/>
                  </a:lnTo>
                  <a:lnTo>
                    <a:pt x="7" y="42"/>
                  </a:lnTo>
                  <a:lnTo>
                    <a:pt x="12" y="26"/>
                  </a:lnTo>
                  <a:lnTo>
                    <a:pt x="0" y="16"/>
                  </a:lnTo>
                  <a:lnTo>
                    <a:pt x="17" y="16"/>
                  </a:lnTo>
                  <a:close/>
                </a:path>
              </a:pathLst>
            </a:custGeom>
            <a:solidFill>
              <a:srgbClr val="FFF2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11281" name="Freeform 902"/>
            <p:cNvSpPr>
              <a:spLocks noChangeArrowheads="1"/>
            </p:cNvSpPr>
            <p:nvPr/>
          </p:nvSpPr>
          <p:spPr bwMode="auto">
            <a:xfrm>
              <a:off x="2904" y="4097"/>
              <a:ext cx="18" cy="18"/>
            </a:xfrm>
            <a:custGeom>
              <a:avLst/>
              <a:gdLst>
                <a:gd name="T0" fmla="*/ 0 w 43"/>
                <a:gd name="T1" fmla="*/ 0 h 43"/>
                <a:gd name="T2" fmla="*/ 0 w 43"/>
                <a:gd name="T3" fmla="*/ 0 h 43"/>
                <a:gd name="T4" fmla="*/ 0 w 43"/>
                <a:gd name="T5" fmla="*/ 0 h 43"/>
                <a:gd name="T6" fmla="*/ 0 w 43"/>
                <a:gd name="T7" fmla="*/ 0 h 43"/>
                <a:gd name="T8" fmla="*/ 0 w 43"/>
                <a:gd name="T9" fmla="*/ 0 h 43"/>
                <a:gd name="T10" fmla="*/ 0 w 43"/>
                <a:gd name="T11" fmla="*/ 0 h 43"/>
                <a:gd name="T12" fmla="*/ 0 w 43"/>
                <a:gd name="T13" fmla="*/ 0 h 43"/>
                <a:gd name="T14" fmla="*/ 0 w 43"/>
                <a:gd name="T15" fmla="*/ 0 h 43"/>
                <a:gd name="T16" fmla="*/ 0 w 43"/>
                <a:gd name="T17" fmla="*/ 0 h 43"/>
                <a:gd name="T18" fmla="*/ 0 w 43"/>
                <a:gd name="T19" fmla="*/ 0 h 43"/>
                <a:gd name="T20" fmla="*/ 0 w 43"/>
                <a:gd name="T21" fmla="*/ 0 h 4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43" h="43">
                  <a:moveTo>
                    <a:pt x="17" y="17"/>
                  </a:moveTo>
                  <a:lnTo>
                    <a:pt x="22" y="0"/>
                  </a:lnTo>
                  <a:lnTo>
                    <a:pt x="26" y="17"/>
                  </a:lnTo>
                  <a:lnTo>
                    <a:pt x="43" y="17"/>
                  </a:lnTo>
                  <a:lnTo>
                    <a:pt x="29" y="26"/>
                  </a:lnTo>
                  <a:lnTo>
                    <a:pt x="36" y="43"/>
                  </a:lnTo>
                  <a:lnTo>
                    <a:pt x="22" y="33"/>
                  </a:lnTo>
                  <a:lnTo>
                    <a:pt x="7" y="43"/>
                  </a:lnTo>
                  <a:lnTo>
                    <a:pt x="12" y="26"/>
                  </a:lnTo>
                  <a:lnTo>
                    <a:pt x="0" y="17"/>
                  </a:lnTo>
                  <a:lnTo>
                    <a:pt x="17" y="17"/>
                  </a:lnTo>
                  <a:close/>
                </a:path>
              </a:pathLst>
            </a:custGeom>
            <a:solidFill>
              <a:srgbClr val="FFF2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11282" name="Freeform 903"/>
            <p:cNvSpPr>
              <a:spLocks noChangeArrowheads="1"/>
            </p:cNvSpPr>
            <p:nvPr/>
          </p:nvSpPr>
          <p:spPr bwMode="auto">
            <a:xfrm>
              <a:off x="2927" y="4120"/>
              <a:ext cx="19" cy="17"/>
            </a:xfrm>
            <a:custGeom>
              <a:avLst/>
              <a:gdLst>
                <a:gd name="T0" fmla="*/ 0 w 44"/>
                <a:gd name="T1" fmla="*/ 0 h 42"/>
                <a:gd name="T2" fmla="*/ 0 w 44"/>
                <a:gd name="T3" fmla="*/ 0 h 42"/>
                <a:gd name="T4" fmla="*/ 0 w 44"/>
                <a:gd name="T5" fmla="*/ 0 h 42"/>
                <a:gd name="T6" fmla="*/ 0 w 44"/>
                <a:gd name="T7" fmla="*/ 0 h 42"/>
                <a:gd name="T8" fmla="*/ 0 w 44"/>
                <a:gd name="T9" fmla="*/ 0 h 42"/>
                <a:gd name="T10" fmla="*/ 0 w 44"/>
                <a:gd name="T11" fmla="*/ 0 h 42"/>
                <a:gd name="T12" fmla="*/ 0 w 44"/>
                <a:gd name="T13" fmla="*/ 0 h 42"/>
                <a:gd name="T14" fmla="*/ 0 w 44"/>
                <a:gd name="T15" fmla="*/ 0 h 42"/>
                <a:gd name="T16" fmla="*/ 0 w 44"/>
                <a:gd name="T17" fmla="*/ 0 h 42"/>
                <a:gd name="T18" fmla="*/ 0 w 44"/>
                <a:gd name="T19" fmla="*/ 0 h 42"/>
                <a:gd name="T20" fmla="*/ 0 w 44"/>
                <a:gd name="T21" fmla="*/ 0 h 4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44" h="42">
                  <a:moveTo>
                    <a:pt x="16" y="16"/>
                  </a:moveTo>
                  <a:lnTo>
                    <a:pt x="21" y="0"/>
                  </a:lnTo>
                  <a:lnTo>
                    <a:pt x="28" y="16"/>
                  </a:lnTo>
                  <a:lnTo>
                    <a:pt x="44" y="16"/>
                  </a:lnTo>
                  <a:lnTo>
                    <a:pt x="30" y="28"/>
                  </a:lnTo>
                  <a:lnTo>
                    <a:pt x="35" y="42"/>
                  </a:lnTo>
                  <a:lnTo>
                    <a:pt x="21" y="33"/>
                  </a:lnTo>
                  <a:lnTo>
                    <a:pt x="9" y="42"/>
                  </a:lnTo>
                  <a:lnTo>
                    <a:pt x="14" y="28"/>
                  </a:lnTo>
                  <a:lnTo>
                    <a:pt x="0" y="16"/>
                  </a:lnTo>
                  <a:lnTo>
                    <a:pt x="16" y="16"/>
                  </a:lnTo>
                  <a:close/>
                </a:path>
              </a:pathLst>
            </a:custGeom>
            <a:solidFill>
              <a:srgbClr val="FFF2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11283" name="Freeform 904"/>
            <p:cNvSpPr>
              <a:spLocks noChangeArrowheads="1"/>
            </p:cNvSpPr>
            <p:nvPr/>
          </p:nvSpPr>
          <p:spPr bwMode="auto">
            <a:xfrm>
              <a:off x="2935" y="4152"/>
              <a:ext cx="18" cy="17"/>
            </a:xfrm>
            <a:custGeom>
              <a:avLst/>
              <a:gdLst>
                <a:gd name="T0" fmla="*/ 0 w 43"/>
                <a:gd name="T1" fmla="*/ 0 h 43"/>
                <a:gd name="T2" fmla="*/ 0 w 43"/>
                <a:gd name="T3" fmla="*/ 0 h 43"/>
                <a:gd name="T4" fmla="*/ 0 w 43"/>
                <a:gd name="T5" fmla="*/ 0 h 43"/>
                <a:gd name="T6" fmla="*/ 0 w 43"/>
                <a:gd name="T7" fmla="*/ 0 h 43"/>
                <a:gd name="T8" fmla="*/ 0 w 43"/>
                <a:gd name="T9" fmla="*/ 0 h 43"/>
                <a:gd name="T10" fmla="*/ 0 w 43"/>
                <a:gd name="T11" fmla="*/ 0 h 43"/>
                <a:gd name="T12" fmla="*/ 0 w 43"/>
                <a:gd name="T13" fmla="*/ 0 h 43"/>
                <a:gd name="T14" fmla="*/ 0 w 43"/>
                <a:gd name="T15" fmla="*/ 0 h 43"/>
                <a:gd name="T16" fmla="*/ 0 w 43"/>
                <a:gd name="T17" fmla="*/ 0 h 43"/>
                <a:gd name="T18" fmla="*/ 0 w 43"/>
                <a:gd name="T19" fmla="*/ 0 h 43"/>
                <a:gd name="T20" fmla="*/ 0 w 43"/>
                <a:gd name="T21" fmla="*/ 0 h 4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43" h="43">
                  <a:moveTo>
                    <a:pt x="17" y="17"/>
                  </a:moveTo>
                  <a:lnTo>
                    <a:pt x="21" y="0"/>
                  </a:lnTo>
                  <a:lnTo>
                    <a:pt x="26" y="17"/>
                  </a:lnTo>
                  <a:lnTo>
                    <a:pt x="43" y="17"/>
                  </a:lnTo>
                  <a:lnTo>
                    <a:pt x="31" y="26"/>
                  </a:lnTo>
                  <a:lnTo>
                    <a:pt x="36" y="43"/>
                  </a:lnTo>
                  <a:lnTo>
                    <a:pt x="21" y="33"/>
                  </a:lnTo>
                  <a:lnTo>
                    <a:pt x="7" y="43"/>
                  </a:lnTo>
                  <a:lnTo>
                    <a:pt x="14" y="26"/>
                  </a:lnTo>
                  <a:lnTo>
                    <a:pt x="0" y="17"/>
                  </a:lnTo>
                  <a:lnTo>
                    <a:pt x="17" y="17"/>
                  </a:lnTo>
                  <a:close/>
                </a:path>
              </a:pathLst>
            </a:custGeom>
            <a:solidFill>
              <a:srgbClr val="FFF2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11284" name="Freeform 905"/>
            <p:cNvSpPr>
              <a:spLocks noChangeArrowheads="1"/>
            </p:cNvSpPr>
            <p:nvPr/>
          </p:nvSpPr>
          <p:spPr bwMode="auto">
            <a:xfrm>
              <a:off x="2926" y="4184"/>
              <a:ext cx="19" cy="17"/>
            </a:xfrm>
            <a:custGeom>
              <a:avLst/>
              <a:gdLst>
                <a:gd name="T0" fmla="*/ 0 w 45"/>
                <a:gd name="T1" fmla="*/ 0 h 43"/>
                <a:gd name="T2" fmla="*/ 0 w 45"/>
                <a:gd name="T3" fmla="*/ 0 h 43"/>
                <a:gd name="T4" fmla="*/ 0 w 45"/>
                <a:gd name="T5" fmla="*/ 0 h 43"/>
                <a:gd name="T6" fmla="*/ 0 w 45"/>
                <a:gd name="T7" fmla="*/ 0 h 43"/>
                <a:gd name="T8" fmla="*/ 0 w 45"/>
                <a:gd name="T9" fmla="*/ 0 h 43"/>
                <a:gd name="T10" fmla="*/ 0 w 45"/>
                <a:gd name="T11" fmla="*/ 0 h 43"/>
                <a:gd name="T12" fmla="*/ 0 w 45"/>
                <a:gd name="T13" fmla="*/ 0 h 43"/>
                <a:gd name="T14" fmla="*/ 0 w 45"/>
                <a:gd name="T15" fmla="*/ 0 h 43"/>
                <a:gd name="T16" fmla="*/ 0 w 45"/>
                <a:gd name="T17" fmla="*/ 0 h 43"/>
                <a:gd name="T18" fmla="*/ 0 w 45"/>
                <a:gd name="T19" fmla="*/ 0 h 43"/>
                <a:gd name="T20" fmla="*/ 0 w 45"/>
                <a:gd name="T21" fmla="*/ 0 h 4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45" h="43">
                  <a:moveTo>
                    <a:pt x="19" y="17"/>
                  </a:moveTo>
                  <a:lnTo>
                    <a:pt x="24" y="0"/>
                  </a:lnTo>
                  <a:lnTo>
                    <a:pt x="29" y="17"/>
                  </a:lnTo>
                  <a:lnTo>
                    <a:pt x="45" y="17"/>
                  </a:lnTo>
                  <a:lnTo>
                    <a:pt x="31" y="26"/>
                  </a:lnTo>
                  <a:lnTo>
                    <a:pt x="36" y="43"/>
                  </a:lnTo>
                  <a:lnTo>
                    <a:pt x="24" y="31"/>
                  </a:lnTo>
                  <a:lnTo>
                    <a:pt x="10" y="43"/>
                  </a:lnTo>
                  <a:lnTo>
                    <a:pt x="14" y="26"/>
                  </a:lnTo>
                  <a:lnTo>
                    <a:pt x="0" y="17"/>
                  </a:lnTo>
                  <a:lnTo>
                    <a:pt x="19" y="17"/>
                  </a:lnTo>
                  <a:close/>
                </a:path>
              </a:pathLst>
            </a:custGeom>
            <a:solidFill>
              <a:srgbClr val="FFF2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11285" name="Freeform 906"/>
            <p:cNvSpPr>
              <a:spLocks noChangeArrowheads="1"/>
            </p:cNvSpPr>
            <p:nvPr/>
          </p:nvSpPr>
          <p:spPr bwMode="auto">
            <a:xfrm>
              <a:off x="2902" y="4206"/>
              <a:ext cx="19" cy="17"/>
            </a:xfrm>
            <a:custGeom>
              <a:avLst/>
              <a:gdLst>
                <a:gd name="T0" fmla="*/ 0 w 45"/>
                <a:gd name="T1" fmla="*/ 0 h 43"/>
                <a:gd name="T2" fmla="*/ 0 w 45"/>
                <a:gd name="T3" fmla="*/ 0 h 43"/>
                <a:gd name="T4" fmla="*/ 0 w 45"/>
                <a:gd name="T5" fmla="*/ 0 h 43"/>
                <a:gd name="T6" fmla="*/ 0 w 45"/>
                <a:gd name="T7" fmla="*/ 0 h 43"/>
                <a:gd name="T8" fmla="*/ 0 w 45"/>
                <a:gd name="T9" fmla="*/ 0 h 43"/>
                <a:gd name="T10" fmla="*/ 0 w 45"/>
                <a:gd name="T11" fmla="*/ 0 h 43"/>
                <a:gd name="T12" fmla="*/ 0 w 45"/>
                <a:gd name="T13" fmla="*/ 0 h 43"/>
                <a:gd name="T14" fmla="*/ 0 w 45"/>
                <a:gd name="T15" fmla="*/ 0 h 43"/>
                <a:gd name="T16" fmla="*/ 0 w 45"/>
                <a:gd name="T17" fmla="*/ 0 h 43"/>
                <a:gd name="T18" fmla="*/ 0 w 45"/>
                <a:gd name="T19" fmla="*/ 0 h 43"/>
                <a:gd name="T20" fmla="*/ 0 w 45"/>
                <a:gd name="T21" fmla="*/ 0 h 4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45" h="43">
                  <a:moveTo>
                    <a:pt x="16" y="17"/>
                  </a:moveTo>
                  <a:lnTo>
                    <a:pt x="24" y="0"/>
                  </a:lnTo>
                  <a:lnTo>
                    <a:pt x="28" y="17"/>
                  </a:lnTo>
                  <a:lnTo>
                    <a:pt x="45" y="17"/>
                  </a:lnTo>
                  <a:lnTo>
                    <a:pt x="31" y="26"/>
                  </a:lnTo>
                  <a:lnTo>
                    <a:pt x="35" y="43"/>
                  </a:lnTo>
                  <a:lnTo>
                    <a:pt x="24" y="33"/>
                  </a:lnTo>
                  <a:lnTo>
                    <a:pt x="9" y="43"/>
                  </a:lnTo>
                  <a:lnTo>
                    <a:pt x="14" y="26"/>
                  </a:lnTo>
                  <a:lnTo>
                    <a:pt x="0" y="17"/>
                  </a:lnTo>
                  <a:lnTo>
                    <a:pt x="16" y="17"/>
                  </a:lnTo>
                  <a:close/>
                </a:path>
              </a:pathLst>
            </a:custGeom>
            <a:solidFill>
              <a:srgbClr val="FFF2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</p:grpSp>
      <p:sp>
        <p:nvSpPr>
          <p:cNvPr id="11268" name="Rectangle 907"/>
          <p:cNvSpPr>
            <a:spLocks noGrp="1" noChangeArrowheads="1"/>
          </p:cNvSpPr>
          <p:nvPr>
            <p:ph type="title"/>
          </p:nvPr>
        </p:nvSpPr>
        <p:spPr bwMode="auto">
          <a:xfrm>
            <a:off x="466725" y="0"/>
            <a:ext cx="7700963" cy="903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000" tIns="46800" rIns="90000" bIns="468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the title text format</a:t>
            </a:r>
          </a:p>
        </p:txBody>
      </p:sp>
      <p:sp>
        <p:nvSpPr>
          <p:cNvPr id="11269" name="Rectangle 908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711325"/>
            <a:ext cx="8224838" cy="42338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000" tIns="46800" rIns="90000" bIns="468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the outline text format</a:t>
            </a:r>
          </a:p>
          <a:p>
            <a:pPr lvl="1"/>
            <a:r>
              <a:rPr lang="en-GB" smtClean="0"/>
              <a:t>Second Outline Level</a:t>
            </a:r>
          </a:p>
          <a:p>
            <a:pPr lvl="2"/>
            <a:r>
              <a:rPr lang="en-GB" smtClean="0"/>
              <a:t>Third Outline Level</a:t>
            </a:r>
          </a:p>
          <a:p>
            <a:pPr lvl="3"/>
            <a:r>
              <a:rPr lang="en-GB" smtClean="0"/>
              <a:t>Fourth Outline Level</a:t>
            </a:r>
          </a:p>
          <a:p>
            <a:pPr lvl="4"/>
            <a:r>
              <a:rPr lang="en-GB" smtClean="0"/>
              <a:t>Fifth Outline Level</a:t>
            </a:r>
          </a:p>
          <a:p>
            <a:pPr lvl="4"/>
            <a:r>
              <a:rPr lang="en-GB" smtClean="0"/>
              <a:t>Sixth Outline Level</a:t>
            </a:r>
          </a:p>
          <a:p>
            <a:pPr lvl="4"/>
            <a:r>
              <a:rPr lang="en-GB" smtClean="0"/>
              <a:t>Seventh Outline Level</a:t>
            </a:r>
          </a:p>
          <a:p>
            <a:pPr lvl="4"/>
            <a:r>
              <a:rPr lang="en-GB" smtClean="0"/>
              <a:t>Eighth Outline Level</a:t>
            </a:r>
          </a:p>
          <a:p>
            <a:pPr lvl="4"/>
            <a:r>
              <a:rPr lang="en-GB" smtClean="0"/>
              <a:t>Ninth Outline Level</a:t>
            </a:r>
          </a:p>
        </p:txBody>
      </p:sp>
      <p:sp>
        <p:nvSpPr>
          <p:cNvPr id="11270" name="Text Box 909"/>
          <p:cNvSpPr txBox="1">
            <a:spLocks noChangeArrowheads="1"/>
          </p:cNvSpPr>
          <p:nvPr/>
        </p:nvSpPr>
        <p:spPr bwMode="auto">
          <a:xfrm>
            <a:off x="7175500" y="6418263"/>
            <a:ext cx="1512888" cy="3952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49263">
              <a:buClr>
                <a:srgbClr val="000000"/>
              </a:buClr>
              <a:buSzPct val="100000"/>
              <a:buFont typeface="Times New Roman" pitchFamily="18" charset="0"/>
              <a:buNone/>
            </a:pPr>
            <a:endParaRPr lang="en-US" smtClean="0">
              <a:solidFill>
                <a:srgbClr val="FFFFFF"/>
              </a:solidFill>
              <a:ea typeface="MS PGothic" pitchFamily="34" charset="-128"/>
              <a:cs typeface="Arial"/>
            </a:endParaRPr>
          </a:p>
        </p:txBody>
      </p:sp>
      <p:sp>
        <p:nvSpPr>
          <p:cNvPr id="12174" name="Rectangle 910"/>
          <p:cNvSpPr>
            <a:spLocks noGrp="1" noChangeArrowheads="1"/>
          </p:cNvSpPr>
          <p:nvPr>
            <p:ph type="ftr"/>
          </p:nvPr>
        </p:nvSpPr>
        <p:spPr bwMode="auto">
          <a:xfrm>
            <a:off x="461963" y="6418263"/>
            <a:ext cx="3819525" cy="390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000" tIns="46800" rIns="90000" bIns="46800" numCol="1" anchor="ctr" anchorCtr="0" compatLnSpc="1">
            <a:prstTxWarp prst="textNoShape">
              <a:avLst/>
            </a:prstTxWarp>
          </a:bodyPr>
          <a:lstStyle>
            <a:lvl1pPr algn="r">
              <a:buClrTx/>
              <a:buFontTx/>
              <a:buNone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 sz="800" b="1">
                <a:solidFill>
                  <a:srgbClr val="000000"/>
                </a:solidFill>
                <a:latin typeface="Times New Roman" pitchFamily="18" charset="0"/>
                <a:cs typeface="+mn-cs"/>
              </a:defRPr>
            </a:lvl1pPr>
          </a:lstStyle>
          <a:p>
            <a:pPr defTabSz="449263">
              <a:buSzPct val="100000"/>
              <a:defRPr/>
            </a:pPr>
            <a:r>
              <a:rPr lang="en-GB">
                <a:ea typeface="MS PGothic" pitchFamily="34" charset="-128"/>
              </a:rPr>
              <a:t>European Union</a:t>
            </a:r>
            <a:br>
              <a:rPr lang="en-GB">
                <a:ea typeface="MS PGothic" pitchFamily="34" charset="-128"/>
              </a:rPr>
            </a:br>
            <a:r>
              <a:rPr lang="en-GB" b="0">
                <a:ea typeface="MS PGothic" pitchFamily="34" charset="-128"/>
              </a:rPr>
              <a:t>Cohesion Policy</a:t>
            </a:r>
          </a:p>
        </p:txBody>
      </p:sp>
      <p:sp>
        <p:nvSpPr>
          <p:cNvPr id="12175" name="Rectangle 911"/>
          <p:cNvSpPr>
            <a:spLocks noGrp="1" noChangeArrowheads="1"/>
          </p:cNvSpPr>
          <p:nvPr>
            <p:ph type="sldNum"/>
          </p:nvPr>
        </p:nvSpPr>
        <p:spPr bwMode="auto">
          <a:xfrm>
            <a:off x="4860925" y="6384925"/>
            <a:ext cx="2238375" cy="4587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000" tIns="46800" rIns="90000" bIns="46800" numCol="1" anchor="ctr" anchorCtr="0" compatLnSpc="1">
            <a:prstTxWarp prst="textNoShape">
              <a:avLst/>
            </a:prstTxWarp>
          </a:bodyPr>
          <a:lstStyle>
            <a:lvl1pPr>
              <a:buClrTx/>
              <a:buFontTx/>
              <a:buNone/>
              <a:tabLst>
                <a:tab pos="723900" algn="l"/>
                <a:tab pos="1447800" algn="l"/>
                <a:tab pos="2171700" algn="l"/>
              </a:tabLst>
              <a:defRPr sz="2400">
                <a:solidFill>
                  <a:srgbClr val="000000"/>
                </a:solidFill>
                <a:latin typeface="Times New Roman" pitchFamily="18" charset="0"/>
                <a:cs typeface="+mn-cs"/>
              </a:defRPr>
            </a:lvl1pPr>
          </a:lstStyle>
          <a:p>
            <a:pPr defTabSz="449263">
              <a:buSzPct val="100000"/>
              <a:defRPr/>
            </a:pPr>
            <a:r>
              <a:rPr lang="fr-FR">
                <a:ea typeface="MS PGothic" pitchFamily="34" charset="-128"/>
              </a:rPr>
              <a:t>│ </a:t>
            </a:r>
            <a:fld id="{C92ACD44-607C-4368-8D49-9A369A8F0FC8}" type="slidenum">
              <a:rPr lang="fr-FR" baseline="30000">
                <a:ea typeface="MS PGothic" pitchFamily="34" charset="-128"/>
              </a:rPr>
              <a:pPr defTabSz="449263">
                <a:buSzPct val="100000"/>
                <a:defRPr/>
              </a:pPr>
              <a:t>‹#›</a:t>
            </a:fld>
            <a:endParaRPr lang="fr-FR" baseline="30000"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2851430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</p:sldLayoutIdLst>
  <p:hf sldNum="0" hdr="0" dt="0"/>
  <p:txStyles>
    <p:titleStyle>
      <a:lvl1pPr algn="l" defTabSz="449263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2800">
          <a:solidFill>
            <a:srgbClr val="FFFFFF"/>
          </a:solidFill>
          <a:latin typeface="+mj-lt"/>
          <a:ea typeface="+mj-ea"/>
          <a:cs typeface="+mj-cs"/>
        </a:defRPr>
      </a:lvl1pPr>
      <a:lvl2pPr algn="l" defTabSz="449263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2800">
          <a:solidFill>
            <a:srgbClr val="FFFFFF"/>
          </a:solidFill>
          <a:latin typeface="Arial" pitchFamily="34" charset="0"/>
          <a:cs typeface="Arial" pitchFamily="34" charset="0"/>
        </a:defRPr>
      </a:lvl2pPr>
      <a:lvl3pPr algn="l" defTabSz="449263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2800">
          <a:solidFill>
            <a:srgbClr val="FFFFFF"/>
          </a:solidFill>
          <a:latin typeface="Arial" pitchFamily="34" charset="0"/>
          <a:cs typeface="Arial" pitchFamily="34" charset="0"/>
        </a:defRPr>
      </a:lvl3pPr>
      <a:lvl4pPr algn="l" defTabSz="449263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2800">
          <a:solidFill>
            <a:srgbClr val="FFFFFF"/>
          </a:solidFill>
          <a:latin typeface="Arial" pitchFamily="34" charset="0"/>
          <a:cs typeface="Arial" pitchFamily="34" charset="0"/>
        </a:defRPr>
      </a:lvl4pPr>
      <a:lvl5pPr algn="l" defTabSz="449263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2800">
          <a:solidFill>
            <a:srgbClr val="FFFFFF"/>
          </a:solidFill>
          <a:latin typeface="Arial" pitchFamily="34" charset="0"/>
          <a:cs typeface="Arial" pitchFamily="34" charset="0"/>
        </a:defRPr>
      </a:lvl5pPr>
      <a:lvl6pPr marL="2514600" indent="-228600" algn="l" defTabSz="449263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2800">
          <a:solidFill>
            <a:srgbClr val="FFFFFF"/>
          </a:solidFill>
          <a:latin typeface="Arial" pitchFamily="34" charset="0"/>
          <a:cs typeface="Arial" pitchFamily="34" charset="0"/>
        </a:defRPr>
      </a:lvl6pPr>
      <a:lvl7pPr marL="2971800" indent="-228600" algn="l" defTabSz="449263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2800">
          <a:solidFill>
            <a:srgbClr val="FFFFFF"/>
          </a:solidFill>
          <a:latin typeface="Arial" pitchFamily="34" charset="0"/>
          <a:cs typeface="Arial" pitchFamily="34" charset="0"/>
        </a:defRPr>
      </a:lvl7pPr>
      <a:lvl8pPr marL="3429000" indent="-228600" algn="l" defTabSz="449263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2800">
          <a:solidFill>
            <a:srgbClr val="FFFFFF"/>
          </a:solidFill>
          <a:latin typeface="Arial" pitchFamily="34" charset="0"/>
          <a:cs typeface="Arial" pitchFamily="34" charset="0"/>
        </a:defRPr>
      </a:lvl8pPr>
      <a:lvl9pPr marL="3886200" indent="-228600" algn="l" defTabSz="449263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2800">
          <a:solidFill>
            <a:srgbClr val="FFFFFF"/>
          </a:solidFill>
          <a:latin typeface="Arial" pitchFamily="34" charset="0"/>
          <a:cs typeface="Arial" pitchFamily="34" charset="0"/>
        </a:defRPr>
      </a:lvl9pPr>
    </p:titleStyle>
    <p:bodyStyle>
      <a:lvl1pPr marL="342900" indent="-342900" algn="l" defTabSz="449263" rtl="0" eaLnBrk="0" fontAlgn="base" hangingPunct="0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2000">
          <a:solidFill>
            <a:srgbClr val="FFFFFF"/>
          </a:solidFill>
          <a:latin typeface="+mn-lt"/>
          <a:ea typeface="+mn-ea"/>
          <a:cs typeface="+mn-cs"/>
        </a:defRPr>
      </a:lvl1pPr>
      <a:lvl2pPr marL="742950" indent="-285750" algn="l" defTabSz="449263" rtl="0" eaLnBrk="0" fontAlgn="base" hangingPunct="0">
        <a:spcBef>
          <a:spcPts val="45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>
          <a:solidFill>
            <a:srgbClr val="FFFFFF"/>
          </a:solidFill>
          <a:latin typeface="+mn-lt"/>
          <a:cs typeface="+mn-cs"/>
        </a:defRPr>
      </a:lvl2pPr>
      <a:lvl3pPr marL="1143000" indent="-228600" algn="l" defTabSz="449263" rtl="0" eaLnBrk="0" fontAlgn="base" hangingPunct="0">
        <a:spcBef>
          <a:spcPts val="40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1600">
          <a:solidFill>
            <a:srgbClr val="FFFFFF"/>
          </a:solidFill>
          <a:latin typeface="+mn-lt"/>
          <a:cs typeface="+mn-cs"/>
        </a:defRPr>
      </a:lvl3pPr>
      <a:lvl4pPr marL="1600200" indent="-228600" algn="l" defTabSz="449263" rtl="0" eaLnBrk="0" fontAlgn="base" hangingPunct="0">
        <a:spcBef>
          <a:spcPts val="35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1400">
          <a:solidFill>
            <a:srgbClr val="FFFFFF"/>
          </a:solidFill>
          <a:latin typeface="+mn-lt"/>
          <a:cs typeface="+mn-cs"/>
        </a:defRPr>
      </a:lvl4pPr>
      <a:lvl5pPr marL="2057400" indent="-228600" algn="l" defTabSz="449263" rtl="0" eaLnBrk="0" fontAlgn="base" hangingPunct="0">
        <a:spcBef>
          <a:spcPts val="35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1400">
          <a:solidFill>
            <a:srgbClr val="FFFFFF"/>
          </a:solidFill>
          <a:latin typeface="+mn-lt"/>
          <a:cs typeface="+mn-cs"/>
        </a:defRPr>
      </a:lvl5pPr>
      <a:lvl6pPr marL="2514600" indent="-228600" algn="l" defTabSz="449263" rtl="0" eaLnBrk="0" fontAlgn="base" hangingPunct="0">
        <a:spcBef>
          <a:spcPts val="35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1400">
          <a:solidFill>
            <a:srgbClr val="FFFFFF"/>
          </a:solidFill>
          <a:latin typeface="+mn-lt"/>
          <a:cs typeface="+mn-cs"/>
        </a:defRPr>
      </a:lvl6pPr>
      <a:lvl7pPr marL="2971800" indent="-228600" algn="l" defTabSz="449263" rtl="0" eaLnBrk="0" fontAlgn="base" hangingPunct="0">
        <a:spcBef>
          <a:spcPts val="35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1400">
          <a:solidFill>
            <a:srgbClr val="FFFFFF"/>
          </a:solidFill>
          <a:latin typeface="+mn-lt"/>
          <a:cs typeface="+mn-cs"/>
        </a:defRPr>
      </a:lvl7pPr>
      <a:lvl8pPr marL="3429000" indent="-228600" algn="l" defTabSz="449263" rtl="0" eaLnBrk="0" fontAlgn="base" hangingPunct="0">
        <a:spcBef>
          <a:spcPts val="35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1400">
          <a:solidFill>
            <a:srgbClr val="FFFFFF"/>
          </a:solidFill>
          <a:latin typeface="+mn-lt"/>
          <a:cs typeface="+mn-cs"/>
        </a:defRPr>
      </a:lvl8pPr>
      <a:lvl9pPr marL="3886200" indent="-228600" algn="l" defTabSz="449263" rtl="0" eaLnBrk="0" fontAlgn="base" hangingPunct="0">
        <a:spcBef>
          <a:spcPts val="35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1400">
          <a:solidFill>
            <a:srgbClr val="FFFFFF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13" Type="http://schemas.openxmlformats.org/officeDocument/2006/relationships/tags" Target="../tags/tag12.xml"/><Relationship Id="rId18" Type="http://schemas.openxmlformats.org/officeDocument/2006/relationships/tags" Target="../tags/tag17.xml"/><Relationship Id="rId3" Type="http://schemas.openxmlformats.org/officeDocument/2006/relationships/tags" Target="../tags/tag2.xml"/><Relationship Id="rId21" Type="http://schemas.openxmlformats.org/officeDocument/2006/relationships/oleObject" Target="../embeddings/oleObject1.bin"/><Relationship Id="rId7" Type="http://schemas.openxmlformats.org/officeDocument/2006/relationships/tags" Target="../tags/tag6.xml"/><Relationship Id="rId12" Type="http://schemas.openxmlformats.org/officeDocument/2006/relationships/tags" Target="../tags/tag11.xml"/><Relationship Id="rId17" Type="http://schemas.openxmlformats.org/officeDocument/2006/relationships/tags" Target="../tags/tag16.xml"/><Relationship Id="rId2" Type="http://schemas.openxmlformats.org/officeDocument/2006/relationships/tags" Target="../tags/tag1.xml"/><Relationship Id="rId16" Type="http://schemas.openxmlformats.org/officeDocument/2006/relationships/tags" Target="../tags/tag15.xml"/><Relationship Id="rId20" Type="http://schemas.openxmlformats.org/officeDocument/2006/relationships/notesSlide" Target="../notesSlides/notesSlide3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tags" Target="../tags/tag10.xml"/><Relationship Id="rId5" Type="http://schemas.openxmlformats.org/officeDocument/2006/relationships/tags" Target="../tags/tag4.xml"/><Relationship Id="rId15" Type="http://schemas.openxmlformats.org/officeDocument/2006/relationships/tags" Target="../tags/tag14.xml"/><Relationship Id="rId10" Type="http://schemas.openxmlformats.org/officeDocument/2006/relationships/tags" Target="../tags/tag9.xml"/><Relationship Id="rId19" Type="http://schemas.openxmlformats.org/officeDocument/2006/relationships/slideLayout" Target="../slideLayouts/slideLayout2.xml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4" Type="http://schemas.openxmlformats.org/officeDocument/2006/relationships/tags" Target="../tags/tag13.xml"/><Relationship Id="rId22" Type="http://schemas.openxmlformats.org/officeDocument/2006/relationships/image" Target="../media/image8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5"/>
          <p:cNvSpPr>
            <a:spLocks noGrp="1" noChangeArrowheads="1"/>
          </p:cNvSpPr>
          <p:nvPr>
            <p:ph type="ctrTitle"/>
          </p:nvPr>
        </p:nvSpPr>
        <p:spPr>
          <a:xfrm>
            <a:off x="179512" y="1628800"/>
            <a:ext cx="8821737" cy="3096344"/>
          </a:xfrm>
        </p:spPr>
        <p:txBody>
          <a:bodyPr/>
          <a:lstStyle/>
          <a:p>
            <a:pPr indent="0" eaLnBrk="1" hangingPunct="1"/>
            <a:r>
              <a:rPr lang="en-GB" sz="3600" dirty="0" smtClean="0"/>
              <a:t>European Cohesion Policy 2014-2020 closely linked with EU2020</a:t>
            </a:r>
            <a:br>
              <a:rPr lang="en-GB" sz="3600" dirty="0" smtClean="0"/>
            </a:br>
            <a:r>
              <a:rPr lang="en-GB" sz="3600" dirty="0"/>
              <a:t/>
            </a:r>
            <a:br>
              <a:rPr lang="en-GB" sz="3600" dirty="0"/>
            </a:br>
            <a:endParaRPr lang="en-GB" sz="3600" dirty="0" smtClean="0"/>
          </a:p>
        </p:txBody>
      </p:sp>
      <p:sp>
        <p:nvSpPr>
          <p:cNvPr id="3075" name="Rectangle 6"/>
          <p:cNvSpPr>
            <a:spLocks noGrp="1" noChangeArrowheads="1"/>
          </p:cNvSpPr>
          <p:nvPr>
            <p:ph type="subTitle" idx="1"/>
          </p:nvPr>
        </p:nvSpPr>
        <p:spPr>
          <a:xfrm>
            <a:off x="323850" y="3933056"/>
            <a:ext cx="8820150" cy="1440160"/>
          </a:xfrm>
        </p:spPr>
        <p:txBody>
          <a:bodyPr/>
          <a:lstStyle/>
          <a:p>
            <a:pPr eaLnBrk="1" hangingPunct="1">
              <a:spcBef>
                <a:spcPts val="0"/>
              </a:spcBef>
            </a:pPr>
            <a:r>
              <a:rPr lang="fr-BE" sz="2400" dirty="0" smtClean="0"/>
              <a:t>13th </a:t>
            </a:r>
            <a:r>
              <a:rPr lang="fr-BE" sz="2400" dirty="0" err="1" smtClean="0"/>
              <a:t>Insuleur</a:t>
            </a:r>
            <a:r>
              <a:rPr lang="fr-BE" sz="2400" dirty="0" smtClean="0"/>
              <a:t> Forum -</a:t>
            </a:r>
          </a:p>
          <a:p>
            <a:pPr eaLnBrk="1" hangingPunct="1">
              <a:spcBef>
                <a:spcPts val="0"/>
              </a:spcBef>
            </a:pPr>
            <a:r>
              <a:rPr lang="fr-BE" sz="2400" dirty="0" smtClean="0"/>
              <a:t>Malta 8 </a:t>
            </a:r>
            <a:r>
              <a:rPr lang="fr-BE" sz="2400" dirty="0" err="1" smtClean="0"/>
              <a:t>November</a:t>
            </a:r>
            <a:r>
              <a:rPr lang="fr-BE" sz="2400" dirty="0" smtClean="0"/>
              <a:t> 2013</a:t>
            </a:r>
          </a:p>
          <a:p>
            <a:pPr eaLnBrk="1" hangingPunct="1">
              <a:spcBef>
                <a:spcPts val="0"/>
              </a:spcBef>
            </a:pPr>
            <a:endParaRPr lang="fr-BE" sz="2400" dirty="0" smtClean="0"/>
          </a:p>
          <a:p>
            <a:pPr eaLnBrk="1" hangingPunct="1">
              <a:spcBef>
                <a:spcPts val="0"/>
              </a:spcBef>
            </a:pPr>
            <a:endParaRPr lang="fr-BE" sz="2400" dirty="0"/>
          </a:p>
          <a:p>
            <a:pPr eaLnBrk="1" hangingPunct="1">
              <a:spcBef>
                <a:spcPts val="0"/>
              </a:spcBef>
            </a:pPr>
            <a:endParaRPr lang="fr-BE" sz="2400" dirty="0" smtClean="0"/>
          </a:p>
          <a:p>
            <a:pPr eaLnBrk="1" hangingPunct="1">
              <a:spcBef>
                <a:spcPts val="0"/>
              </a:spcBef>
            </a:pPr>
            <a:r>
              <a:rPr lang="fr-BE" sz="2000" dirty="0" smtClean="0"/>
              <a:t>M Haapakka</a:t>
            </a:r>
          </a:p>
          <a:p>
            <a:pPr eaLnBrk="1" hangingPunct="1">
              <a:spcBef>
                <a:spcPts val="0"/>
              </a:spcBef>
            </a:pPr>
            <a:r>
              <a:rPr lang="fr-BE" sz="2000" dirty="0" smtClean="0"/>
              <a:t>DG Regional and </a:t>
            </a:r>
            <a:r>
              <a:rPr lang="fr-BE" sz="2000" dirty="0" err="1" smtClean="0"/>
              <a:t>Urban</a:t>
            </a:r>
            <a:r>
              <a:rPr lang="fr-BE" sz="2000" dirty="0" smtClean="0"/>
              <a:t> Policy, EU Commission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2"/>
          <p:cNvSpPr>
            <a:spLocks noGrp="1" noChangeArrowheads="1"/>
          </p:cNvSpPr>
          <p:nvPr>
            <p:ph type="title"/>
          </p:nvPr>
        </p:nvSpPr>
        <p:spPr>
          <a:xfrm>
            <a:off x="251520" y="1268759"/>
            <a:ext cx="8712968" cy="842615"/>
          </a:xfrm>
        </p:spPr>
        <p:txBody>
          <a:bodyPr/>
          <a:lstStyle/>
          <a:p>
            <a:pPr marL="0" indent="0"/>
            <a:r>
              <a:rPr lang="en-GB" sz="2800" dirty="0" smtClean="0">
                <a:solidFill>
                  <a:srgbClr val="16489F"/>
                </a:solidFill>
              </a:rPr>
              <a:t>2014-2020 - Reinforced </a:t>
            </a:r>
            <a:r>
              <a:rPr lang="fr-BE" sz="2800" dirty="0" smtClean="0">
                <a:solidFill>
                  <a:srgbClr val="16489F"/>
                </a:solidFill>
              </a:rPr>
              <a:t>t</a:t>
            </a:r>
            <a:r>
              <a:rPr lang="et-EE" sz="2800" dirty="0" err="1" smtClean="0">
                <a:solidFill>
                  <a:srgbClr val="16489F"/>
                </a:solidFill>
              </a:rPr>
              <a:t>erritorial</a:t>
            </a:r>
            <a:r>
              <a:rPr lang="et-EE" sz="2800" dirty="0" smtClean="0">
                <a:solidFill>
                  <a:srgbClr val="16489F"/>
                </a:solidFill>
              </a:rPr>
              <a:t> </a:t>
            </a:r>
            <a:r>
              <a:rPr lang="fr-BE" sz="2800" dirty="0" smtClean="0">
                <a:solidFill>
                  <a:srgbClr val="16489F"/>
                </a:solidFill>
              </a:rPr>
              <a:t>a</a:t>
            </a:r>
            <a:r>
              <a:rPr lang="et-EE" sz="2800" dirty="0" err="1" smtClean="0">
                <a:solidFill>
                  <a:srgbClr val="16489F"/>
                </a:solidFill>
              </a:rPr>
              <a:t>pproach</a:t>
            </a:r>
            <a:endParaRPr lang="en-GB" sz="2800" dirty="0" smtClean="0">
              <a:solidFill>
                <a:srgbClr val="16489F"/>
              </a:solidFill>
            </a:endParaRPr>
          </a:p>
        </p:txBody>
      </p:sp>
      <p:sp>
        <p:nvSpPr>
          <p:cNvPr id="1024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23528" y="2276872"/>
            <a:ext cx="8352928" cy="4247753"/>
          </a:xfrm>
        </p:spPr>
        <p:txBody>
          <a:bodyPr/>
          <a:lstStyle/>
          <a:p>
            <a:pPr marL="0" indent="0">
              <a:buClr>
                <a:srgbClr val="0F5494"/>
              </a:buClr>
              <a:buFontTx/>
              <a:buNone/>
              <a:defRPr/>
            </a:pPr>
            <a:r>
              <a:rPr lang="en-GB" sz="2000" b="1" i="0" dirty="0" smtClean="0"/>
              <a:t>The Common Strategic Framework identifies:</a:t>
            </a:r>
          </a:p>
          <a:p>
            <a:pPr marL="0" indent="0">
              <a:buClr>
                <a:srgbClr val="0F5494"/>
              </a:buClr>
              <a:buFontTx/>
              <a:buNone/>
              <a:defRPr/>
            </a:pPr>
            <a:endParaRPr lang="en-GB" sz="2000" b="1" i="0" dirty="0" smtClean="0"/>
          </a:p>
          <a:p>
            <a:pPr marL="431800" lvl="1" indent="-342900">
              <a:buClr>
                <a:srgbClr val="0F5494"/>
              </a:buClr>
              <a:buFont typeface="Arial" panose="020B0604020202020204" pitchFamily="34" charset="0"/>
              <a:buChar char="•"/>
              <a:defRPr/>
            </a:pPr>
            <a:r>
              <a:rPr lang="en-GB" b="0" dirty="0" smtClean="0"/>
              <a:t>key territorial challenges (urban, rural, coastal and areas with particular features etc.)</a:t>
            </a:r>
          </a:p>
          <a:p>
            <a:pPr marL="431800" lvl="1" indent="-342900">
              <a:buClr>
                <a:srgbClr val="0F5494"/>
              </a:buClr>
              <a:buFont typeface="Arial" panose="020B0604020202020204" pitchFamily="34" charset="0"/>
              <a:buChar char="•"/>
              <a:defRPr/>
            </a:pPr>
            <a:r>
              <a:rPr lang="en-GB" b="0" dirty="0" smtClean="0"/>
              <a:t>priority areas for cooperation, including macro-regional and sea basin strategies</a:t>
            </a:r>
          </a:p>
          <a:p>
            <a:pPr marL="431800" lvl="1" indent="-342900">
              <a:buClr>
                <a:srgbClr val="0F5494"/>
              </a:buClr>
              <a:buFont typeface="Arial" panose="020B0604020202020204" pitchFamily="34" charset="0"/>
              <a:buChar char="•"/>
              <a:defRPr/>
            </a:pPr>
            <a:r>
              <a:rPr lang="en-GB" b="0" dirty="0" smtClean="0"/>
              <a:t>coordination mechanisms among the ESIF funds and with other relevant Union policies and instruments</a:t>
            </a:r>
          </a:p>
          <a:p>
            <a:pPr marL="88900" lvl="1" indent="0">
              <a:buClr>
                <a:srgbClr val="0F5494"/>
              </a:buClr>
              <a:buFontTx/>
              <a:buNone/>
              <a:defRPr/>
            </a:pPr>
            <a:endParaRPr lang="fr-BE" b="0" dirty="0" smtClean="0"/>
          </a:p>
          <a:p>
            <a:pPr marL="88900" lvl="1" indent="0">
              <a:buClr>
                <a:srgbClr val="0F5494"/>
              </a:buClr>
              <a:buFontTx/>
              <a:buNone/>
              <a:defRPr/>
            </a:pPr>
            <a:r>
              <a:rPr lang="fr-BE" i="1" dirty="0" smtClean="0"/>
              <a:t>More </a:t>
            </a:r>
            <a:r>
              <a:rPr lang="fr-BE" i="1" dirty="0" err="1" smtClean="0"/>
              <a:t>detailed</a:t>
            </a:r>
            <a:r>
              <a:rPr lang="fr-BE" i="1" dirty="0" smtClean="0"/>
              <a:t> </a:t>
            </a:r>
            <a:r>
              <a:rPr lang="fr-BE" i="1" dirty="0" err="1" smtClean="0"/>
              <a:t>mechanisms</a:t>
            </a:r>
            <a:r>
              <a:rPr lang="fr-BE" i="1" dirty="0" smtClean="0"/>
              <a:t> and arrangements by the </a:t>
            </a:r>
            <a:r>
              <a:rPr lang="fr-BE" i="1" dirty="0" err="1" smtClean="0"/>
              <a:t>Member</a:t>
            </a:r>
            <a:r>
              <a:rPr lang="fr-BE" i="1" dirty="0" smtClean="0"/>
              <a:t> States and </a:t>
            </a:r>
            <a:r>
              <a:rPr lang="fr-BE" i="1" dirty="0" err="1" smtClean="0"/>
              <a:t>regions</a:t>
            </a:r>
            <a:r>
              <a:rPr lang="fr-BE" i="1" dirty="0" smtClean="0"/>
              <a:t> </a:t>
            </a:r>
            <a:r>
              <a:rPr lang="fr-BE" i="1" dirty="0" err="1" smtClean="0"/>
              <a:t>should</a:t>
            </a:r>
            <a:r>
              <a:rPr lang="fr-BE" i="1" dirty="0" smtClean="0"/>
              <a:t> </a:t>
            </a:r>
            <a:r>
              <a:rPr lang="fr-BE" i="1" dirty="0" err="1" smtClean="0"/>
              <a:t>be</a:t>
            </a:r>
            <a:r>
              <a:rPr lang="fr-BE" i="1" dirty="0" smtClean="0"/>
              <a:t> set out in </a:t>
            </a:r>
            <a:r>
              <a:rPr lang="fr-BE" i="1" dirty="0" err="1" smtClean="0"/>
              <a:t>Partnership</a:t>
            </a:r>
            <a:r>
              <a:rPr lang="fr-BE" i="1" dirty="0" smtClean="0"/>
              <a:t> Agreement and programmes</a:t>
            </a:r>
            <a:r>
              <a:rPr lang="fr-BE" b="0" i="1" dirty="0" smtClean="0">
                <a:solidFill>
                  <a:srgbClr val="3E6FD2"/>
                </a:solidFill>
              </a:rPr>
              <a:t>.</a:t>
            </a:r>
            <a:endParaRPr lang="en-GB" b="0" i="1" dirty="0" smtClean="0">
              <a:solidFill>
                <a:srgbClr val="3E6FD2"/>
              </a:solidFill>
            </a:endParaRPr>
          </a:p>
          <a:p>
            <a:pPr marL="88900" lvl="1" indent="0">
              <a:buClr>
                <a:srgbClr val="0F5494"/>
              </a:buClr>
              <a:buFontTx/>
              <a:buNone/>
              <a:defRPr/>
            </a:pPr>
            <a:endParaRPr lang="fr-BE" b="0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288" y="1339851"/>
            <a:ext cx="8229600" cy="504973"/>
          </a:xfrm>
        </p:spPr>
        <p:txBody>
          <a:bodyPr/>
          <a:lstStyle/>
          <a:p>
            <a:pPr marL="0" indent="0"/>
            <a:r>
              <a:rPr lang="en-GB" sz="2800" dirty="0"/>
              <a:t/>
            </a:r>
            <a:br>
              <a:rPr lang="en-GB" sz="2800" dirty="0"/>
            </a:br>
            <a:r>
              <a:rPr lang="hu-HU" sz="2800" dirty="0" err="1"/>
              <a:t>Sustainable</a:t>
            </a:r>
            <a:r>
              <a:rPr lang="hu-HU" sz="2800" dirty="0"/>
              <a:t> </a:t>
            </a:r>
            <a:r>
              <a:rPr lang="hu-HU" sz="2800" dirty="0" err="1"/>
              <a:t>urban</a:t>
            </a:r>
            <a:r>
              <a:rPr lang="hu-HU" sz="2800" dirty="0"/>
              <a:t> </a:t>
            </a:r>
            <a:r>
              <a:rPr lang="hu-HU" sz="2800" dirty="0" err="1"/>
              <a:t>development</a:t>
            </a:r>
            <a:r>
              <a:rPr lang="en-GB" sz="2800" dirty="0" smtClean="0"/>
              <a:t/>
            </a:r>
            <a:br>
              <a:rPr lang="en-GB" sz="2800" dirty="0" smtClean="0"/>
            </a:b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5536" y="2204864"/>
            <a:ext cx="8568952" cy="4392488"/>
          </a:xfrm>
        </p:spPr>
        <p:txBody>
          <a:bodyPr/>
          <a:lstStyle/>
          <a:p>
            <a:pPr eaLnBrk="1" hangingPunct="1">
              <a:spcBef>
                <a:spcPts val="600"/>
              </a:spcBef>
              <a:spcAft>
                <a:spcPts val="600"/>
              </a:spcAft>
              <a:buClr>
                <a:srgbClr val="336699"/>
              </a:buClr>
              <a:buFont typeface="Arial" panose="020B0604020202020204" pitchFamily="34" charset="0"/>
              <a:buChar char="•"/>
            </a:pPr>
            <a:r>
              <a:rPr lang="fr-BE" sz="1800" b="1" i="0" dirty="0" smtClean="0"/>
              <a:t>Min. </a:t>
            </a:r>
            <a:r>
              <a:rPr lang="hu-HU" sz="1800" b="1" i="0" dirty="0" smtClean="0"/>
              <a:t>5</a:t>
            </a:r>
            <a:r>
              <a:rPr lang="hu-HU" sz="1800" b="1" i="0" dirty="0"/>
              <a:t>% of ERDF </a:t>
            </a:r>
            <a:r>
              <a:rPr lang="fr-BE" sz="1800" b="1" i="0" dirty="0" err="1" smtClean="0"/>
              <a:t>resources</a:t>
            </a:r>
            <a:r>
              <a:rPr lang="fr-BE" sz="1800" b="1" i="0" dirty="0" smtClean="0"/>
              <a:t> </a:t>
            </a:r>
            <a:r>
              <a:rPr lang="en-GB" sz="1800" b="1" i="0" dirty="0" smtClean="0"/>
              <a:t>in each Member State based on integrated urban strategies </a:t>
            </a:r>
            <a:r>
              <a:rPr lang="en-GB" sz="1800" i="0" dirty="0" smtClean="0"/>
              <a:t>in line with ERDF Art. 7 </a:t>
            </a:r>
            <a:endParaRPr lang="fr-BE" sz="1800" i="0" dirty="0" smtClean="0"/>
          </a:p>
          <a:p>
            <a:pPr eaLnBrk="1" hangingPunct="1">
              <a:spcBef>
                <a:spcPts val="600"/>
              </a:spcBef>
              <a:spcAft>
                <a:spcPts val="600"/>
              </a:spcAft>
              <a:buClr>
                <a:srgbClr val="336699"/>
              </a:buClr>
              <a:buFont typeface="Arial" panose="020B0604020202020204" pitchFamily="34" charset="0"/>
              <a:buChar char="•"/>
            </a:pPr>
            <a:r>
              <a:rPr lang="fr-BE" sz="1800" i="0" dirty="0" err="1" smtClean="0"/>
              <a:t>At</a:t>
            </a:r>
            <a:r>
              <a:rPr lang="fr-BE" sz="1800" i="0" dirty="0" smtClean="0"/>
              <a:t> least </a:t>
            </a:r>
            <a:r>
              <a:rPr lang="fr-BE" sz="1800" i="0" dirty="0" err="1" smtClean="0"/>
              <a:t>selection</a:t>
            </a:r>
            <a:r>
              <a:rPr lang="fr-BE" sz="1800" i="0" dirty="0" smtClean="0"/>
              <a:t> of </a:t>
            </a:r>
            <a:r>
              <a:rPr lang="fr-BE" sz="1800" i="0" dirty="0" err="1" smtClean="0"/>
              <a:t>projects</a:t>
            </a:r>
            <a:r>
              <a:rPr lang="fr-BE" sz="1800" i="0" dirty="0" smtClean="0"/>
              <a:t> </a:t>
            </a:r>
            <a:r>
              <a:rPr lang="fr-BE" sz="1800" i="0" dirty="0" err="1" smtClean="0"/>
              <a:t>should</a:t>
            </a:r>
            <a:r>
              <a:rPr lang="fr-BE" sz="1800" i="0" dirty="0" smtClean="0"/>
              <a:t> </a:t>
            </a:r>
            <a:r>
              <a:rPr lang="fr-BE" sz="1800" i="0" dirty="0" err="1" smtClean="0"/>
              <a:t>be</a:t>
            </a:r>
            <a:r>
              <a:rPr lang="fr-BE" sz="1800" i="0" dirty="0" smtClean="0"/>
              <a:t> </a:t>
            </a:r>
            <a:r>
              <a:rPr lang="hu-HU" sz="1800" i="0" dirty="0" err="1" smtClean="0"/>
              <a:t>delegated</a:t>
            </a:r>
            <a:r>
              <a:rPr lang="hu-HU" sz="1800" i="0" dirty="0" smtClean="0"/>
              <a:t> </a:t>
            </a:r>
            <a:r>
              <a:rPr lang="hu-HU" sz="1800" i="0" dirty="0" err="1"/>
              <a:t>to</a:t>
            </a:r>
            <a:r>
              <a:rPr lang="hu-HU" sz="1800" i="0" dirty="0"/>
              <a:t> </a:t>
            </a:r>
            <a:r>
              <a:rPr lang="fr-BE" sz="1800" i="0" dirty="0" smtClean="0"/>
              <a:t>u</a:t>
            </a:r>
            <a:r>
              <a:rPr lang="hu-HU" sz="1800" i="0" dirty="0" err="1" smtClean="0"/>
              <a:t>rban</a:t>
            </a:r>
            <a:r>
              <a:rPr lang="hu-HU" sz="1800" i="0" dirty="0" smtClean="0"/>
              <a:t> </a:t>
            </a:r>
            <a:r>
              <a:rPr lang="hu-HU" sz="1800" i="0" dirty="0" err="1" smtClean="0"/>
              <a:t>authorities</a:t>
            </a:r>
            <a:endParaRPr lang="fr-BE" sz="1800" i="0" dirty="0" smtClean="0"/>
          </a:p>
          <a:p>
            <a:pPr eaLnBrk="1" hangingPunct="1">
              <a:spcBef>
                <a:spcPts val="600"/>
              </a:spcBef>
              <a:spcAft>
                <a:spcPts val="600"/>
              </a:spcAft>
              <a:buClr>
                <a:srgbClr val="336699"/>
              </a:buClr>
              <a:buFont typeface="Arial" panose="020B0604020202020204" pitchFamily="34" charset="0"/>
              <a:buChar char="•"/>
            </a:pPr>
            <a:r>
              <a:rPr lang="fr-BE" sz="1800" i="0" dirty="0" smtClean="0"/>
              <a:t>To </a:t>
            </a:r>
            <a:r>
              <a:rPr lang="fr-BE" sz="1800" i="0" dirty="0" err="1" smtClean="0"/>
              <a:t>be</a:t>
            </a:r>
            <a:r>
              <a:rPr lang="fr-BE" sz="1800" i="0" dirty="0" smtClean="0"/>
              <a:t> </a:t>
            </a:r>
            <a:r>
              <a:rPr lang="fr-BE" sz="1800" i="0" dirty="0" err="1" smtClean="0"/>
              <a:t>implemented</a:t>
            </a:r>
            <a:r>
              <a:rPr lang="fr-BE" sz="1800" i="0" dirty="0" smtClean="0"/>
              <a:t> </a:t>
            </a:r>
            <a:r>
              <a:rPr lang="fr-BE" sz="1800" i="0" dirty="0" err="1" smtClean="0"/>
              <a:t>with</a:t>
            </a:r>
            <a:r>
              <a:rPr lang="fr-BE" sz="1800" i="0" dirty="0" smtClean="0"/>
              <a:t> </a:t>
            </a:r>
            <a:r>
              <a:rPr lang="hu-HU" sz="1800" b="1" i="0" dirty="0" err="1" smtClean="0"/>
              <a:t>integrated</a:t>
            </a:r>
            <a:r>
              <a:rPr lang="hu-HU" sz="1800" b="1" i="0" dirty="0" smtClean="0"/>
              <a:t> </a:t>
            </a:r>
            <a:r>
              <a:rPr lang="hu-HU" sz="1800" b="1" i="0" dirty="0" err="1"/>
              <a:t>approach</a:t>
            </a:r>
            <a:r>
              <a:rPr lang="hu-HU" sz="1800" b="1" i="0" dirty="0"/>
              <a:t> and </a:t>
            </a:r>
            <a:r>
              <a:rPr lang="hu-HU" sz="1800" b="1" i="0" dirty="0" err="1" smtClean="0"/>
              <a:t>involvement</a:t>
            </a:r>
            <a:r>
              <a:rPr lang="hu-HU" sz="1800" b="1" i="0" dirty="0" smtClean="0"/>
              <a:t> </a:t>
            </a:r>
            <a:r>
              <a:rPr lang="hu-HU" sz="1800" b="1" i="0" dirty="0"/>
              <a:t>of </a:t>
            </a:r>
            <a:r>
              <a:rPr lang="hu-HU" sz="1800" b="1" i="0" dirty="0" err="1" smtClean="0"/>
              <a:t>cities</a:t>
            </a:r>
            <a:r>
              <a:rPr lang="fr-BE" sz="1800" b="1" i="0" dirty="0" smtClean="0"/>
              <a:t>, </a:t>
            </a:r>
            <a:r>
              <a:rPr lang="fr-BE" sz="1800" i="0" dirty="0" err="1" smtClean="0"/>
              <a:t>possibility</a:t>
            </a:r>
            <a:r>
              <a:rPr lang="fr-BE" sz="1800" i="0" dirty="0" smtClean="0"/>
              <a:t> to </a:t>
            </a:r>
            <a:r>
              <a:rPr lang="fr-BE" sz="1800" i="0" dirty="0" err="1" smtClean="0"/>
              <a:t>choose</a:t>
            </a:r>
            <a:r>
              <a:rPr lang="fr-BE" sz="1800" i="0" dirty="0" smtClean="0"/>
              <a:t> </a:t>
            </a:r>
            <a:r>
              <a:rPr lang="fr-BE" sz="1800" i="0" dirty="0" err="1" smtClean="0"/>
              <a:t>among</a:t>
            </a:r>
            <a:r>
              <a:rPr lang="fr-BE" sz="1800" i="0" dirty="0" smtClean="0"/>
              <a:t> </a:t>
            </a:r>
            <a:r>
              <a:rPr lang="fr-BE" sz="1800" i="0" dirty="0" err="1" smtClean="0"/>
              <a:t>three</a:t>
            </a:r>
            <a:r>
              <a:rPr lang="fr-BE" sz="1800" i="0" dirty="0" smtClean="0"/>
              <a:t> </a:t>
            </a:r>
            <a:r>
              <a:rPr lang="fr-BE" sz="1800" i="0" dirty="0" err="1" smtClean="0"/>
              <a:t>delivery</a:t>
            </a:r>
            <a:r>
              <a:rPr lang="fr-BE" sz="1800" i="0" dirty="0" smtClean="0"/>
              <a:t> </a:t>
            </a:r>
            <a:r>
              <a:rPr lang="fr-BE" sz="1800" i="0" dirty="0" err="1" smtClean="0"/>
              <a:t>mechanisms</a:t>
            </a:r>
            <a:r>
              <a:rPr lang="fr-BE" sz="1800" i="0" dirty="0" smtClean="0"/>
              <a:t>:</a:t>
            </a:r>
          </a:p>
          <a:p>
            <a:pPr lvl="1" eaLnBrk="1" hangingPunct="1">
              <a:spcBef>
                <a:spcPts val="600"/>
              </a:spcBef>
              <a:spcAft>
                <a:spcPts val="600"/>
              </a:spcAft>
              <a:buClr>
                <a:srgbClr val="336699"/>
              </a:buClr>
              <a:buFont typeface="Courier New" panose="02070309020205020404" pitchFamily="49" charset="0"/>
              <a:buChar char="o"/>
            </a:pPr>
            <a:r>
              <a:rPr lang="hu-HU" sz="1800" b="0" dirty="0" smtClean="0"/>
              <a:t>ITI</a:t>
            </a:r>
          </a:p>
          <a:p>
            <a:pPr lvl="1" eaLnBrk="1" hangingPunct="1">
              <a:spcBef>
                <a:spcPts val="600"/>
              </a:spcBef>
              <a:spcAft>
                <a:spcPts val="600"/>
              </a:spcAft>
              <a:buClr>
                <a:srgbClr val="336699"/>
              </a:buClr>
              <a:buFont typeface="Courier New" panose="02070309020205020404" pitchFamily="49" charset="0"/>
              <a:buChar char="o"/>
            </a:pPr>
            <a:r>
              <a:rPr lang="hu-HU" sz="1800" b="0" dirty="0" err="1" smtClean="0"/>
              <a:t>Specific</a:t>
            </a:r>
            <a:r>
              <a:rPr lang="hu-HU" sz="1800" b="0" dirty="0" smtClean="0"/>
              <a:t> </a:t>
            </a:r>
            <a:r>
              <a:rPr lang="hu-HU" sz="1800" b="0" dirty="0" err="1"/>
              <a:t>operational</a:t>
            </a:r>
            <a:r>
              <a:rPr lang="hu-HU" sz="1800" b="0" dirty="0"/>
              <a:t> </a:t>
            </a:r>
            <a:r>
              <a:rPr lang="hu-HU" sz="1800" b="0" dirty="0" err="1"/>
              <a:t>programme</a:t>
            </a:r>
            <a:endParaRPr lang="hu-HU" sz="1800" b="0" dirty="0"/>
          </a:p>
          <a:p>
            <a:pPr lvl="1" eaLnBrk="1" hangingPunct="1">
              <a:spcBef>
                <a:spcPts val="600"/>
              </a:spcBef>
              <a:spcAft>
                <a:spcPts val="600"/>
              </a:spcAft>
              <a:buClr>
                <a:srgbClr val="336699"/>
              </a:buClr>
              <a:buFont typeface="Courier New" panose="02070309020205020404" pitchFamily="49" charset="0"/>
              <a:buChar char="o"/>
            </a:pPr>
            <a:r>
              <a:rPr lang="en-GB" sz="1800" b="0" dirty="0" smtClean="0"/>
              <a:t>Dedicated</a:t>
            </a:r>
            <a:r>
              <a:rPr lang="hu-HU" sz="1800" b="0" dirty="0" smtClean="0"/>
              <a:t> </a:t>
            </a:r>
            <a:r>
              <a:rPr lang="hu-HU" sz="1800" b="0" dirty="0"/>
              <a:t>priority </a:t>
            </a:r>
            <a:r>
              <a:rPr lang="hu-HU" sz="1800" b="0" dirty="0" smtClean="0"/>
              <a:t>axis</a:t>
            </a:r>
            <a:endParaRPr lang="fr-BE" sz="1800" b="0" dirty="0"/>
          </a:p>
          <a:p>
            <a:pPr marL="0" indent="0">
              <a:spcBef>
                <a:spcPts val="0"/>
              </a:spcBef>
              <a:spcAft>
                <a:spcPts val="0"/>
              </a:spcAft>
              <a:buClr>
                <a:srgbClr val="336699"/>
              </a:buClr>
              <a:buNone/>
              <a:defRPr/>
            </a:pPr>
            <a:endParaRPr lang="fr-BE" sz="1800" b="1" i="0" dirty="0" smtClean="0"/>
          </a:p>
          <a:p>
            <a:pPr marL="0" indent="0">
              <a:spcBef>
                <a:spcPts val="0"/>
              </a:spcBef>
              <a:spcAft>
                <a:spcPts val="0"/>
              </a:spcAft>
              <a:buClr>
                <a:srgbClr val="336699"/>
              </a:buClr>
              <a:buNone/>
              <a:defRPr/>
            </a:pPr>
            <a:endParaRPr lang="fr-BE" sz="1800" b="1" i="0" dirty="0" smtClean="0"/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901173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2"/>
          <p:cNvSpPr>
            <a:spLocks noGrp="1" noChangeArrowheads="1"/>
          </p:cNvSpPr>
          <p:nvPr>
            <p:ph type="title"/>
          </p:nvPr>
        </p:nvSpPr>
        <p:spPr>
          <a:xfrm>
            <a:off x="468313" y="1341438"/>
            <a:ext cx="8675687" cy="863600"/>
          </a:xfrm>
        </p:spPr>
        <p:txBody>
          <a:bodyPr/>
          <a:lstStyle/>
          <a:p>
            <a:pPr marL="0" indent="0">
              <a:lnSpc>
                <a:spcPct val="90000"/>
              </a:lnSpc>
              <a:tabLst>
                <a:tab pos="0" algn="l"/>
              </a:tabLst>
            </a:pPr>
            <a:r>
              <a:rPr lang="en-GB" sz="2400" dirty="0" smtClean="0"/>
              <a:t>Article 10 of the European Regional Development Fund (ERDF)</a:t>
            </a:r>
            <a:endParaRPr lang="en-GB" sz="3600" dirty="0" smtClean="0"/>
          </a:p>
        </p:txBody>
      </p:sp>
      <p:sp>
        <p:nvSpPr>
          <p:cNvPr id="1331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57200" y="2492375"/>
            <a:ext cx="8229600" cy="3816350"/>
          </a:xfrm>
        </p:spPr>
        <p:txBody>
          <a:bodyPr/>
          <a:lstStyle/>
          <a:p>
            <a:pPr marL="0" indent="0">
              <a:buClrTx/>
              <a:buFontTx/>
              <a:buNone/>
              <a:defRPr/>
            </a:pPr>
            <a:r>
              <a:rPr lang="en-GB" sz="2000" b="1" i="0" dirty="0" smtClean="0"/>
              <a:t>Operational programmes co-financed by ERDF covering areas with severe and permanent handicaps:</a:t>
            </a:r>
          </a:p>
          <a:p>
            <a:pPr marL="463550" lvl="1">
              <a:buClrTx/>
              <a:buFont typeface="Arial" panose="020B0604020202020204" pitchFamily="34" charset="0"/>
              <a:buChar char="•"/>
              <a:defRPr/>
            </a:pPr>
            <a:r>
              <a:rPr lang="en-GB" sz="1800" b="0" dirty="0" smtClean="0"/>
              <a:t>Island Member States eligible under Cohesion Fund, and other islands except those on which the capital of a Member State is situated or which have a fixed link to the mainland</a:t>
            </a:r>
          </a:p>
          <a:p>
            <a:pPr marL="463550" lvl="1">
              <a:buClrTx/>
              <a:buFont typeface="Arial" panose="020B0604020202020204" pitchFamily="34" charset="0"/>
              <a:buChar char="•"/>
              <a:defRPr/>
            </a:pPr>
            <a:r>
              <a:rPr lang="en-GB" sz="1800" b="0" dirty="0" smtClean="0"/>
              <a:t>Mountainous areas as defined by the national legislation of the Member State</a:t>
            </a:r>
          </a:p>
          <a:p>
            <a:pPr marL="463550" lvl="1">
              <a:buClrTx/>
              <a:buFont typeface="Arial" panose="020B0604020202020204" pitchFamily="34" charset="0"/>
              <a:buChar char="•"/>
              <a:defRPr/>
            </a:pPr>
            <a:r>
              <a:rPr lang="en-GB" sz="1800" b="0" dirty="0" smtClean="0"/>
              <a:t>Sparsely (less than 50 inhabitants per square kilometre) and very sparsely (less than 8 inhabitants per square kilometre) populated areas</a:t>
            </a:r>
          </a:p>
          <a:p>
            <a:pPr marL="177800" lvl="1" indent="0">
              <a:buClrTx/>
              <a:buFontTx/>
              <a:buNone/>
              <a:defRPr/>
            </a:pPr>
            <a:r>
              <a:rPr lang="en-GB" dirty="0" smtClean="0"/>
              <a:t>shall pay particular attention to addressing the specific difficulties of those areas.</a:t>
            </a:r>
          </a:p>
        </p:txBody>
      </p:sp>
    </p:spTree>
    <p:extLst>
      <p:ext uri="{BB962C8B-B14F-4D97-AF65-F5344CB8AC3E}">
        <p14:creationId xmlns:p14="http://schemas.microsoft.com/office/powerpoint/2010/main" val="40491726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indent="0"/>
            <a:r>
              <a:rPr lang="en-GB" sz="2800" dirty="0" smtClean="0"/>
              <a:t>Outermost regions</a:t>
            </a:r>
            <a:endParaRPr lang="en-GB" sz="28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ClrTx/>
              <a:buFont typeface="Arial" panose="020B0604020202020204" pitchFamily="34" charset="0"/>
              <a:buChar char="•"/>
            </a:pPr>
            <a:r>
              <a:rPr lang="en-GB" sz="2000" i="0" dirty="0" smtClean="0"/>
              <a:t>Extra allocation for the outermost (and sparsely populated) regions </a:t>
            </a:r>
          </a:p>
          <a:p>
            <a:pPr>
              <a:buClrTx/>
              <a:buFont typeface="Arial" panose="020B0604020202020204" pitchFamily="34" charset="0"/>
              <a:buChar char="•"/>
            </a:pPr>
            <a:endParaRPr lang="en-GB" sz="2000" i="0" dirty="0" smtClean="0"/>
          </a:p>
          <a:p>
            <a:pPr>
              <a:buClrTx/>
              <a:buFont typeface="Arial" panose="020B0604020202020204" pitchFamily="34" charset="0"/>
              <a:buChar char="•"/>
            </a:pPr>
            <a:r>
              <a:rPr lang="en-GB" sz="2000" i="0" dirty="0" smtClean="0"/>
              <a:t>ERDF Art. 11 on the use of the allocation</a:t>
            </a:r>
          </a:p>
          <a:p>
            <a:pPr lvl="1" indent="-342900">
              <a:buClrTx/>
              <a:buFont typeface="Courier New" panose="02070309020205020404" pitchFamily="49" charset="0"/>
              <a:buChar char="o"/>
            </a:pPr>
            <a:r>
              <a:rPr lang="en-GB" b="0" i="0" dirty="0" smtClean="0"/>
              <a:t>not subject to thematic concentration</a:t>
            </a:r>
          </a:p>
          <a:p>
            <a:pPr lvl="1" indent="-342900">
              <a:buClrTx/>
              <a:buFont typeface="Courier New" panose="02070309020205020404" pitchFamily="49" charset="0"/>
              <a:buChar char="o"/>
            </a:pPr>
            <a:r>
              <a:rPr lang="en-GB" b="0" dirty="0"/>
              <a:t>s</a:t>
            </a:r>
            <a:r>
              <a:rPr lang="en-GB" b="0" dirty="0" smtClean="0"/>
              <a:t>hall be used to offset the additional costs linked to characteristics and constraints referred to in Art. 349 of the Treaty</a:t>
            </a:r>
            <a:endParaRPr lang="en-GB" b="0" i="0" dirty="0"/>
          </a:p>
        </p:txBody>
      </p:sp>
    </p:spTree>
    <p:extLst>
      <p:ext uri="{BB962C8B-B14F-4D97-AF65-F5344CB8AC3E}">
        <p14:creationId xmlns:p14="http://schemas.microsoft.com/office/powerpoint/2010/main" val="25287939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indent="0"/>
            <a:r>
              <a:rPr lang="en-GB" sz="2800" dirty="0" smtClean="0"/>
              <a:t>Islands – derogation under thematic concentration</a:t>
            </a:r>
            <a:endParaRPr lang="en-GB" sz="28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5288" y="2492375"/>
            <a:ext cx="8291512" cy="3960961"/>
          </a:xfrm>
        </p:spPr>
        <p:txBody>
          <a:bodyPr/>
          <a:lstStyle/>
          <a:p>
            <a:pPr marL="0" indent="0">
              <a:buNone/>
            </a:pPr>
            <a:r>
              <a:rPr lang="en-GB" sz="2000" b="1" i="0" u="sng" dirty="0" smtClean="0"/>
              <a:t>ERDF Art. 4 Thematic concentration</a:t>
            </a:r>
            <a:r>
              <a:rPr lang="en-GB" sz="2000" i="0" dirty="0" smtClean="0"/>
              <a:t>: </a:t>
            </a:r>
          </a:p>
          <a:p>
            <a:pPr>
              <a:buClrTx/>
              <a:buFont typeface="Arial" panose="020B0604020202020204" pitchFamily="34" charset="0"/>
              <a:buChar char="•"/>
            </a:pPr>
            <a:r>
              <a:rPr lang="en-GB" sz="2000" i="0" dirty="0" smtClean="0"/>
              <a:t>All NUTS2 level regions consisting solely of island Member States or islands which are situated in Member States receiving Cohesion Fund support, or which are outermost regions, </a:t>
            </a:r>
            <a:r>
              <a:rPr lang="en-GB" sz="2000" b="1" i="0" dirty="0" smtClean="0"/>
              <a:t>shall be considered as less developed regions </a:t>
            </a:r>
            <a:r>
              <a:rPr lang="en-GB" sz="2000" i="0" dirty="0" smtClean="0"/>
              <a:t>for the purposes of this Article</a:t>
            </a:r>
            <a:r>
              <a:rPr lang="en-GB" sz="2000" dirty="0"/>
              <a:t>:</a:t>
            </a:r>
            <a:endParaRPr lang="en-GB" sz="2000" dirty="0" smtClean="0"/>
          </a:p>
          <a:p>
            <a:pPr marL="0" indent="0">
              <a:buNone/>
            </a:pPr>
            <a:endParaRPr lang="en-GB" sz="2000" i="0" dirty="0" smtClean="0"/>
          </a:p>
          <a:p>
            <a:pPr marL="685800" lvl="1">
              <a:buClr>
                <a:srgbClr val="0F5799"/>
              </a:buClr>
              <a:buFont typeface="Wingdings" panose="05000000000000000000" pitchFamily="2" charset="2"/>
              <a:buChar char="Ø"/>
            </a:pPr>
            <a:r>
              <a:rPr lang="en-GB" sz="1600" i="0" dirty="0" smtClean="0">
                <a:solidFill>
                  <a:srgbClr val="0F5799"/>
                </a:solidFill>
              </a:rPr>
              <a:t>Concentration: at least 50 % to innovation, ICT, SMEs and low carbon economy</a:t>
            </a:r>
          </a:p>
          <a:p>
            <a:pPr marL="685800" lvl="1">
              <a:buClr>
                <a:srgbClr val="0F5799"/>
              </a:buClr>
              <a:buFont typeface="Wingdings" panose="05000000000000000000" pitchFamily="2" charset="2"/>
              <a:buChar char="Ø"/>
            </a:pPr>
            <a:r>
              <a:rPr lang="en-GB" sz="1600" i="0" dirty="0" smtClean="0">
                <a:solidFill>
                  <a:srgbClr val="0F5799"/>
                </a:solidFill>
              </a:rPr>
              <a:t>12 % to low carbon economy (if eligible to Cohesion Fund support, will increase the requirement from 12 to 15 %)</a:t>
            </a:r>
          </a:p>
          <a:p>
            <a:pPr>
              <a:buClrTx/>
              <a:buFont typeface="Arial" panose="020B0604020202020204" pitchFamily="34" charset="0"/>
              <a:buChar char="•"/>
            </a:pPr>
            <a:endParaRPr lang="en-GB" i="0" dirty="0"/>
          </a:p>
        </p:txBody>
      </p:sp>
    </p:spTree>
    <p:extLst>
      <p:ext uri="{BB962C8B-B14F-4D97-AF65-F5344CB8AC3E}">
        <p14:creationId xmlns:p14="http://schemas.microsoft.com/office/powerpoint/2010/main" val="3124091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E" sz="2800" dirty="0" smtClean="0">
                <a:solidFill>
                  <a:srgbClr val="16489F"/>
                </a:solidFill>
              </a:rPr>
              <a:t>Tools </a:t>
            </a:r>
            <a:r>
              <a:rPr lang="en-IE" sz="2800" dirty="0">
                <a:solidFill>
                  <a:srgbClr val="16489F"/>
                </a:solidFill>
              </a:rPr>
              <a:t>for territorial </a:t>
            </a:r>
            <a:r>
              <a:rPr lang="en-IE" sz="2800" dirty="0" smtClean="0">
                <a:solidFill>
                  <a:srgbClr val="16489F"/>
                </a:solidFill>
              </a:rPr>
              <a:t>development (1) </a:t>
            </a:r>
            <a:endParaRPr lang="en-GB" sz="28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2276872"/>
            <a:ext cx="8229600" cy="4176463"/>
          </a:xfrm>
        </p:spPr>
        <p:txBody>
          <a:bodyPr/>
          <a:lstStyle/>
          <a:p>
            <a:pPr>
              <a:buClrTx/>
              <a:buFont typeface="Arial" panose="020B0604020202020204" pitchFamily="34" charset="0"/>
              <a:buChar char="•"/>
            </a:pPr>
            <a:r>
              <a:rPr lang="en-GB" sz="2000" b="1" i="0" dirty="0">
                <a:solidFill>
                  <a:srgbClr val="16489F"/>
                </a:solidFill>
              </a:rPr>
              <a:t>Integrated territorial investment</a:t>
            </a:r>
            <a:r>
              <a:rPr lang="en-GB" sz="2000" i="0" dirty="0">
                <a:solidFill>
                  <a:srgbClr val="16489F"/>
                </a:solidFill>
              </a:rPr>
              <a:t> (ITI) to</a:t>
            </a:r>
            <a:r>
              <a:rPr lang="et-EE" sz="2000" i="0" dirty="0">
                <a:solidFill>
                  <a:srgbClr val="16489F"/>
                </a:solidFill>
              </a:rPr>
              <a:t> “</a:t>
            </a:r>
            <a:r>
              <a:rPr lang="et-EE" sz="2000" i="0" dirty="0" err="1">
                <a:solidFill>
                  <a:srgbClr val="16489F"/>
                </a:solidFill>
              </a:rPr>
              <a:t>bundle</a:t>
            </a:r>
            <a:r>
              <a:rPr lang="et-EE" sz="2000" i="0" dirty="0">
                <a:solidFill>
                  <a:srgbClr val="16489F"/>
                </a:solidFill>
              </a:rPr>
              <a:t>”</a:t>
            </a:r>
            <a:r>
              <a:rPr lang="fr-BE" sz="2000" i="0" dirty="0">
                <a:solidFill>
                  <a:srgbClr val="16489F"/>
                </a:solidFill>
              </a:rPr>
              <a:t> </a:t>
            </a:r>
            <a:r>
              <a:rPr lang="fr-BE" sz="2000" i="0" dirty="0" err="1">
                <a:solidFill>
                  <a:srgbClr val="16489F"/>
                </a:solidFill>
              </a:rPr>
              <a:t>investments</a:t>
            </a:r>
            <a:r>
              <a:rPr lang="fr-BE" sz="2000" i="0" dirty="0">
                <a:solidFill>
                  <a:srgbClr val="16489F"/>
                </a:solidFill>
              </a:rPr>
              <a:t> </a:t>
            </a:r>
            <a:r>
              <a:rPr lang="fr-BE" sz="2000" i="0" dirty="0" err="1">
                <a:solidFill>
                  <a:srgbClr val="16489F"/>
                </a:solidFill>
              </a:rPr>
              <a:t>under</a:t>
            </a:r>
            <a:r>
              <a:rPr lang="fr-BE" sz="2000" i="0" dirty="0">
                <a:solidFill>
                  <a:srgbClr val="16489F"/>
                </a:solidFill>
              </a:rPr>
              <a:t> more </a:t>
            </a:r>
            <a:r>
              <a:rPr lang="fr-BE" sz="2000" i="0" dirty="0" err="1">
                <a:solidFill>
                  <a:srgbClr val="16489F"/>
                </a:solidFill>
              </a:rPr>
              <a:t>than</a:t>
            </a:r>
            <a:r>
              <a:rPr lang="fr-BE" sz="2000" i="0" dirty="0">
                <a:solidFill>
                  <a:srgbClr val="16489F"/>
                </a:solidFill>
              </a:rPr>
              <a:t> one </a:t>
            </a:r>
            <a:r>
              <a:rPr lang="fr-BE" sz="2000" i="0" dirty="0" err="1">
                <a:solidFill>
                  <a:srgbClr val="16489F"/>
                </a:solidFill>
              </a:rPr>
              <a:t>priority</a:t>
            </a:r>
            <a:r>
              <a:rPr lang="fr-BE" sz="2000" i="0" dirty="0">
                <a:solidFill>
                  <a:srgbClr val="16489F"/>
                </a:solidFill>
              </a:rPr>
              <a:t> axis of one or </a:t>
            </a:r>
            <a:r>
              <a:rPr lang="fr-BE" sz="2000" i="0" dirty="0" err="1">
                <a:solidFill>
                  <a:srgbClr val="16489F"/>
                </a:solidFill>
              </a:rPr>
              <a:t>several</a:t>
            </a:r>
            <a:r>
              <a:rPr lang="fr-BE" sz="2000" i="0" dirty="0">
                <a:solidFill>
                  <a:srgbClr val="16489F"/>
                </a:solidFill>
              </a:rPr>
              <a:t> programmes</a:t>
            </a:r>
            <a:r>
              <a:rPr lang="en-GB" sz="2000" i="0" dirty="0">
                <a:solidFill>
                  <a:srgbClr val="16489F"/>
                </a:solidFill>
              </a:rPr>
              <a:t> to ensure integrated approach </a:t>
            </a:r>
          </a:p>
          <a:p>
            <a:pPr lvl="1">
              <a:buClrTx/>
              <a:buFont typeface="Wingdings" pitchFamily="2" charset="2"/>
              <a:buChar char="Ø"/>
            </a:pPr>
            <a:r>
              <a:rPr lang="et-EE" sz="1800" b="0" i="1" dirty="0"/>
              <a:t>o</a:t>
            </a:r>
            <a:r>
              <a:rPr lang="en-GB" sz="1800" b="0" i="1" dirty="0" err="1"/>
              <a:t>ption</a:t>
            </a:r>
            <a:r>
              <a:rPr lang="en-GB" sz="1800" b="0" i="1" dirty="0"/>
              <a:t> for ERDF, ESF, Cohesion Fund - EAFRD and EMFF can contribute (</a:t>
            </a:r>
            <a:r>
              <a:rPr lang="en-GB" sz="1800" b="0" i="1" dirty="0" err="1"/>
              <a:t>eg</a:t>
            </a:r>
            <a:r>
              <a:rPr lang="en-GB" sz="1800" b="0" i="1" dirty="0"/>
              <a:t>. urban-rural linkages)</a:t>
            </a:r>
          </a:p>
          <a:p>
            <a:pPr lvl="1">
              <a:buClrTx/>
              <a:buFont typeface="Wingdings" pitchFamily="2" charset="2"/>
              <a:buChar char="Ø"/>
            </a:pPr>
            <a:r>
              <a:rPr lang="fr-BE" sz="1800" b="0" i="1" dirty="0" err="1" smtClean="0"/>
              <a:t>integrated</a:t>
            </a:r>
            <a:r>
              <a:rPr lang="fr-BE" sz="1800" b="0" i="1" dirty="0" smtClean="0"/>
              <a:t> territorial </a:t>
            </a:r>
            <a:r>
              <a:rPr lang="fr-BE" sz="1800" b="0" i="1" dirty="0" err="1" smtClean="0"/>
              <a:t>strategies</a:t>
            </a:r>
            <a:r>
              <a:rPr lang="fr-BE" sz="1800" b="0" i="1" dirty="0" smtClean="0"/>
              <a:t> </a:t>
            </a:r>
            <a:endParaRPr lang="fr-BE" sz="1800" b="0" i="1" dirty="0"/>
          </a:p>
          <a:p>
            <a:pPr marL="457200" lvl="1" indent="0">
              <a:buClrTx/>
              <a:buNone/>
            </a:pPr>
            <a:endParaRPr lang="en-GB" sz="1800" b="0" dirty="0">
              <a:solidFill>
                <a:srgbClr val="16489F"/>
              </a:solidFill>
            </a:endParaRPr>
          </a:p>
          <a:p>
            <a:pPr>
              <a:buClrTx/>
              <a:buFont typeface="Arial" panose="020B0604020202020204" pitchFamily="34" charset="0"/>
              <a:buChar char="•"/>
            </a:pPr>
            <a:r>
              <a:rPr lang="en-GB" sz="2000" b="1" i="0" dirty="0">
                <a:solidFill>
                  <a:srgbClr val="16489F"/>
                </a:solidFill>
              </a:rPr>
              <a:t>Community-led local development</a:t>
            </a:r>
            <a:r>
              <a:rPr lang="en-GB" sz="2000" i="0" dirty="0">
                <a:solidFill>
                  <a:srgbClr val="16489F"/>
                </a:solidFill>
              </a:rPr>
              <a:t> (CLLD) – joint initiative of four EU funds to support implementation of joint bottom-up local development strategies (based on "Leader" approach)</a:t>
            </a:r>
          </a:p>
          <a:p>
            <a:pPr lvl="1">
              <a:buClrTx/>
              <a:buFont typeface="Wingdings" pitchFamily="2" charset="2"/>
              <a:buChar char="Ø"/>
            </a:pPr>
            <a:r>
              <a:rPr lang="et-EE" sz="1800" b="0" i="1" dirty="0"/>
              <a:t>o</a:t>
            </a:r>
            <a:r>
              <a:rPr lang="en-GB" sz="1800" b="0" i="1" dirty="0" err="1"/>
              <a:t>ption</a:t>
            </a:r>
            <a:r>
              <a:rPr lang="en-GB" sz="1800" b="0" i="1" dirty="0"/>
              <a:t> for ERDF, ESF, EMFF, compulsory for </a:t>
            </a:r>
            <a:r>
              <a:rPr lang="en-GB" sz="1800" b="0" i="1" dirty="0" smtClean="0"/>
              <a:t>EAFRD </a:t>
            </a:r>
            <a:endParaRPr lang="en-GB" sz="1800" b="0" i="1" dirty="0"/>
          </a:p>
          <a:p>
            <a:pPr lvl="1">
              <a:buClrTx/>
              <a:buFont typeface="Wingdings" pitchFamily="2" charset="2"/>
              <a:buChar char="Ø"/>
            </a:pPr>
            <a:endParaRPr lang="en-GB" sz="1800" b="0" i="1" dirty="0"/>
          </a:p>
          <a:p>
            <a:pPr lvl="1">
              <a:buClrTx/>
            </a:pPr>
            <a:endParaRPr lang="en-GB" sz="1600" b="0" dirty="0">
              <a:solidFill>
                <a:srgbClr val="16489F"/>
              </a:solidFill>
            </a:endParaRP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163770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2"/>
          <p:cNvSpPr>
            <a:spLocks noGrp="1" noChangeArrowheads="1"/>
          </p:cNvSpPr>
          <p:nvPr>
            <p:ph type="title"/>
          </p:nvPr>
        </p:nvSpPr>
        <p:spPr>
          <a:xfrm>
            <a:off x="323528" y="1268760"/>
            <a:ext cx="8496300" cy="864097"/>
          </a:xfrm>
        </p:spPr>
        <p:txBody>
          <a:bodyPr/>
          <a:lstStyle/>
          <a:p>
            <a:pPr marL="0" indent="0"/>
            <a:r>
              <a:rPr lang="en-IE" sz="2800" dirty="0" smtClean="0">
                <a:solidFill>
                  <a:srgbClr val="16489F"/>
                </a:solidFill>
              </a:rPr>
              <a:t>Tools for territorial development  (2) </a:t>
            </a:r>
          </a:p>
        </p:txBody>
      </p:sp>
      <p:sp>
        <p:nvSpPr>
          <p:cNvPr id="1433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95536" y="2204864"/>
            <a:ext cx="8280920" cy="4653136"/>
          </a:xfrm>
        </p:spPr>
        <p:txBody>
          <a:bodyPr/>
          <a:lstStyle/>
          <a:p>
            <a:pPr>
              <a:buClrTx/>
              <a:buFont typeface="Arial" panose="020B0604020202020204" pitchFamily="34" charset="0"/>
              <a:buChar char="•"/>
            </a:pPr>
            <a:r>
              <a:rPr lang="fr-BE" sz="2000" b="1" i="0" dirty="0" err="1" smtClean="0">
                <a:solidFill>
                  <a:srgbClr val="16489F"/>
                </a:solidFill>
              </a:rPr>
              <a:t>Possibility</a:t>
            </a:r>
            <a:r>
              <a:rPr lang="fr-BE" sz="2000" b="1" i="0" dirty="0" smtClean="0">
                <a:solidFill>
                  <a:srgbClr val="16489F"/>
                </a:solidFill>
              </a:rPr>
              <a:t> to </a:t>
            </a:r>
            <a:r>
              <a:rPr lang="fr-BE" sz="2000" b="1" i="0" dirty="0" err="1" smtClean="0">
                <a:solidFill>
                  <a:srgbClr val="16489F"/>
                </a:solidFill>
              </a:rPr>
              <a:t>modulate</a:t>
            </a:r>
            <a:r>
              <a:rPr lang="fr-BE" sz="2000" b="1" i="0" dirty="0" smtClean="0">
                <a:solidFill>
                  <a:srgbClr val="16489F"/>
                </a:solidFill>
              </a:rPr>
              <a:t> EU </a:t>
            </a:r>
            <a:r>
              <a:rPr lang="fr-BE" sz="2000" b="1" i="0" dirty="0" err="1" smtClean="0">
                <a:solidFill>
                  <a:srgbClr val="16489F"/>
                </a:solidFill>
              </a:rPr>
              <a:t>co-financing</a:t>
            </a:r>
            <a:r>
              <a:rPr lang="fr-BE" sz="2000" b="1" i="0" dirty="0" smtClean="0">
                <a:solidFill>
                  <a:srgbClr val="16489F"/>
                </a:solidFill>
              </a:rPr>
              <a:t> rate to programme </a:t>
            </a:r>
            <a:r>
              <a:rPr lang="fr-BE" sz="2000" b="1" i="0" dirty="0" err="1" smtClean="0">
                <a:solidFill>
                  <a:srgbClr val="16489F"/>
                </a:solidFill>
              </a:rPr>
              <a:t>priority</a:t>
            </a:r>
            <a:r>
              <a:rPr lang="fr-BE" sz="2000" b="1" i="0" dirty="0" smtClean="0">
                <a:solidFill>
                  <a:srgbClr val="16489F"/>
                </a:solidFill>
              </a:rPr>
              <a:t> axis, to </a:t>
            </a:r>
            <a:r>
              <a:rPr lang="fr-BE" sz="2000" b="1" i="0" dirty="0" err="1" smtClean="0">
                <a:solidFill>
                  <a:srgbClr val="16489F"/>
                </a:solidFill>
              </a:rPr>
              <a:t>take</a:t>
            </a:r>
            <a:r>
              <a:rPr lang="fr-BE" sz="2000" b="1" i="0" dirty="0" smtClean="0">
                <a:solidFill>
                  <a:srgbClr val="16489F"/>
                </a:solidFill>
              </a:rPr>
              <a:t> </a:t>
            </a:r>
            <a:r>
              <a:rPr lang="fr-BE" sz="2000" b="1" i="0" dirty="0" err="1" smtClean="0">
                <a:solidFill>
                  <a:srgbClr val="16489F"/>
                </a:solidFill>
              </a:rPr>
              <a:t>account</a:t>
            </a:r>
            <a:r>
              <a:rPr lang="fr-BE" sz="2000" b="1" i="0" dirty="0" smtClean="0">
                <a:solidFill>
                  <a:srgbClr val="16489F"/>
                </a:solidFill>
              </a:rPr>
              <a:t> of areas </a:t>
            </a:r>
            <a:r>
              <a:rPr lang="fr-BE" sz="2000" b="1" i="0" dirty="0" err="1" smtClean="0">
                <a:solidFill>
                  <a:srgbClr val="16489F"/>
                </a:solidFill>
              </a:rPr>
              <a:t>with</a:t>
            </a:r>
            <a:r>
              <a:rPr lang="fr-BE" sz="2000" b="1" i="0" dirty="0" smtClean="0">
                <a:solidFill>
                  <a:srgbClr val="16489F"/>
                </a:solidFill>
              </a:rPr>
              <a:t> </a:t>
            </a:r>
            <a:r>
              <a:rPr lang="fr-BE" sz="2000" b="1" i="0" dirty="0" err="1" smtClean="0">
                <a:solidFill>
                  <a:srgbClr val="16489F"/>
                </a:solidFill>
              </a:rPr>
              <a:t>severe</a:t>
            </a:r>
            <a:r>
              <a:rPr lang="fr-BE" sz="2000" b="1" i="0" dirty="0" smtClean="0">
                <a:solidFill>
                  <a:srgbClr val="16489F"/>
                </a:solidFill>
              </a:rPr>
              <a:t> and permanent </a:t>
            </a:r>
            <a:r>
              <a:rPr lang="fr-BE" sz="2000" b="1" i="0" dirty="0" err="1" smtClean="0">
                <a:solidFill>
                  <a:srgbClr val="16489F"/>
                </a:solidFill>
              </a:rPr>
              <a:t>natural</a:t>
            </a:r>
            <a:r>
              <a:rPr lang="fr-BE" sz="2000" b="1" i="0" dirty="0" smtClean="0">
                <a:solidFill>
                  <a:srgbClr val="16489F"/>
                </a:solidFill>
              </a:rPr>
              <a:t> or </a:t>
            </a:r>
            <a:r>
              <a:rPr lang="fr-BE" sz="2000" b="1" i="0" dirty="0" err="1" smtClean="0">
                <a:solidFill>
                  <a:srgbClr val="16489F"/>
                </a:solidFill>
              </a:rPr>
              <a:t>demographic</a:t>
            </a:r>
            <a:r>
              <a:rPr lang="fr-BE" sz="2000" b="1" i="0" dirty="0" smtClean="0">
                <a:solidFill>
                  <a:srgbClr val="16489F"/>
                </a:solidFill>
              </a:rPr>
              <a:t> handicaps </a:t>
            </a:r>
            <a:r>
              <a:rPr lang="fr-BE" sz="2000" i="0" dirty="0" smtClean="0">
                <a:solidFill>
                  <a:srgbClr val="16489F"/>
                </a:solidFill>
              </a:rPr>
              <a:t>(Art. 111 CPR)</a:t>
            </a:r>
          </a:p>
          <a:p>
            <a:pPr marL="0" indent="0">
              <a:spcBef>
                <a:spcPts val="0"/>
              </a:spcBef>
              <a:buClrTx/>
              <a:buNone/>
            </a:pPr>
            <a:endParaRPr lang="fr-BE" sz="2000" i="0" dirty="0" smtClean="0">
              <a:solidFill>
                <a:srgbClr val="16489F"/>
              </a:solidFill>
            </a:endParaRPr>
          </a:p>
          <a:p>
            <a:pPr lvl="1">
              <a:spcBef>
                <a:spcPts val="600"/>
              </a:spcBef>
              <a:spcAft>
                <a:spcPts val="600"/>
              </a:spcAft>
              <a:buClrTx/>
              <a:buFont typeface="Wingdings" pitchFamily="2" charset="2"/>
              <a:buChar char="Ø"/>
            </a:pPr>
            <a:r>
              <a:rPr lang="fr-BE" b="0" i="1" dirty="0" err="1" smtClean="0">
                <a:solidFill>
                  <a:srgbClr val="16489F"/>
                </a:solidFill>
              </a:rPr>
              <a:t>including</a:t>
            </a:r>
            <a:r>
              <a:rPr lang="fr-BE" b="0" i="1" dirty="0" smtClean="0">
                <a:solidFill>
                  <a:srgbClr val="16489F"/>
                </a:solidFill>
              </a:rPr>
              <a:t> </a:t>
            </a:r>
            <a:r>
              <a:rPr lang="fr-BE" b="0" i="1" dirty="0" err="1" smtClean="0">
                <a:solidFill>
                  <a:srgbClr val="16489F"/>
                </a:solidFill>
              </a:rPr>
              <a:t>island</a:t>
            </a:r>
            <a:r>
              <a:rPr lang="fr-BE" b="0" i="1" dirty="0" smtClean="0">
                <a:solidFill>
                  <a:srgbClr val="16489F"/>
                </a:solidFill>
              </a:rPr>
              <a:t> </a:t>
            </a:r>
            <a:r>
              <a:rPr lang="fr-BE" b="0" i="1" dirty="0" err="1" smtClean="0">
                <a:solidFill>
                  <a:srgbClr val="16489F"/>
                </a:solidFill>
              </a:rPr>
              <a:t>Member</a:t>
            </a:r>
            <a:r>
              <a:rPr lang="fr-BE" b="0" i="1" dirty="0" smtClean="0">
                <a:solidFill>
                  <a:srgbClr val="16489F"/>
                </a:solidFill>
              </a:rPr>
              <a:t> states </a:t>
            </a:r>
            <a:r>
              <a:rPr lang="fr-BE" b="0" i="1" dirty="0" err="1" smtClean="0">
                <a:solidFill>
                  <a:srgbClr val="16489F"/>
                </a:solidFill>
              </a:rPr>
              <a:t>eligible</a:t>
            </a:r>
            <a:r>
              <a:rPr lang="fr-BE" b="0" i="1" dirty="0" smtClean="0">
                <a:solidFill>
                  <a:srgbClr val="16489F"/>
                </a:solidFill>
              </a:rPr>
              <a:t> </a:t>
            </a:r>
            <a:r>
              <a:rPr lang="fr-BE" b="0" i="1" dirty="0" err="1" smtClean="0">
                <a:solidFill>
                  <a:srgbClr val="16489F"/>
                </a:solidFill>
              </a:rPr>
              <a:t>under</a:t>
            </a:r>
            <a:r>
              <a:rPr lang="fr-BE" b="0" i="1" dirty="0" smtClean="0">
                <a:solidFill>
                  <a:srgbClr val="16489F"/>
                </a:solidFill>
              </a:rPr>
              <a:t> the </a:t>
            </a:r>
            <a:r>
              <a:rPr lang="fr-BE" b="0" i="1" dirty="0" err="1" smtClean="0">
                <a:solidFill>
                  <a:srgbClr val="16489F"/>
                </a:solidFill>
              </a:rPr>
              <a:t>Cohesion</a:t>
            </a:r>
            <a:r>
              <a:rPr lang="fr-BE" b="0" i="1" dirty="0" smtClean="0">
                <a:solidFill>
                  <a:srgbClr val="16489F"/>
                </a:solidFill>
              </a:rPr>
              <a:t> </a:t>
            </a:r>
            <a:r>
              <a:rPr lang="fr-BE" b="0" i="1" dirty="0" err="1" smtClean="0">
                <a:solidFill>
                  <a:srgbClr val="16489F"/>
                </a:solidFill>
              </a:rPr>
              <a:t>Fund</a:t>
            </a:r>
            <a:r>
              <a:rPr lang="fr-BE" b="0" i="1" dirty="0" smtClean="0">
                <a:solidFill>
                  <a:srgbClr val="16489F"/>
                </a:solidFill>
              </a:rPr>
              <a:t>, and </a:t>
            </a:r>
            <a:r>
              <a:rPr lang="fr-BE" b="0" i="1" dirty="0" err="1" smtClean="0">
                <a:solidFill>
                  <a:srgbClr val="16489F"/>
                </a:solidFill>
              </a:rPr>
              <a:t>other</a:t>
            </a:r>
            <a:r>
              <a:rPr lang="fr-BE" b="0" i="1" dirty="0" smtClean="0">
                <a:solidFill>
                  <a:srgbClr val="16489F"/>
                </a:solidFill>
              </a:rPr>
              <a:t> </a:t>
            </a:r>
            <a:r>
              <a:rPr lang="fr-BE" b="0" i="1" dirty="0" err="1" smtClean="0">
                <a:solidFill>
                  <a:srgbClr val="16489F"/>
                </a:solidFill>
              </a:rPr>
              <a:t>islands</a:t>
            </a:r>
            <a:r>
              <a:rPr lang="fr-BE" b="0" i="1" dirty="0" smtClean="0">
                <a:solidFill>
                  <a:srgbClr val="16489F"/>
                </a:solidFill>
              </a:rPr>
              <a:t> </a:t>
            </a:r>
            <a:r>
              <a:rPr lang="fr-BE" b="0" i="1" dirty="0" err="1" smtClean="0">
                <a:solidFill>
                  <a:srgbClr val="16489F"/>
                </a:solidFill>
              </a:rPr>
              <a:t>except</a:t>
            </a:r>
            <a:r>
              <a:rPr lang="fr-BE" b="0" i="1" dirty="0" smtClean="0">
                <a:solidFill>
                  <a:srgbClr val="16489F"/>
                </a:solidFill>
              </a:rPr>
              <a:t> </a:t>
            </a:r>
            <a:r>
              <a:rPr lang="fr-BE" b="0" i="1" dirty="0" err="1" smtClean="0">
                <a:solidFill>
                  <a:srgbClr val="16489F"/>
                </a:solidFill>
              </a:rPr>
              <a:t>those</a:t>
            </a:r>
            <a:r>
              <a:rPr lang="fr-BE" b="0" i="1" dirty="0" smtClean="0">
                <a:solidFill>
                  <a:srgbClr val="16489F"/>
                </a:solidFill>
              </a:rPr>
              <a:t> on </a:t>
            </a:r>
            <a:r>
              <a:rPr lang="fr-BE" b="0" i="1" dirty="0" err="1" smtClean="0">
                <a:solidFill>
                  <a:srgbClr val="16489F"/>
                </a:solidFill>
              </a:rPr>
              <a:t>which</a:t>
            </a:r>
            <a:r>
              <a:rPr lang="fr-BE" b="0" i="1" dirty="0" smtClean="0">
                <a:solidFill>
                  <a:srgbClr val="16489F"/>
                </a:solidFill>
              </a:rPr>
              <a:t> the capital of a </a:t>
            </a:r>
            <a:r>
              <a:rPr lang="fr-BE" b="0" i="1" dirty="0" err="1" smtClean="0">
                <a:solidFill>
                  <a:srgbClr val="16489F"/>
                </a:solidFill>
              </a:rPr>
              <a:t>Member</a:t>
            </a:r>
            <a:r>
              <a:rPr lang="fr-BE" b="0" i="1" dirty="0" smtClean="0">
                <a:solidFill>
                  <a:srgbClr val="16489F"/>
                </a:solidFill>
              </a:rPr>
              <a:t> State </a:t>
            </a:r>
            <a:r>
              <a:rPr lang="fr-BE" b="0" i="1" dirty="0" err="1" smtClean="0">
                <a:solidFill>
                  <a:srgbClr val="16489F"/>
                </a:solidFill>
              </a:rPr>
              <a:t>is</a:t>
            </a:r>
            <a:r>
              <a:rPr lang="fr-BE" b="0" i="1" dirty="0" smtClean="0">
                <a:solidFill>
                  <a:srgbClr val="16489F"/>
                </a:solidFill>
              </a:rPr>
              <a:t> </a:t>
            </a:r>
            <a:r>
              <a:rPr lang="fr-BE" b="0" i="1" dirty="0" err="1" smtClean="0">
                <a:solidFill>
                  <a:srgbClr val="16489F"/>
                </a:solidFill>
              </a:rPr>
              <a:t>situated</a:t>
            </a:r>
            <a:r>
              <a:rPr lang="fr-BE" b="0" i="1" dirty="0" smtClean="0">
                <a:solidFill>
                  <a:srgbClr val="16489F"/>
                </a:solidFill>
              </a:rPr>
              <a:t> or </a:t>
            </a:r>
            <a:r>
              <a:rPr lang="fr-BE" b="0" i="1" dirty="0" err="1" smtClean="0">
                <a:solidFill>
                  <a:srgbClr val="16489F"/>
                </a:solidFill>
              </a:rPr>
              <a:t>which</a:t>
            </a:r>
            <a:r>
              <a:rPr lang="fr-BE" b="0" i="1" dirty="0" smtClean="0">
                <a:solidFill>
                  <a:srgbClr val="16489F"/>
                </a:solidFill>
              </a:rPr>
              <a:t> has a </a:t>
            </a:r>
            <a:r>
              <a:rPr lang="fr-BE" b="0" i="1" dirty="0" err="1" smtClean="0">
                <a:solidFill>
                  <a:srgbClr val="16489F"/>
                </a:solidFill>
              </a:rPr>
              <a:t>fixed</a:t>
            </a:r>
            <a:r>
              <a:rPr lang="fr-BE" b="0" i="1" dirty="0" smtClean="0">
                <a:solidFill>
                  <a:srgbClr val="16489F"/>
                </a:solidFill>
              </a:rPr>
              <a:t> </a:t>
            </a:r>
            <a:r>
              <a:rPr lang="fr-BE" b="0" i="1" dirty="0" err="1" smtClean="0">
                <a:solidFill>
                  <a:srgbClr val="16489F"/>
                </a:solidFill>
              </a:rPr>
              <a:t>link</a:t>
            </a:r>
            <a:r>
              <a:rPr lang="fr-BE" b="0" i="1" dirty="0" smtClean="0">
                <a:solidFill>
                  <a:srgbClr val="16489F"/>
                </a:solidFill>
              </a:rPr>
              <a:t> to the </a:t>
            </a:r>
            <a:r>
              <a:rPr lang="fr-BE" b="0" i="1" dirty="0" err="1" smtClean="0">
                <a:solidFill>
                  <a:srgbClr val="16489F"/>
                </a:solidFill>
              </a:rPr>
              <a:t>mainland</a:t>
            </a:r>
            <a:endParaRPr lang="fr-BE" b="0" i="1" dirty="0" smtClean="0">
              <a:solidFill>
                <a:srgbClr val="16489F"/>
              </a:solidFill>
            </a:endParaRPr>
          </a:p>
          <a:p>
            <a:pPr lvl="1">
              <a:spcBef>
                <a:spcPts val="600"/>
              </a:spcBef>
              <a:spcAft>
                <a:spcPts val="600"/>
              </a:spcAft>
              <a:buClrTx/>
              <a:buFont typeface="Wingdings" pitchFamily="2" charset="2"/>
              <a:buChar char="Ø"/>
            </a:pPr>
            <a:r>
              <a:rPr lang="fr-BE" b="0" i="1" dirty="0" err="1" smtClean="0">
                <a:solidFill>
                  <a:srgbClr val="16489F"/>
                </a:solidFill>
              </a:rPr>
              <a:t>mountainous</a:t>
            </a:r>
            <a:r>
              <a:rPr lang="fr-BE" b="0" i="1" dirty="0" smtClean="0">
                <a:solidFill>
                  <a:srgbClr val="16489F"/>
                </a:solidFill>
              </a:rPr>
              <a:t> areas as </a:t>
            </a:r>
            <a:r>
              <a:rPr lang="fr-BE" b="0" i="1" dirty="0" err="1" smtClean="0">
                <a:solidFill>
                  <a:srgbClr val="16489F"/>
                </a:solidFill>
              </a:rPr>
              <a:t>defined</a:t>
            </a:r>
            <a:r>
              <a:rPr lang="fr-BE" b="0" i="1" dirty="0" smtClean="0">
                <a:solidFill>
                  <a:srgbClr val="16489F"/>
                </a:solidFill>
              </a:rPr>
              <a:t> by the national </a:t>
            </a:r>
            <a:r>
              <a:rPr lang="fr-BE" b="0" i="1" dirty="0" err="1" smtClean="0">
                <a:solidFill>
                  <a:srgbClr val="16489F"/>
                </a:solidFill>
              </a:rPr>
              <a:t>legislation</a:t>
            </a:r>
            <a:r>
              <a:rPr lang="fr-BE" b="0" i="1" dirty="0" smtClean="0">
                <a:solidFill>
                  <a:srgbClr val="16489F"/>
                </a:solidFill>
              </a:rPr>
              <a:t> of the </a:t>
            </a:r>
            <a:r>
              <a:rPr lang="fr-BE" b="0" i="1" dirty="0" err="1" smtClean="0">
                <a:solidFill>
                  <a:srgbClr val="16489F"/>
                </a:solidFill>
              </a:rPr>
              <a:t>Member</a:t>
            </a:r>
            <a:r>
              <a:rPr lang="fr-BE" b="0" i="1" dirty="0" smtClean="0">
                <a:solidFill>
                  <a:srgbClr val="16489F"/>
                </a:solidFill>
              </a:rPr>
              <a:t> State</a:t>
            </a:r>
          </a:p>
          <a:p>
            <a:pPr lvl="1">
              <a:spcBef>
                <a:spcPts val="600"/>
              </a:spcBef>
              <a:spcAft>
                <a:spcPts val="600"/>
              </a:spcAft>
              <a:buClrTx/>
              <a:buFont typeface="Wingdings" pitchFamily="2" charset="2"/>
              <a:buChar char="Ø"/>
            </a:pPr>
            <a:r>
              <a:rPr lang="fr-BE" b="0" i="1" dirty="0" err="1" smtClean="0">
                <a:solidFill>
                  <a:srgbClr val="16489F"/>
                </a:solidFill>
              </a:rPr>
              <a:t>sparsely</a:t>
            </a:r>
            <a:r>
              <a:rPr lang="fr-BE" b="0" i="1" dirty="0">
                <a:solidFill>
                  <a:srgbClr val="16489F"/>
                </a:solidFill>
              </a:rPr>
              <a:t> </a:t>
            </a:r>
            <a:r>
              <a:rPr lang="fr-BE" b="0" i="1" dirty="0" err="1" smtClean="0">
                <a:solidFill>
                  <a:srgbClr val="16489F"/>
                </a:solidFill>
              </a:rPr>
              <a:t>populated</a:t>
            </a:r>
            <a:r>
              <a:rPr lang="fr-BE" b="0" i="1" dirty="0" smtClean="0">
                <a:solidFill>
                  <a:srgbClr val="16489F"/>
                </a:solidFill>
              </a:rPr>
              <a:t> areas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9" name="Rectangle 7"/>
          <p:cNvSpPr>
            <a:spLocks noChangeArrowheads="1"/>
          </p:cNvSpPr>
          <p:nvPr/>
        </p:nvSpPr>
        <p:spPr bwMode="auto">
          <a:xfrm>
            <a:off x="468313" y="1484313"/>
            <a:ext cx="2735262" cy="4318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defTabSz="914400">
              <a:buClrTx/>
              <a:buSzTx/>
              <a:buFontTx/>
              <a:buNone/>
              <a:defRPr/>
            </a:pPr>
            <a:r>
              <a:rPr lang="en-GB" sz="1400" b="1" dirty="0">
                <a:solidFill>
                  <a:srgbClr val="0F5494"/>
                </a:solidFill>
                <a:cs typeface="ＭＳ Ｐゴシック" charset="0"/>
              </a:rPr>
              <a:t>Regional</a:t>
            </a:r>
          </a:p>
          <a:p>
            <a:pPr algn="ctr" defTabSz="914400">
              <a:buClrTx/>
              <a:buSzTx/>
              <a:buFontTx/>
              <a:buNone/>
              <a:defRPr/>
            </a:pPr>
            <a:r>
              <a:rPr lang="en-GB" sz="1400" b="1" dirty="0">
                <a:solidFill>
                  <a:srgbClr val="0F5494"/>
                </a:solidFill>
                <a:cs typeface="ＭＳ Ｐゴシック" charset="0"/>
              </a:rPr>
              <a:t>ERDF-ESF OP</a:t>
            </a:r>
          </a:p>
        </p:txBody>
      </p:sp>
      <p:sp>
        <p:nvSpPr>
          <p:cNvPr id="35843" name="Rectangle 8"/>
          <p:cNvSpPr>
            <a:spLocks noChangeArrowheads="1"/>
          </p:cNvSpPr>
          <p:nvPr/>
        </p:nvSpPr>
        <p:spPr bwMode="auto">
          <a:xfrm>
            <a:off x="1690688" y="2347913"/>
            <a:ext cx="360362" cy="504825"/>
          </a:xfrm>
          <a:prstGeom prst="rect">
            <a:avLst/>
          </a:prstGeom>
          <a:solidFill>
            <a:srgbClr val="0080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defTabSz="914400">
              <a:buClrTx/>
              <a:buSzTx/>
              <a:buFontTx/>
              <a:buNone/>
            </a:pPr>
            <a:endParaRPr lang="en-US">
              <a:solidFill>
                <a:srgbClr val="0F5494"/>
              </a:solidFill>
            </a:endParaRPr>
          </a:p>
        </p:txBody>
      </p:sp>
      <p:sp>
        <p:nvSpPr>
          <p:cNvPr id="3081" name="Rectangle 9"/>
          <p:cNvSpPr>
            <a:spLocks noChangeArrowheads="1"/>
          </p:cNvSpPr>
          <p:nvPr/>
        </p:nvSpPr>
        <p:spPr bwMode="auto">
          <a:xfrm>
            <a:off x="1690688" y="1989138"/>
            <a:ext cx="360362" cy="574675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defTabSz="914400">
              <a:buClrTx/>
              <a:buSzTx/>
              <a:buFontTx/>
              <a:buNone/>
              <a:defRPr/>
            </a:pPr>
            <a:endParaRPr lang="en-GB">
              <a:solidFill>
                <a:srgbClr val="0F5494"/>
              </a:solidFill>
              <a:latin typeface="Verdana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3082" name="Rectangle 10"/>
          <p:cNvSpPr>
            <a:spLocks noChangeArrowheads="1"/>
          </p:cNvSpPr>
          <p:nvPr/>
        </p:nvSpPr>
        <p:spPr bwMode="auto">
          <a:xfrm>
            <a:off x="2195513" y="1989138"/>
            <a:ext cx="360362" cy="8636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defTabSz="914400">
              <a:buClrTx/>
              <a:buSzTx/>
              <a:buFontTx/>
              <a:buNone/>
              <a:defRPr/>
            </a:pPr>
            <a:endParaRPr lang="en-GB">
              <a:solidFill>
                <a:srgbClr val="0F5494"/>
              </a:solidFill>
              <a:latin typeface="Verdana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3083" name="Rectangle 11"/>
          <p:cNvSpPr>
            <a:spLocks noChangeArrowheads="1"/>
          </p:cNvSpPr>
          <p:nvPr/>
        </p:nvSpPr>
        <p:spPr bwMode="auto">
          <a:xfrm>
            <a:off x="3635375" y="1484313"/>
            <a:ext cx="2447925" cy="43338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defTabSz="914400">
              <a:buClrTx/>
              <a:buSzTx/>
              <a:buFontTx/>
              <a:buNone/>
              <a:defRPr/>
            </a:pPr>
            <a:r>
              <a:rPr lang="en-GB" sz="1400" b="1" dirty="0">
                <a:solidFill>
                  <a:srgbClr val="0F5494"/>
                </a:solidFill>
                <a:cs typeface="ＭＳ Ｐゴシック" charset="0"/>
              </a:rPr>
              <a:t>National/sectoral</a:t>
            </a:r>
          </a:p>
          <a:p>
            <a:pPr algn="ctr" defTabSz="914400">
              <a:buClrTx/>
              <a:buSzTx/>
              <a:buFontTx/>
              <a:buNone/>
              <a:defRPr/>
            </a:pPr>
            <a:r>
              <a:rPr lang="en-GB" sz="1400" b="1" dirty="0">
                <a:solidFill>
                  <a:srgbClr val="0F5494"/>
                </a:solidFill>
                <a:cs typeface="ＭＳ Ｐゴシック" charset="0"/>
              </a:rPr>
              <a:t>ERDF OP</a:t>
            </a:r>
          </a:p>
        </p:txBody>
      </p:sp>
      <p:sp>
        <p:nvSpPr>
          <p:cNvPr id="3091" name="Rectangle 19"/>
          <p:cNvSpPr>
            <a:spLocks noChangeArrowheads="1"/>
          </p:cNvSpPr>
          <p:nvPr/>
        </p:nvSpPr>
        <p:spPr bwMode="auto">
          <a:xfrm>
            <a:off x="5364163" y="3284538"/>
            <a:ext cx="1223962" cy="4318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defTabSz="914400">
              <a:buClrTx/>
              <a:buSzTx/>
              <a:buFontTx/>
              <a:buNone/>
              <a:defRPr/>
            </a:pPr>
            <a:r>
              <a:rPr lang="en-GB" sz="1400">
                <a:solidFill>
                  <a:srgbClr val="0F5494"/>
                </a:solidFill>
                <a:cs typeface="ＭＳ Ｐゴシック" charset="0"/>
              </a:rPr>
              <a:t>ESF OP</a:t>
            </a:r>
          </a:p>
        </p:txBody>
      </p:sp>
      <p:sp>
        <p:nvSpPr>
          <p:cNvPr id="3095" name="Rectangle 23"/>
          <p:cNvSpPr>
            <a:spLocks noChangeArrowheads="1"/>
          </p:cNvSpPr>
          <p:nvPr/>
        </p:nvSpPr>
        <p:spPr bwMode="auto">
          <a:xfrm>
            <a:off x="5578475" y="4868863"/>
            <a:ext cx="792163" cy="4318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defTabSz="914400">
              <a:buClrTx/>
              <a:buSzTx/>
              <a:buFontTx/>
              <a:buNone/>
              <a:defRPr/>
            </a:pPr>
            <a:r>
              <a:rPr lang="en-GB" sz="1400" dirty="0">
                <a:solidFill>
                  <a:srgbClr val="0F5494"/>
                </a:solidFill>
                <a:cs typeface="ＭＳ Ｐゴシック" charset="0"/>
              </a:rPr>
              <a:t>CF OP</a:t>
            </a:r>
          </a:p>
        </p:txBody>
      </p:sp>
      <p:sp>
        <p:nvSpPr>
          <p:cNvPr id="3144" name="Rectangle 72"/>
          <p:cNvSpPr>
            <a:spLocks noChangeArrowheads="1"/>
          </p:cNvSpPr>
          <p:nvPr/>
        </p:nvSpPr>
        <p:spPr bwMode="auto">
          <a:xfrm>
            <a:off x="2698750" y="2205038"/>
            <a:ext cx="360363" cy="6477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defTabSz="914400">
              <a:buClrTx/>
              <a:buSzTx/>
              <a:buFontTx/>
              <a:buNone/>
              <a:defRPr/>
            </a:pPr>
            <a:endParaRPr lang="en-GB">
              <a:solidFill>
                <a:srgbClr val="0F5494"/>
              </a:solidFill>
              <a:latin typeface="Verdana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3145" name="Rectangle 73"/>
          <p:cNvSpPr>
            <a:spLocks noChangeArrowheads="1"/>
          </p:cNvSpPr>
          <p:nvPr/>
        </p:nvSpPr>
        <p:spPr bwMode="auto">
          <a:xfrm>
            <a:off x="2159000" y="4581525"/>
            <a:ext cx="360363" cy="215900"/>
          </a:xfrm>
          <a:prstGeom prst="rect">
            <a:avLst/>
          </a:prstGeom>
          <a:solidFill>
            <a:srgbClr val="FF000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defTabSz="914400">
              <a:buClrTx/>
              <a:buSzTx/>
              <a:buFontTx/>
              <a:buNone/>
              <a:defRPr/>
            </a:pPr>
            <a:endParaRPr lang="en-GB">
              <a:solidFill>
                <a:srgbClr val="0F5494"/>
              </a:solidFill>
              <a:latin typeface="Verdana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3147" name="Rectangle 75"/>
          <p:cNvSpPr>
            <a:spLocks noChangeArrowheads="1"/>
          </p:cNvSpPr>
          <p:nvPr/>
        </p:nvSpPr>
        <p:spPr bwMode="auto">
          <a:xfrm>
            <a:off x="4140200" y="1989138"/>
            <a:ext cx="360363" cy="8636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defTabSz="914400">
              <a:buClrTx/>
              <a:buSzTx/>
              <a:buFontTx/>
              <a:buNone/>
              <a:defRPr/>
            </a:pPr>
            <a:endParaRPr lang="en-GB">
              <a:solidFill>
                <a:srgbClr val="0F5494"/>
              </a:solidFill>
              <a:latin typeface="Verdana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3153" name="Rectangle 81"/>
          <p:cNvSpPr>
            <a:spLocks noChangeArrowheads="1"/>
          </p:cNvSpPr>
          <p:nvPr/>
        </p:nvSpPr>
        <p:spPr bwMode="auto">
          <a:xfrm>
            <a:off x="5362575" y="3789363"/>
            <a:ext cx="361950" cy="6477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defTabSz="914400">
              <a:buClrTx/>
              <a:buSzTx/>
              <a:buFontTx/>
              <a:buNone/>
              <a:defRPr/>
            </a:pPr>
            <a:endParaRPr lang="en-GB">
              <a:solidFill>
                <a:srgbClr val="0F5494"/>
              </a:solidFill>
              <a:latin typeface="Verdana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3154" name="Rectangle 82"/>
          <p:cNvSpPr>
            <a:spLocks noChangeArrowheads="1"/>
          </p:cNvSpPr>
          <p:nvPr/>
        </p:nvSpPr>
        <p:spPr bwMode="auto">
          <a:xfrm>
            <a:off x="5794375" y="3789363"/>
            <a:ext cx="360363" cy="8636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defTabSz="914400">
              <a:buClrTx/>
              <a:buSzTx/>
              <a:buFontTx/>
              <a:buNone/>
              <a:defRPr/>
            </a:pPr>
            <a:endParaRPr lang="en-GB">
              <a:solidFill>
                <a:srgbClr val="0F5494"/>
              </a:solidFill>
              <a:latin typeface="Verdana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3156" name="Rectangle 84"/>
          <p:cNvSpPr>
            <a:spLocks noChangeArrowheads="1"/>
          </p:cNvSpPr>
          <p:nvPr/>
        </p:nvSpPr>
        <p:spPr bwMode="auto">
          <a:xfrm>
            <a:off x="6226175" y="3789363"/>
            <a:ext cx="360363" cy="8636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defTabSz="914400">
              <a:buClrTx/>
              <a:buSzTx/>
              <a:buFontTx/>
              <a:buNone/>
              <a:defRPr/>
            </a:pPr>
            <a:endParaRPr lang="en-GB">
              <a:solidFill>
                <a:srgbClr val="0F5494"/>
              </a:solidFill>
              <a:latin typeface="Verdana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3157" name="Rectangle 85"/>
          <p:cNvSpPr>
            <a:spLocks noChangeArrowheads="1"/>
          </p:cNvSpPr>
          <p:nvPr/>
        </p:nvSpPr>
        <p:spPr bwMode="auto">
          <a:xfrm>
            <a:off x="5578475" y="5373688"/>
            <a:ext cx="360363" cy="6477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defTabSz="914400">
              <a:buClrTx/>
              <a:buSzTx/>
              <a:buFontTx/>
              <a:buNone/>
              <a:defRPr/>
            </a:pPr>
            <a:endParaRPr lang="en-GB">
              <a:solidFill>
                <a:srgbClr val="0F5494"/>
              </a:solidFill>
              <a:latin typeface="Verdana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3158" name="Rectangle 86"/>
          <p:cNvSpPr>
            <a:spLocks noChangeArrowheads="1"/>
          </p:cNvSpPr>
          <p:nvPr/>
        </p:nvSpPr>
        <p:spPr bwMode="auto">
          <a:xfrm>
            <a:off x="6010275" y="5373688"/>
            <a:ext cx="360363" cy="8636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defTabSz="914400">
              <a:buClrTx/>
              <a:buSzTx/>
              <a:buFontTx/>
              <a:buNone/>
              <a:defRPr/>
            </a:pPr>
            <a:endParaRPr lang="en-GB">
              <a:solidFill>
                <a:srgbClr val="0F5494"/>
              </a:solidFill>
              <a:latin typeface="Verdana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3159" name="Rectangle 87"/>
          <p:cNvSpPr>
            <a:spLocks noChangeArrowheads="1"/>
          </p:cNvSpPr>
          <p:nvPr/>
        </p:nvSpPr>
        <p:spPr bwMode="auto">
          <a:xfrm>
            <a:off x="5578475" y="6021388"/>
            <a:ext cx="360363" cy="215900"/>
          </a:xfrm>
          <a:prstGeom prst="rect">
            <a:avLst/>
          </a:prstGeom>
          <a:solidFill>
            <a:srgbClr val="FF660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defTabSz="914400">
              <a:buClrTx/>
              <a:buSzTx/>
              <a:buFontTx/>
              <a:buNone/>
              <a:defRPr/>
            </a:pPr>
            <a:endParaRPr lang="en-GB">
              <a:solidFill>
                <a:srgbClr val="0F5494"/>
              </a:solidFill>
              <a:latin typeface="Verdana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3160" name="Rectangle 88"/>
          <p:cNvSpPr>
            <a:spLocks noChangeArrowheads="1"/>
          </p:cNvSpPr>
          <p:nvPr/>
        </p:nvSpPr>
        <p:spPr bwMode="auto">
          <a:xfrm>
            <a:off x="2014538" y="5157788"/>
            <a:ext cx="360362" cy="287337"/>
          </a:xfrm>
          <a:prstGeom prst="rect">
            <a:avLst/>
          </a:prstGeom>
          <a:solidFill>
            <a:srgbClr val="00800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defTabSz="914400">
              <a:buClrTx/>
              <a:buSzTx/>
              <a:buFontTx/>
              <a:buNone/>
              <a:defRPr/>
            </a:pPr>
            <a:endParaRPr lang="en-GB">
              <a:solidFill>
                <a:srgbClr val="0F5494"/>
              </a:solidFill>
              <a:latin typeface="Verdana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3161" name="Rectangle 89"/>
          <p:cNvSpPr>
            <a:spLocks noChangeArrowheads="1"/>
          </p:cNvSpPr>
          <p:nvPr/>
        </p:nvSpPr>
        <p:spPr bwMode="auto">
          <a:xfrm>
            <a:off x="2698750" y="1989138"/>
            <a:ext cx="361950" cy="215900"/>
          </a:xfrm>
          <a:prstGeom prst="rect">
            <a:avLst/>
          </a:prstGeom>
          <a:solidFill>
            <a:srgbClr val="FF000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defTabSz="914400">
              <a:buClrTx/>
              <a:buSzTx/>
              <a:buFontTx/>
              <a:buNone/>
              <a:defRPr/>
            </a:pPr>
            <a:endParaRPr lang="en-GB">
              <a:solidFill>
                <a:srgbClr val="0F5494"/>
              </a:solidFill>
              <a:latin typeface="Verdana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3162" name="Rectangle 90"/>
          <p:cNvSpPr>
            <a:spLocks noChangeArrowheads="1"/>
          </p:cNvSpPr>
          <p:nvPr/>
        </p:nvSpPr>
        <p:spPr bwMode="auto">
          <a:xfrm>
            <a:off x="2374900" y="4868863"/>
            <a:ext cx="360363" cy="215900"/>
          </a:xfrm>
          <a:prstGeom prst="rect">
            <a:avLst/>
          </a:prstGeom>
          <a:solidFill>
            <a:srgbClr val="0000FF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defTabSz="914400">
              <a:buClrTx/>
              <a:buSzTx/>
              <a:buFontTx/>
              <a:buNone/>
              <a:defRPr/>
            </a:pPr>
            <a:endParaRPr lang="en-GB">
              <a:solidFill>
                <a:srgbClr val="0F5494"/>
              </a:solidFill>
              <a:latin typeface="Verdana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3164" name="Rectangle 92"/>
          <p:cNvSpPr>
            <a:spLocks noChangeArrowheads="1"/>
          </p:cNvSpPr>
          <p:nvPr/>
        </p:nvSpPr>
        <p:spPr bwMode="auto">
          <a:xfrm>
            <a:off x="2303463" y="5589588"/>
            <a:ext cx="360362" cy="215900"/>
          </a:xfrm>
          <a:prstGeom prst="rect">
            <a:avLst/>
          </a:prstGeom>
          <a:solidFill>
            <a:srgbClr val="FF660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defTabSz="914400">
              <a:buClrTx/>
              <a:buSzTx/>
              <a:buFontTx/>
              <a:buNone/>
              <a:defRPr/>
            </a:pPr>
            <a:endParaRPr lang="en-GB">
              <a:solidFill>
                <a:srgbClr val="0F5494"/>
              </a:solidFill>
              <a:latin typeface="Verdana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4119" name="Rectangle 101"/>
          <p:cNvSpPr>
            <a:spLocks noChangeArrowheads="1"/>
          </p:cNvSpPr>
          <p:nvPr/>
        </p:nvSpPr>
        <p:spPr bwMode="auto">
          <a:xfrm>
            <a:off x="1006475" y="4437063"/>
            <a:ext cx="2089150" cy="1800225"/>
          </a:xfrm>
          <a:prstGeom prst="rect">
            <a:avLst/>
          </a:prstGeom>
          <a:solidFill>
            <a:schemeClr val="accent1">
              <a:alpha val="0"/>
            </a:schemeClr>
          </a:solidFill>
          <a:ln w="50800">
            <a:solidFill>
              <a:srgbClr val="FFFF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914400">
              <a:buClrTx/>
              <a:buSzTx/>
              <a:buFontTx/>
              <a:buNone/>
              <a:defRPr/>
            </a:pPr>
            <a:r>
              <a:rPr lang="en-GB" sz="3600">
                <a:solidFill>
                  <a:srgbClr val="0F5494"/>
                </a:solidFill>
                <a:latin typeface="Verdana" charset="0"/>
                <a:ea typeface="ＭＳ Ｐゴシック" charset="0"/>
                <a:cs typeface="ＭＳ Ｐゴシック" charset="0"/>
              </a:rPr>
              <a:t>I</a:t>
            </a:r>
          </a:p>
          <a:p>
            <a:pPr defTabSz="914400">
              <a:buClrTx/>
              <a:buSzTx/>
              <a:buFontTx/>
              <a:buNone/>
              <a:defRPr/>
            </a:pPr>
            <a:r>
              <a:rPr lang="en-GB" sz="3600">
                <a:solidFill>
                  <a:srgbClr val="0F5494"/>
                </a:solidFill>
                <a:latin typeface="Verdana" charset="0"/>
                <a:ea typeface="ＭＳ Ｐゴシック" charset="0"/>
                <a:cs typeface="ＭＳ Ｐゴシック" charset="0"/>
              </a:rPr>
              <a:t>T</a:t>
            </a:r>
          </a:p>
          <a:p>
            <a:pPr defTabSz="914400">
              <a:buClrTx/>
              <a:buSzTx/>
              <a:buFontTx/>
              <a:buNone/>
              <a:defRPr/>
            </a:pPr>
            <a:r>
              <a:rPr lang="en-GB" sz="3600">
                <a:solidFill>
                  <a:srgbClr val="0F5494"/>
                </a:solidFill>
                <a:latin typeface="Verdana" charset="0"/>
                <a:ea typeface="ＭＳ Ｐゴシック" charset="0"/>
                <a:cs typeface="ＭＳ Ｐゴシック" charset="0"/>
              </a:rPr>
              <a:t>I</a:t>
            </a:r>
          </a:p>
        </p:txBody>
      </p:sp>
      <p:sp>
        <p:nvSpPr>
          <p:cNvPr id="3176" name="Line 104"/>
          <p:cNvSpPr>
            <a:spLocks noChangeShapeType="1"/>
          </p:cNvSpPr>
          <p:nvPr/>
        </p:nvSpPr>
        <p:spPr bwMode="auto">
          <a:xfrm>
            <a:off x="1835150" y="2852738"/>
            <a:ext cx="179388" cy="576262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buFont typeface="Times New Roman" charset="0"/>
              <a:buNone/>
              <a:defRPr/>
            </a:pPr>
            <a:endParaRPr lang="en-US">
              <a:latin typeface="Verdana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3178" name="Line 106"/>
          <p:cNvSpPr>
            <a:spLocks noChangeShapeType="1"/>
          </p:cNvSpPr>
          <p:nvPr/>
        </p:nvSpPr>
        <p:spPr bwMode="auto">
          <a:xfrm flipH="1">
            <a:off x="2411413" y="2205038"/>
            <a:ext cx="504825" cy="1223962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buFont typeface="Times New Roman" charset="0"/>
              <a:buNone/>
              <a:defRPr/>
            </a:pPr>
            <a:endParaRPr lang="en-US">
              <a:latin typeface="Verdana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3179" name="Line 107"/>
          <p:cNvSpPr>
            <a:spLocks noChangeShapeType="1"/>
          </p:cNvSpPr>
          <p:nvPr/>
        </p:nvSpPr>
        <p:spPr bwMode="auto">
          <a:xfrm flipH="1">
            <a:off x="3059113" y="2708275"/>
            <a:ext cx="1081087" cy="750888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buFont typeface="Times New Roman" charset="0"/>
              <a:buNone/>
              <a:defRPr/>
            </a:pPr>
            <a:endParaRPr lang="en-US">
              <a:latin typeface="Verdana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4123" name="Line 108"/>
          <p:cNvSpPr>
            <a:spLocks noChangeShapeType="1"/>
          </p:cNvSpPr>
          <p:nvPr/>
        </p:nvSpPr>
        <p:spPr bwMode="auto">
          <a:xfrm flipH="1" flipV="1">
            <a:off x="3203575" y="3878263"/>
            <a:ext cx="2160588" cy="703262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buFont typeface="Times New Roman" charset="0"/>
              <a:buNone/>
              <a:defRPr/>
            </a:pPr>
            <a:endParaRPr lang="en-US">
              <a:latin typeface="Verdana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3182" name="Line 110"/>
          <p:cNvSpPr>
            <a:spLocks noChangeShapeType="1"/>
          </p:cNvSpPr>
          <p:nvPr/>
        </p:nvSpPr>
        <p:spPr bwMode="auto">
          <a:xfrm flipH="1" flipV="1">
            <a:off x="3189288" y="4149725"/>
            <a:ext cx="2390775" cy="19431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buFont typeface="Times New Roman" charset="0"/>
              <a:buNone/>
              <a:defRPr/>
            </a:pPr>
            <a:endParaRPr lang="en-US">
              <a:latin typeface="Verdana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36" name="Rectangle 75"/>
          <p:cNvSpPr>
            <a:spLocks noChangeArrowheads="1"/>
          </p:cNvSpPr>
          <p:nvPr/>
        </p:nvSpPr>
        <p:spPr bwMode="auto">
          <a:xfrm>
            <a:off x="4643438" y="1989138"/>
            <a:ext cx="360362" cy="8636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defTabSz="914400">
              <a:buClrTx/>
              <a:buSzTx/>
              <a:buFontTx/>
              <a:buNone/>
              <a:defRPr/>
            </a:pPr>
            <a:endParaRPr lang="en-GB">
              <a:solidFill>
                <a:srgbClr val="0F5494"/>
              </a:solidFill>
              <a:latin typeface="Verdana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37" name="Rectangle 79"/>
          <p:cNvSpPr>
            <a:spLocks noChangeArrowheads="1"/>
          </p:cNvSpPr>
          <p:nvPr/>
        </p:nvSpPr>
        <p:spPr bwMode="auto">
          <a:xfrm>
            <a:off x="4140200" y="2636838"/>
            <a:ext cx="360363" cy="215900"/>
          </a:xfrm>
          <a:prstGeom prst="rect">
            <a:avLst/>
          </a:prstGeom>
          <a:solidFill>
            <a:srgbClr val="0000FF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defTabSz="914400">
              <a:buClrTx/>
              <a:buSzTx/>
              <a:buFontTx/>
              <a:buNone/>
              <a:defRPr/>
            </a:pPr>
            <a:endParaRPr lang="en-GB">
              <a:solidFill>
                <a:srgbClr val="0F5494"/>
              </a:solidFill>
              <a:latin typeface="Verdana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35871" name="Rectangle 79"/>
          <p:cNvSpPr>
            <a:spLocks noChangeArrowheads="1"/>
          </p:cNvSpPr>
          <p:nvPr/>
        </p:nvSpPr>
        <p:spPr bwMode="auto">
          <a:xfrm>
            <a:off x="5364163" y="4437063"/>
            <a:ext cx="361950" cy="215900"/>
          </a:xfrm>
          <a:prstGeom prst="rect">
            <a:avLst/>
          </a:prstGeom>
          <a:solidFill>
            <a:srgbClr val="DD4CFF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defTabSz="914400">
              <a:buClrTx/>
              <a:buSzTx/>
              <a:buFontTx/>
              <a:buNone/>
            </a:pPr>
            <a:endParaRPr lang="en-US">
              <a:solidFill>
                <a:srgbClr val="0F5494"/>
              </a:solidFill>
            </a:endParaRPr>
          </a:p>
        </p:txBody>
      </p:sp>
      <p:sp>
        <p:nvSpPr>
          <p:cNvPr id="35872" name="Rectangle 79"/>
          <p:cNvSpPr>
            <a:spLocks noChangeArrowheads="1"/>
          </p:cNvSpPr>
          <p:nvPr/>
        </p:nvSpPr>
        <p:spPr bwMode="auto">
          <a:xfrm>
            <a:off x="2447925" y="5229225"/>
            <a:ext cx="360363" cy="215900"/>
          </a:xfrm>
          <a:prstGeom prst="rect">
            <a:avLst/>
          </a:prstGeom>
          <a:solidFill>
            <a:srgbClr val="DD4CFF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defTabSz="914400">
              <a:buClrTx/>
              <a:buSzTx/>
              <a:buFontTx/>
              <a:buNone/>
            </a:pPr>
            <a:endParaRPr lang="en-US">
              <a:solidFill>
                <a:srgbClr val="0F5494"/>
              </a:solidFill>
            </a:endParaRPr>
          </a:p>
        </p:txBody>
      </p:sp>
      <p:sp>
        <p:nvSpPr>
          <p:cNvPr id="35874" name="Left Brace 11"/>
          <p:cNvSpPr>
            <a:spLocks/>
          </p:cNvSpPr>
          <p:nvPr/>
        </p:nvSpPr>
        <p:spPr bwMode="auto">
          <a:xfrm>
            <a:off x="9169400" y="3573463"/>
            <a:ext cx="155575" cy="914400"/>
          </a:xfrm>
          <a:prstGeom prst="leftBrace">
            <a:avLst>
              <a:gd name="adj1" fmla="val 8327"/>
              <a:gd name="adj2" fmla="val 50000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marL="3175" defTabSz="914400">
              <a:buClrTx/>
              <a:buSzTx/>
              <a:buFontTx/>
              <a:buNone/>
            </a:pPr>
            <a:endParaRPr lang="en-US">
              <a:solidFill>
                <a:srgbClr val="0F5494"/>
              </a:solidFill>
            </a:endParaRPr>
          </a:p>
        </p:txBody>
      </p:sp>
      <p:sp>
        <p:nvSpPr>
          <p:cNvPr id="35875" name="Left Brace 12"/>
          <p:cNvSpPr>
            <a:spLocks/>
          </p:cNvSpPr>
          <p:nvPr/>
        </p:nvSpPr>
        <p:spPr bwMode="auto">
          <a:xfrm>
            <a:off x="8666163" y="3357563"/>
            <a:ext cx="503237" cy="215900"/>
          </a:xfrm>
          <a:prstGeom prst="leftBrace">
            <a:avLst>
              <a:gd name="adj1" fmla="val 8333"/>
              <a:gd name="adj2" fmla="val 50000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marL="3175" defTabSz="914400">
              <a:buClrTx/>
              <a:buSzTx/>
              <a:buFontTx/>
              <a:buNone/>
            </a:pPr>
            <a:endParaRPr lang="en-US">
              <a:solidFill>
                <a:srgbClr val="0F5494"/>
              </a:solidFill>
            </a:endParaRPr>
          </a:p>
        </p:txBody>
      </p:sp>
      <p:sp>
        <p:nvSpPr>
          <p:cNvPr id="35876" name="Left Brace 59"/>
          <p:cNvSpPr>
            <a:spLocks/>
          </p:cNvSpPr>
          <p:nvPr/>
        </p:nvSpPr>
        <p:spPr bwMode="auto">
          <a:xfrm>
            <a:off x="8739188" y="2055813"/>
            <a:ext cx="304800" cy="822325"/>
          </a:xfrm>
          <a:prstGeom prst="leftBrace">
            <a:avLst>
              <a:gd name="adj1" fmla="val 8331"/>
              <a:gd name="adj2" fmla="val 50000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>
              <a:buClrTx/>
              <a:buSzTx/>
              <a:buFontTx/>
              <a:buNone/>
            </a:pPr>
            <a:endParaRPr lang="en-US">
              <a:solidFill>
                <a:srgbClr val="0F5494"/>
              </a:solidFill>
            </a:endParaRPr>
          </a:p>
        </p:txBody>
      </p:sp>
      <p:sp>
        <p:nvSpPr>
          <p:cNvPr id="35877" name="Left Brace 62"/>
          <p:cNvSpPr>
            <a:spLocks/>
          </p:cNvSpPr>
          <p:nvPr/>
        </p:nvSpPr>
        <p:spPr bwMode="auto">
          <a:xfrm>
            <a:off x="8828088" y="3186113"/>
            <a:ext cx="304800" cy="822325"/>
          </a:xfrm>
          <a:prstGeom prst="leftBrace">
            <a:avLst>
              <a:gd name="adj1" fmla="val 8331"/>
              <a:gd name="adj2" fmla="val 50000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>
              <a:buClrTx/>
              <a:buSzTx/>
              <a:buFontTx/>
              <a:buNone/>
            </a:pPr>
            <a:endParaRPr lang="en-US">
              <a:solidFill>
                <a:srgbClr val="0F5494"/>
              </a:solidFill>
            </a:endParaRPr>
          </a:p>
        </p:txBody>
      </p:sp>
      <p:sp>
        <p:nvSpPr>
          <p:cNvPr id="15" name="Left Brace 14"/>
          <p:cNvSpPr/>
          <p:nvPr/>
        </p:nvSpPr>
        <p:spPr bwMode="auto">
          <a:xfrm>
            <a:off x="9458325" y="1196975"/>
            <a:ext cx="431800" cy="2952750"/>
          </a:xfrm>
          <a:prstGeom prst="leftBrace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 marL="3175" defTabSz="914400">
              <a:buClrTx/>
              <a:buSzTx/>
              <a:buFontTx/>
              <a:buNone/>
              <a:defRPr/>
            </a:pPr>
            <a:endParaRPr lang="en-GB">
              <a:ln>
                <a:solidFill>
                  <a:srgbClr val="000000"/>
                </a:solidFill>
              </a:ln>
              <a:solidFill>
                <a:srgbClr val="0F5494"/>
              </a:solidFill>
              <a:ea typeface="ＭＳ Ｐゴシック" charset="0"/>
              <a:cs typeface="ＭＳ Ｐゴシック" charset="0"/>
            </a:endParaRPr>
          </a:p>
        </p:txBody>
      </p:sp>
      <p:sp>
        <p:nvSpPr>
          <p:cNvPr id="35879" name="Left Brace 67"/>
          <p:cNvSpPr>
            <a:spLocks/>
          </p:cNvSpPr>
          <p:nvPr/>
        </p:nvSpPr>
        <p:spPr bwMode="auto">
          <a:xfrm>
            <a:off x="9378950" y="1052513"/>
            <a:ext cx="304800" cy="822325"/>
          </a:xfrm>
          <a:prstGeom prst="leftBrace">
            <a:avLst>
              <a:gd name="adj1" fmla="val 8331"/>
              <a:gd name="adj2" fmla="val 50000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>
              <a:buClrTx/>
              <a:buSzTx/>
              <a:buFontTx/>
              <a:buNone/>
            </a:pPr>
            <a:endParaRPr lang="en-US">
              <a:solidFill>
                <a:srgbClr val="0F5494"/>
              </a:solidFill>
            </a:endParaRPr>
          </a:p>
        </p:txBody>
      </p:sp>
      <p:sp>
        <p:nvSpPr>
          <p:cNvPr id="4137" name="Line 46"/>
          <p:cNvSpPr>
            <a:spLocks noChangeShapeType="1"/>
          </p:cNvSpPr>
          <p:nvPr/>
        </p:nvSpPr>
        <p:spPr bwMode="auto">
          <a:xfrm flipH="1">
            <a:off x="144463" y="3141663"/>
            <a:ext cx="8820150" cy="0"/>
          </a:xfrm>
          <a:prstGeom prst="line">
            <a:avLst/>
          </a:prstGeom>
          <a:noFill/>
          <a:ln w="25400">
            <a:solidFill>
              <a:schemeClr val="accent2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buFont typeface="Times New Roman" charset="0"/>
              <a:buNone/>
              <a:defRPr/>
            </a:pPr>
            <a:endParaRPr lang="en-US">
              <a:latin typeface="Verdana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2" name="Rectangle 75"/>
          <p:cNvSpPr>
            <a:spLocks noChangeArrowheads="1"/>
          </p:cNvSpPr>
          <p:nvPr/>
        </p:nvSpPr>
        <p:spPr bwMode="auto">
          <a:xfrm>
            <a:off x="5148263" y="1989138"/>
            <a:ext cx="360362" cy="8636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defTabSz="914400">
              <a:buClrTx/>
              <a:buSzTx/>
              <a:buFontTx/>
              <a:buNone/>
              <a:defRPr/>
            </a:pPr>
            <a:endParaRPr lang="en-GB">
              <a:solidFill>
                <a:srgbClr val="0F5494"/>
              </a:solidFill>
              <a:latin typeface="Verdana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3" name="Rectangle 10"/>
          <p:cNvSpPr>
            <a:spLocks noChangeArrowheads="1"/>
          </p:cNvSpPr>
          <p:nvPr/>
        </p:nvSpPr>
        <p:spPr bwMode="auto">
          <a:xfrm>
            <a:off x="1187450" y="1989138"/>
            <a:ext cx="360363" cy="50323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defTabSz="914400">
              <a:buClrTx/>
              <a:buSzTx/>
              <a:buFontTx/>
              <a:buNone/>
              <a:defRPr/>
            </a:pPr>
            <a:endParaRPr lang="en-GB">
              <a:solidFill>
                <a:srgbClr val="0F5494"/>
              </a:solidFill>
              <a:latin typeface="Verdana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4" name="Rectangle 10"/>
          <p:cNvSpPr>
            <a:spLocks noChangeArrowheads="1"/>
          </p:cNvSpPr>
          <p:nvPr/>
        </p:nvSpPr>
        <p:spPr bwMode="auto">
          <a:xfrm>
            <a:off x="684213" y="1989138"/>
            <a:ext cx="360362" cy="8636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defTabSz="914400">
              <a:buClrTx/>
              <a:buSzTx/>
              <a:buFontTx/>
              <a:buNone/>
              <a:defRPr/>
            </a:pPr>
            <a:endParaRPr lang="en-GB">
              <a:solidFill>
                <a:srgbClr val="0F5494"/>
              </a:solidFill>
              <a:latin typeface="Verdana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4141" name="Rectangle 10"/>
          <p:cNvSpPr>
            <a:spLocks noChangeArrowheads="1"/>
          </p:cNvSpPr>
          <p:nvPr/>
        </p:nvSpPr>
        <p:spPr bwMode="auto">
          <a:xfrm>
            <a:off x="1187450" y="2492375"/>
            <a:ext cx="360363" cy="360363"/>
          </a:xfrm>
          <a:prstGeom prst="rect">
            <a:avLst/>
          </a:prstGeom>
          <a:solidFill>
            <a:srgbClr val="99330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defTabSz="914400">
              <a:buClrTx/>
              <a:buSzTx/>
              <a:buFontTx/>
              <a:buNone/>
              <a:defRPr/>
            </a:pPr>
            <a:endParaRPr lang="en-US">
              <a:solidFill>
                <a:srgbClr val="0F5494"/>
              </a:solidFill>
              <a:latin typeface="Verdana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4142" name="Rectangle 10"/>
          <p:cNvSpPr>
            <a:spLocks noChangeArrowheads="1"/>
          </p:cNvSpPr>
          <p:nvPr/>
        </p:nvSpPr>
        <p:spPr bwMode="auto">
          <a:xfrm>
            <a:off x="1654175" y="4725988"/>
            <a:ext cx="360363" cy="360362"/>
          </a:xfrm>
          <a:prstGeom prst="rect">
            <a:avLst/>
          </a:prstGeom>
          <a:solidFill>
            <a:srgbClr val="99330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defTabSz="914400">
              <a:buClrTx/>
              <a:buSzTx/>
              <a:buFontTx/>
              <a:buNone/>
              <a:defRPr/>
            </a:pPr>
            <a:endParaRPr lang="en-US">
              <a:solidFill>
                <a:srgbClr val="0F5494"/>
              </a:solidFill>
              <a:latin typeface="Verdana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7" name="Line 104"/>
          <p:cNvSpPr>
            <a:spLocks noChangeShapeType="1"/>
          </p:cNvSpPr>
          <p:nvPr/>
        </p:nvSpPr>
        <p:spPr bwMode="auto">
          <a:xfrm>
            <a:off x="1476375" y="2852738"/>
            <a:ext cx="214313" cy="576262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buFont typeface="Times New Roman" charset="0"/>
              <a:buNone/>
              <a:defRPr/>
            </a:pPr>
            <a:endParaRPr lang="en-US">
              <a:latin typeface="Verdana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4144" name="Rectangle 101"/>
          <p:cNvSpPr>
            <a:spLocks noChangeArrowheads="1"/>
          </p:cNvSpPr>
          <p:nvPr/>
        </p:nvSpPr>
        <p:spPr bwMode="auto">
          <a:xfrm>
            <a:off x="957263" y="3459163"/>
            <a:ext cx="2232025" cy="838200"/>
          </a:xfrm>
          <a:prstGeom prst="rect">
            <a:avLst/>
          </a:prstGeom>
          <a:solidFill>
            <a:schemeClr val="accent1">
              <a:alpha val="0"/>
            </a:schemeClr>
          </a:solidFill>
          <a:ln w="50800">
            <a:solidFill>
              <a:srgbClr val="FFFF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defTabSz="914400">
              <a:buClrTx/>
              <a:buSzTx/>
              <a:buFontTx/>
              <a:buNone/>
              <a:defRPr/>
            </a:pPr>
            <a:r>
              <a:rPr lang="hu-HU" sz="2400">
                <a:solidFill>
                  <a:srgbClr val="0F5494"/>
                </a:solidFill>
                <a:latin typeface="Verdana" charset="0"/>
                <a:ea typeface="ＭＳ Ｐゴシック" charset="0"/>
                <a:cs typeface="ＭＳ Ｐゴシック" charset="0"/>
              </a:rPr>
              <a:t>Intermediary</a:t>
            </a:r>
          </a:p>
          <a:p>
            <a:pPr algn="ctr" defTabSz="914400">
              <a:buClrTx/>
              <a:buSzTx/>
              <a:buFontTx/>
              <a:buNone/>
              <a:defRPr/>
            </a:pPr>
            <a:r>
              <a:rPr lang="hu-HU" sz="2400">
                <a:solidFill>
                  <a:srgbClr val="0F5494"/>
                </a:solidFill>
                <a:latin typeface="Verdana" charset="0"/>
                <a:ea typeface="ＭＳ Ｐゴシック" charset="0"/>
                <a:cs typeface="ＭＳ Ｐゴシック" charset="0"/>
              </a:rPr>
              <a:t>body</a:t>
            </a:r>
            <a:endParaRPr lang="en-GB" sz="2400">
              <a:solidFill>
                <a:srgbClr val="0F5494"/>
              </a:solidFill>
              <a:latin typeface="Verdana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85763" y="908720"/>
            <a:ext cx="8229600" cy="612105"/>
          </a:xfrm>
        </p:spPr>
        <p:txBody>
          <a:bodyPr/>
          <a:lstStyle/>
          <a:p>
            <a:r>
              <a:rPr lang="fr-BE" sz="2400" dirty="0" err="1" smtClean="0"/>
              <a:t>Example</a:t>
            </a:r>
            <a:r>
              <a:rPr lang="fr-BE" sz="2400" dirty="0" smtClean="0"/>
              <a:t> of ITI</a:t>
            </a:r>
            <a:endParaRPr lang="en-GB" sz="2400" dirty="0"/>
          </a:p>
        </p:txBody>
      </p:sp>
    </p:spTree>
    <p:extLst>
      <p:ext uri="{BB962C8B-B14F-4D97-AF65-F5344CB8AC3E}">
        <p14:creationId xmlns:p14="http://schemas.microsoft.com/office/powerpoint/2010/main" val="11606366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400800"/>
            <a:ext cx="2133600" cy="3206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200">
                <a:solidFill>
                  <a:srgbClr val="0F5494"/>
                </a:solidFill>
                <a:latin typeface="Verdana" panose="020B0604030504040204" pitchFamily="34" charset="0"/>
              </a:defRPr>
            </a:lvl1pPr>
            <a:lvl2pPr marL="742950" indent="-285750" eaLnBrk="0" hangingPunct="0">
              <a:defRPr sz="1200">
                <a:solidFill>
                  <a:srgbClr val="0F5494"/>
                </a:solidFill>
                <a:latin typeface="Verdana" panose="020B0604030504040204" pitchFamily="34" charset="0"/>
              </a:defRPr>
            </a:lvl2pPr>
            <a:lvl3pPr marL="1143000" indent="-228600" eaLnBrk="0" hangingPunct="0">
              <a:defRPr sz="1200">
                <a:solidFill>
                  <a:srgbClr val="0F5494"/>
                </a:solidFill>
                <a:latin typeface="Verdana" panose="020B0604030504040204" pitchFamily="34" charset="0"/>
              </a:defRPr>
            </a:lvl3pPr>
            <a:lvl4pPr marL="1600200" indent="-228600" eaLnBrk="0" hangingPunct="0">
              <a:defRPr sz="1200">
                <a:solidFill>
                  <a:srgbClr val="0F5494"/>
                </a:solidFill>
                <a:latin typeface="Verdana" panose="020B0604030504040204" pitchFamily="34" charset="0"/>
              </a:defRPr>
            </a:lvl4pPr>
            <a:lvl5pPr marL="2057400" indent="-228600" eaLnBrk="0" hangingPunct="0">
              <a:defRPr sz="1200">
                <a:solidFill>
                  <a:srgbClr val="0F5494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fld id="{610287C9-8741-4156-B814-340E6BAE460C}" type="slidenum">
              <a:rPr lang="en-GB" sz="1400">
                <a:solidFill>
                  <a:schemeClr val="tx1"/>
                </a:solidFill>
                <a:latin typeface="Arial" panose="020B0604020202020204" pitchFamily="34" charset="0"/>
              </a:rPr>
              <a:pPr eaLnBrk="1" hangingPunct="1"/>
              <a:t>18</a:t>
            </a:fld>
            <a:endParaRPr lang="en-GB" sz="140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pic>
        <p:nvPicPr>
          <p:cNvPr id="20483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35375" y="981075"/>
            <a:ext cx="5508625" cy="5876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484" name="Picture 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388" y="4178300"/>
            <a:ext cx="3646487" cy="1439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485" name="Title 1"/>
          <p:cNvSpPr>
            <a:spLocks noGrp="1"/>
          </p:cNvSpPr>
          <p:nvPr>
            <p:ph type="title" idx="4294967295"/>
          </p:nvPr>
        </p:nvSpPr>
        <p:spPr>
          <a:xfrm>
            <a:off x="251521" y="1412776"/>
            <a:ext cx="5184576" cy="1635224"/>
          </a:xfrm>
        </p:spPr>
        <p:txBody>
          <a:bodyPr/>
          <a:lstStyle/>
          <a:p>
            <a:pPr marL="0" indent="0"/>
            <a:r>
              <a:rPr lang="de-DE" dirty="0" err="1" smtClean="0">
                <a:solidFill>
                  <a:srgbClr val="0F5799"/>
                </a:solidFill>
              </a:rPr>
              <a:t>Geographical</a:t>
            </a:r>
            <a:r>
              <a:rPr lang="de-DE" dirty="0" smtClean="0">
                <a:solidFill>
                  <a:srgbClr val="0F5799"/>
                </a:solidFill>
              </a:rPr>
              <a:t>  </a:t>
            </a:r>
            <a:r>
              <a:rPr lang="de-DE" dirty="0" err="1" smtClean="0">
                <a:solidFill>
                  <a:srgbClr val="0F5799"/>
                </a:solidFill>
              </a:rPr>
              <a:t>eligibility</a:t>
            </a:r>
            <a:r>
              <a:rPr lang="de-DE" dirty="0" smtClean="0">
                <a:solidFill>
                  <a:srgbClr val="0F5799"/>
                </a:solidFill>
              </a:rPr>
              <a:t> </a:t>
            </a:r>
            <a:br>
              <a:rPr lang="de-DE" dirty="0" smtClean="0">
                <a:solidFill>
                  <a:srgbClr val="0F5799"/>
                </a:solidFill>
              </a:rPr>
            </a:br>
            <a:r>
              <a:rPr lang="de-DE" dirty="0" err="1" smtClean="0">
                <a:solidFill>
                  <a:srgbClr val="0F5799"/>
                </a:solidFill>
              </a:rPr>
              <a:t>for</a:t>
            </a:r>
            <a:r>
              <a:rPr lang="de-DE" dirty="0" smtClean="0">
                <a:solidFill>
                  <a:srgbClr val="0F5799"/>
                </a:solidFill>
              </a:rPr>
              <a:t> </a:t>
            </a:r>
            <a:r>
              <a:rPr lang="de-DE" dirty="0" err="1" smtClean="0">
                <a:solidFill>
                  <a:srgbClr val="0F5799"/>
                </a:solidFill>
              </a:rPr>
              <a:t>Structural</a:t>
            </a:r>
            <a:r>
              <a:rPr lang="de-DE" dirty="0" smtClean="0">
                <a:solidFill>
                  <a:srgbClr val="0F5799"/>
                </a:solidFill>
              </a:rPr>
              <a:t> Funds </a:t>
            </a:r>
            <a:r>
              <a:rPr lang="de-DE" dirty="0" err="1" smtClean="0">
                <a:solidFill>
                  <a:srgbClr val="0F5799"/>
                </a:solidFill>
              </a:rPr>
              <a:t>support</a:t>
            </a:r>
            <a:r>
              <a:rPr lang="de-DE" dirty="0" smtClean="0">
                <a:solidFill>
                  <a:srgbClr val="0F5799"/>
                </a:solidFill>
              </a:rPr>
              <a:t> 2014-2020</a:t>
            </a:r>
          </a:p>
        </p:txBody>
      </p:sp>
    </p:spTree>
    <p:extLst>
      <p:ext uri="{BB962C8B-B14F-4D97-AF65-F5344CB8AC3E}">
        <p14:creationId xmlns:p14="http://schemas.microsoft.com/office/powerpoint/2010/main" val="28937171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6"/>
          <p:cNvSpPr>
            <a:spLocks noGrp="1" noChangeArrowheads="1"/>
          </p:cNvSpPr>
          <p:nvPr>
            <p:ph type="subTitle" idx="1"/>
          </p:nvPr>
        </p:nvSpPr>
        <p:spPr>
          <a:xfrm>
            <a:off x="251520" y="1412776"/>
            <a:ext cx="8892480" cy="4032349"/>
          </a:xfrm>
        </p:spPr>
        <p:txBody>
          <a:bodyPr/>
          <a:lstStyle/>
          <a:p>
            <a:pPr algn="ctr" eaLnBrk="1" hangingPunct="1"/>
            <a:r>
              <a:rPr lang="fr-BE" sz="2800" dirty="0" smtClean="0"/>
              <a:t>For more information</a:t>
            </a:r>
          </a:p>
          <a:p>
            <a:pPr algn="ctr" eaLnBrk="1" hangingPunct="1"/>
            <a:endParaRPr lang="fr-BE" sz="2800" dirty="0" smtClean="0"/>
          </a:p>
          <a:p>
            <a:pPr eaLnBrk="1" hangingPunct="1">
              <a:spcBef>
                <a:spcPts val="0"/>
              </a:spcBef>
            </a:pPr>
            <a:r>
              <a:rPr lang="fr-BE" sz="2000" dirty="0" err="1" smtClean="0"/>
              <a:t>InfoRegio</a:t>
            </a:r>
            <a:r>
              <a:rPr lang="fr-BE" sz="2000" dirty="0" smtClean="0"/>
              <a:t>: 	ec.europa.eu/</a:t>
            </a:r>
            <a:r>
              <a:rPr lang="fr-BE" sz="2000" dirty="0" err="1" smtClean="0"/>
              <a:t>inforegio</a:t>
            </a:r>
            <a:endParaRPr lang="fr-BE" sz="2000" dirty="0" smtClean="0"/>
          </a:p>
          <a:p>
            <a:pPr eaLnBrk="1" hangingPunct="1">
              <a:spcBef>
                <a:spcPts val="0"/>
              </a:spcBef>
            </a:pPr>
            <a:endParaRPr lang="fr-BE" sz="2000" dirty="0" smtClean="0"/>
          </a:p>
          <a:p>
            <a:pPr eaLnBrk="1" hangingPunct="1">
              <a:spcBef>
                <a:spcPts val="0"/>
              </a:spcBef>
            </a:pPr>
            <a:r>
              <a:rPr lang="fr-BE" sz="2000" dirty="0" err="1" smtClean="0"/>
              <a:t>RegioNetwork</a:t>
            </a:r>
            <a:r>
              <a:rPr lang="fr-BE" sz="2000" dirty="0" smtClean="0"/>
              <a:t>: </a:t>
            </a:r>
            <a:r>
              <a:rPr lang="en-GB" sz="2000" dirty="0" smtClean="0"/>
              <a:t>www.regionetwork2020.eu</a:t>
            </a:r>
          </a:p>
          <a:p>
            <a:pPr eaLnBrk="1" hangingPunct="1">
              <a:spcBef>
                <a:spcPts val="0"/>
              </a:spcBef>
            </a:pPr>
            <a:endParaRPr lang="en-GB" sz="2000" dirty="0" smtClean="0"/>
          </a:p>
          <a:p>
            <a:pPr>
              <a:spcBef>
                <a:spcPts val="0"/>
              </a:spcBef>
            </a:pPr>
            <a:r>
              <a:rPr lang="en-GB" sz="2000" dirty="0"/>
              <a:t>http://ec.europa.eu/regional_policy/index_en.cfm</a:t>
            </a:r>
          </a:p>
          <a:p>
            <a:pPr>
              <a:spcBef>
                <a:spcPts val="0"/>
              </a:spcBef>
            </a:pPr>
            <a:endParaRPr lang="fr-BE" sz="2000" dirty="0"/>
          </a:p>
          <a:p>
            <a:pPr>
              <a:spcBef>
                <a:spcPts val="0"/>
              </a:spcBef>
            </a:pPr>
            <a:r>
              <a:rPr lang="en-GB" sz="2000" dirty="0"/>
              <a:t>http://ec.europa.eu/regional_policy/what/future/index_en.cfm</a:t>
            </a:r>
          </a:p>
          <a:p>
            <a:pPr>
              <a:spcBef>
                <a:spcPts val="0"/>
              </a:spcBef>
            </a:pPr>
            <a:endParaRPr lang="fr-BE" sz="2000" dirty="0"/>
          </a:p>
          <a:p>
            <a:pPr>
              <a:spcBef>
                <a:spcPts val="0"/>
              </a:spcBef>
            </a:pPr>
            <a:r>
              <a:rPr lang="en-GB" sz="2000" dirty="0"/>
              <a:t>http://ec.europa.eu/regional_policy/impact/index_en.cfm</a:t>
            </a:r>
          </a:p>
          <a:p>
            <a:pPr>
              <a:spcBef>
                <a:spcPts val="0"/>
              </a:spcBef>
            </a:pPr>
            <a:endParaRPr lang="fr-BE" sz="2000" dirty="0"/>
          </a:p>
          <a:p>
            <a:pPr>
              <a:spcBef>
                <a:spcPts val="0"/>
              </a:spcBef>
            </a:pPr>
            <a:r>
              <a:rPr lang="en-GB" sz="2000" dirty="0"/>
              <a:t>http://ec.europa.eu/europe2020/index_en.htm</a:t>
            </a:r>
          </a:p>
          <a:p>
            <a:pPr eaLnBrk="1" hangingPunct="1"/>
            <a:endParaRPr lang="en-GB" sz="2000" dirty="0" smtClean="0"/>
          </a:p>
          <a:p>
            <a:pPr eaLnBrk="1" hangingPunct="1"/>
            <a:endParaRPr lang="en-GB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Text Box 1"/>
          <p:cNvSpPr txBox="1">
            <a:spLocks noChangeArrowheads="1"/>
          </p:cNvSpPr>
          <p:nvPr/>
        </p:nvSpPr>
        <p:spPr bwMode="auto">
          <a:xfrm>
            <a:off x="107505" y="6309321"/>
            <a:ext cx="4212082" cy="4320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0000" tIns="46800" rIns="90000" bIns="46800" anchor="ctr"/>
          <a:lstStyle>
            <a:lvl1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chemeClr val="bg1"/>
                </a:solidFill>
                <a:latin typeface="Verdana" pitchFamily="34" charset="0"/>
                <a:ea typeface="MS PGothic" pitchFamily="34" charset="-128"/>
              </a:defRPr>
            </a:lvl1pPr>
            <a:lvl2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chemeClr val="bg1"/>
                </a:solidFill>
                <a:latin typeface="Verdana" pitchFamily="34" charset="0"/>
                <a:ea typeface="MS PGothic" pitchFamily="34" charset="-128"/>
              </a:defRPr>
            </a:lvl2pPr>
            <a:lvl3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chemeClr val="bg1"/>
                </a:solidFill>
                <a:latin typeface="Verdana" pitchFamily="34" charset="0"/>
                <a:ea typeface="MS PGothic" pitchFamily="34" charset="-128"/>
              </a:defRPr>
            </a:lvl3pPr>
            <a:lvl4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chemeClr val="bg1"/>
                </a:solidFill>
                <a:latin typeface="Verdana" pitchFamily="34" charset="0"/>
                <a:ea typeface="MS PGothic" pitchFamily="34" charset="-128"/>
              </a:defRPr>
            </a:lvl4pPr>
            <a:lvl5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chemeClr val="bg1"/>
                </a:solidFill>
                <a:latin typeface="Verdana" pitchFamily="34" charset="0"/>
                <a:ea typeface="MS PGothic" pitchFamily="34" charset="-128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chemeClr val="bg1"/>
                </a:solidFill>
                <a:latin typeface="Verdana" pitchFamily="34" charset="0"/>
                <a:ea typeface="MS PGothic" pitchFamily="34" charset="-128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chemeClr val="bg1"/>
                </a:solidFill>
                <a:latin typeface="Verdana" pitchFamily="34" charset="0"/>
                <a:ea typeface="MS PGothic" pitchFamily="34" charset="-128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chemeClr val="bg1"/>
                </a:solidFill>
                <a:latin typeface="Verdana" pitchFamily="34" charset="0"/>
                <a:ea typeface="MS PGothic" pitchFamily="34" charset="-128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chemeClr val="bg1"/>
                </a:solidFill>
                <a:latin typeface="Verdana" pitchFamily="34" charset="0"/>
                <a:ea typeface="MS PGothic" pitchFamily="34" charset="-128"/>
              </a:defRPr>
            </a:lvl9pPr>
          </a:lstStyle>
          <a:p>
            <a:pPr defTabSz="449263" eaLnBrk="1" hangingPunct="1">
              <a:buSzPct val="100000"/>
            </a:pPr>
            <a:endParaRPr lang="en-GB" sz="1050" dirty="0" smtClean="0">
              <a:solidFill>
                <a:srgbClr val="000000"/>
              </a:solidFill>
              <a:cs typeface="Arial"/>
            </a:endParaRPr>
          </a:p>
        </p:txBody>
      </p:sp>
      <p:sp>
        <p:nvSpPr>
          <p:cNvPr id="43011" name="Text Box 2"/>
          <p:cNvSpPr txBox="1">
            <a:spLocks noChangeArrowheads="1"/>
          </p:cNvSpPr>
          <p:nvPr/>
        </p:nvSpPr>
        <p:spPr bwMode="auto">
          <a:xfrm>
            <a:off x="4860032" y="6309320"/>
            <a:ext cx="4283968" cy="5042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0000" tIns="46800" rIns="90000" bIns="46800" anchor="ctr"/>
          <a:lstStyle>
            <a:lvl1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chemeClr val="bg1"/>
                </a:solidFill>
                <a:latin typeface="Verdana" pitchFamily="34" charset="0"/>
                <a:ea typeface="MS PGothic" pitchFamily="34" charset="-128"/>
              </a:defRPr>
            </a:lvl1pPr>
            <a:lvl2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chemeClr val="bg1"/>
                </a:solidFill>
                <a:latin typeface="Verdana" pitchFamily="34" charset="0"/>
                <a:ea typeface="MS PGothic" pitchFamily="34" charset="-128"/>
              </a:defRPr>
            </a:lvl2pPr>
            <a:lvl3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chemeClr val="bg1"/>
                </a:solidFill>
                <a:latin typeface="Verdana" pitchFamily="34" charset="0"/>
                <a:ea typeface="MS PGothic" pitchFamily="34" charset="-128"/>
              </a:defRPr>
            </a:lvl3pPr>
            <a:lvl4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chemeClr val="bg1"/>
                </a:solidFill>
                <a:latin typeface="Verdana" pitchFamily="34" charset="0"/>
                <a:ea typeface="MS PGothic" pitchFamily="34" charset="-128"/>
              </a:defRPr>
            </a:lvl4pPr>
            <a:lvl5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chemeClr val="bg1"/>
                </a:solidFill>
                <a:latin typeface="Verdana" pitchFamily="34" charset="0"/>
                <a:ea typeface="MS PGothic" pitchFamily="34" charset="-128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chemeClr val="bg1"/>
                </a:solidFill>
                <a:latin typeface="Verdana" pitchFamily="34" charset="0"/>
                <a:ea typeface="MS PGothic" pitchFamily="34" charset="-128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chemeClr val="bg1"/>
                </a:solidFill>
                <a:latin typeface="Verdana" pitchFamily="34" charset="0"/>
                <a:ea typeface="MS PGothic" pitchFamily="34" charset="-128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chemeClr val="bg1"/>
                </a:solidFill>
                <a:latin typeface="Verdana" pitchFamily="34" charset="0"/>
                <a:ea typeface="MS PGothic" pitchFamily="34" charset="-128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chemeClr val="bg1"/>
                </a:solidFill>
                <a:latin typeface="Verdana" pitchFamily="34" charset="0"/>
                <a:ea typeface="MS PGothic" pitchFamily="34" charset="-128"/>
              </a:defRPr>
            </a:lvl9pPr>
          </a:lstStyle>
          <a:p>
            <a:pPr algn="just" defTabSz="449263" eaLnBrk="1" hangingPunct="1">
              <a:buSzPct val="100000"/>
            </a:pPr>
            <a:endParaRPr lang="fr-FR" sz="1050" b="1" baseline="30000" dirty="0" smtClean="0">
              <a:solidFill>
                <a:srgbClr val="3E6FD2"/>
              </a:solidFill>
              <a:cs typeface="Arial"/>
            </a:endParaRPr>
          </a:p>
        </p:txBody>
      </p:sp>
      <p:grpSp>
        <p:nvGrpSpPr>
          <p:cNvPr id="30723" name="Group 3"/>
          <p:cNvGrpSpPr>
            <a:grpSpLocks/>
          </p:cNvGrpSpPr>
          <p:nvPr/>
        </p:nvGrpSpPr>
        <p:grpSpPr bwMode="auto">
          <a:xfrm>
            <a:off x="285750" y="3754438"/>
            <a:ext cx="1978025" cy="1992312"/>
            <a:chOff x="180" y="2365"/>
            <a:chExt cx="1246" cy="1255"/>
          </a:xfrm>
        </p:grpSpPr>
        <p:pic>
          <p:nvPicPr>
            <p:cNvPr id="43915" name="Picture 4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0" y="2365"/>
              <a:ext cx="1246" cy="12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blipFill dpi="0" rotWithShape="0">
                    <a:blip/>
                    <a:srcRect/>
                    <a:stretch>
                      <a:fillRect/>
                    </a:stretch>
                  </a:blip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pic>
        <p:sp>
          <p:nvSpPr>
            <p:cNvPr id="43916" name="Oval 5"/>
            <p:cNvSpPr>
              <a:spLocks noChangeArrowheads="1"/>
            </p:cNvSpPr>
            <p:nvPr/>
          </p:nvSpPr>
          <p:spPr bwMode="auto">
            <a:xfrm>
              <a:off x="180" y="2365"/>
              <a:ext cx="1237" cy="1237"/>
            </a:xfrm>
            <a:prstGeom prst="ellipse">
              <a:avLst/>
            </a:prstGeom>
            <a:noFill/>
            <a:ln w="25560">
              <a:solidFill>
                <a:srgbClr val="FFFFFF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US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</p:grpSp>
      <p:grpSp>
        <p:nvGrpSpPr>
          <p:cNvPr id="30726" name="Group 6"/>
          <p:cNvGrpSpPr>
            <a:grpSpLocks/>
          </p:cNvGrpSpPr>
          <p:nvPr/>
        </p:nvGrpSpPr>
        <p:grpSpPr bwMode="auto">
          <a:xfrm>
            <a:off x="6875463" y="2095500"/>
            <a:ext cx="1978025" cy="1992313"/>
            <a:chOff x="4331" y="1320"/>
            <a:chExt cx="1246" cy="1255"/>
          </a:xfrm>
        </p:grpSpPr>
        <p:pic>
          <p:nvPicPr>
            <p:cNvPr id="43913" name="Picture 7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31" y="1320"/>
              <a:ext cx="1246" cy="12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blipFill dpi="0" rotWithShape="0">
                    <a:blip/>
                    <a:srcRect/>
                    <a:stretch>
                      <a:fillRect/>
                    </a:stretch>
                  </a:blip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pic>
        <p:sp>
          <p:nvSpPr>
            <p:cNvPr id="43914" name="Oval 8"/>
            <p:cNvSpPr>
              <a:spLocks noChangeArrowheads="1"/>
            </p:cNvSpPr>
            <p:nvPr/>
          </p:nvSpPr>
          <p:spPr bwMode="auto">
            <a:xfrm>
              <a:off x="4336" y="1329"/>
              <a:ext cx="1237" cy="1237"/>
            </a:xfrm>
            <a:prstGeom prst="ellipse">
              <a:avLst/>
            </a:prstGeom>
            <a:noFill/>
            <a:ln w="25560">
              <a:solidFill>
                <a:srgbClr val="FFFFFF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US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</p:grpSp>
      <p:grpSp>
        <p:nvGrpSpPr>
          <p:cNvPr id="30729" name="Group 9"/>
          <p:cNvGrpSpPr>
            <a:grpSpLocks/>
          </p:cNvGrpSpPr>
          <p:nvPr/>
        </p:nvGrpSpPr>
        <p:grpSpPr bwMode="auto">
          <a:xfrm>
            <a:off x="1476375" y="2420938"/>
            <a:ext cx="2457450" cy="2457450"/>
            <a:chOff x="930" y="1525"/>
            <a:chExt cx="1548" cy="1548"/>
          </a:xfrm>
        </p:grpSpPr>
        <p:pic>
          <p:nvPicPr>
            <p:cNvPr id="43911" name="Picture 10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30" y="1525"/>
              <a:ext cx="1548" cy="154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blipFill dpi="0" rotWithShape="0">
                    <a:blip/>
                    <a:srcRect/>
                    <a:stretch>
                      <a:fillRect/>
                    </a:stretch>
                  </a:blip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pic>
        <p:sp>
          <p:nvSpPr>
            <p:cNvPr id="43912" name="Oval 11"/>
            <p:cNvSpPr>
              <a:spLocks noChangeArrowheads="1"/>
            </p:cNvSpPr>
            <p:nvPr/>
          </p:nvSpPr>
          <p:spPr bwMode="auto">
            <a:xfrm>
              <a:off x="935" y="1530"/>
              <a:ext cx="1538" cy="1538"/>
            </a:xfrm>
            <a:prstGeom prst="ellipse">
              <a:avLst/>
            </a:prstGeom>
            <a:noFill/>
            <a:ln w="25560">
              <a:solidFill>
                <a:srgbClr val="FFFFFF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US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</p:grpSp>
      <p:grpSp>
        <p:nvGrpSpPr>
          <p:cNvPr id="43015" name="Group 12"/>
          <p:cNvGrpSpPr>
            <a:grpSpLocks/>
          </p:cNvGrpSpPr>
          <p:nvPr/>
        </p:nvGrpSpPr>
        <p:grpSpPr bwMode="auto">
          <a:xfrm>
            <a:off x="7812088" y="0"/>
            <a:ext cx="1327150" cy="1204913"/>
            <a:chOff x="4921" y="0"/>
            <a:chExt cx="836" cy="759"/>
          </a:xfrm>
        </p:grpSpPr>
        <p:sp>
          <p:nvSpPr>
            <p:cNvPr id="43030" name="Freeform 13"/>
            <p:cNvSpPr>
              <a:spLocks noChangeArrowheads="1"/>
            </p:cNvSpPr>
            <p:nvPr/>
          </p:nvSpPr>
          <p:spPr bwMode="auto">
            <a:xfrm>
              <a:off x="5600" y="14"/>
              <a:ext cx="12" cy="11"/>
            </a:xfrm>
            <a:custGeom>
              <a:avLst/>
              <a:gdLst>
                <a:gd name="T0" fmla="*/ 64 w 9"/>
                <a:gd name="T1" fmla="*/ 131 h 8"/>
                <a:gd name="T2" fmla="*/ 0 w 9"/>
                <a:gd name="T3" fmla="*/ 69 h 8"/>
                <a:gd name="T4" fmla="*/ 49 w 9"/>
                <a:gd name="T5" fmla="*/ 0 h 8"/>
                <a:gd name="T6" fmla="*/ 64 w 9"/>
                <a:gd name="T7" fmla="*/ 0 h 8"/>
                <a:gd name="T8" fmla="*/ 113 w 9"/>
                <a:gd name="T9" fmla="*/ 69 h 8"/>
                <a:gd name="T10" fmla="*/ 64 w 9"/>
                <a:gd name="T11" fmla="*/ 131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8">
                  <a:moveTo>
                    <a:pt x="5" y="8"/>
                  </a:move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6"/>
                    <a:pt x="7" y="8"/>
                    <a:pt x="5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031" name="Freeform 14"/>
            <p:cNvSpPr>
              <a:spLocks noChangeArrowheads="1"/>
            </p:cNvSpPr>
            <p:nvPr/>
          </p:nvSpPr>
          <p:spPr bwMode="auto">
            <a:xfrm>
              <a:off x="5580" y="0"/>
              <a:ext cx="11" cy="13"/>
            </a:xfrm>
            <a:custGeom>
              <a:avLst/>
              <a:gdLst>
                <a:gd name="T0" fmla="*/ 69 w 8"/>
                <a:gd name="T1" fmla="*/ 188 h 9"/>
                <a:gd name="T2" fmla="*/ 0 w 8"/>
                <a:gd name="T3" fmla="*/ 81 h 9"/>
                <a:gd name="T4" fmla="*/ 0 w 8"/>
                <a:gd name="T5" fmla="*/ 81 h 9"/>
                <a:gd name="T6" fmla="*/ 69 w 8"/>
                <a:gd name="T7" fmla="*/ 0 h 9"/>
                <a:gd name="T8" fmla="*/ 131 w 8"/>
                <a:gd name="T9" fmla="*/ 81 h 9"/>
                <a:gd name="T10" fmla="*/ 69 w 8"/>
                <a:gd name="T11" fmla="*/ 188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2" y="9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032" name="Oval 15"/>
            <p:cNvSpPr>
              <a:spLocks noChangeArrowheads="1"/>
            </p:cNvSpPr>
            <p:nvPr/>
          </p:nvSpPr>
          <p:spPr bwMode="auto">
            <a:xfrm>
              <a:off x="5744" y="0"/>
              <a:ext cx="13" cy="1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US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033" name="Freeform 16"/>
            <p:cNvSpPr>
              <a:spLocks noChangeArrowheads="1"/>
            </p:cNvSpPr>
            <p:nvPr/>
          </p:nvSpPr>
          <p:spPr bwMode="auto">
            <a:xfrm>
              <a:off x="5723" y="14"/>
              <a:ext cx="12" cy="11"/>
            </a:xfrm>
            <a:custGeom>
              <a:avLst/>
              <a:gdLst>
                <a:gd name="T0" fmla="*/ 64 w 9"/>
                <a:gd name="T1" fmla="*/ 131 h 8"/>
                <a:gd name="T2" fmla="*/ 0 w 9"/>
                <a:gd name="T3" fmla="*/ 69 h 8"/>
                <a:gd name="T4" fmla="*/ 0 w 9"/>
                <a:gd name="T5" fmla="*/ 69 h 8"/>
                <a:gd name="T6" fmla="*/ 64 w 9"/>
                <a:gd name="T7" fmla="*/ 0 h 8"/>
                <a:gd name="T8" fmla="*/ 64 w 9"/>
                <a:gd name="T9" fmla="*/ 0 h 8"/>
                <a:gd name="T10" fmla="*/ 113 w 9"/>
                <a:gd name="T11" fmla="*/ 69 h 8"/>
                <a:gd name="T12" fmla="*/ 64 w 9"/>
                <a:gd name="T13" fmla="*/ 131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8">
                  <a:moveTo>
                    <a:pt x="5" y="8"/>
                  </a:moveTo>
                  <a:cubicBezTo>
                    <a:pt x="2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6"/>
                    <a:pt x="7" y="8"/>
                    <a:pt x="5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034" name="Freeform 17"/>
            <p:cNvSpPr>
              <a:spLocks noChangeArrowheads="1"/>
            </p:cNvSpPr>
            <p:nvPr/>
          </p:nvSpPr>
          <p:spPr bwMode="auto">
            <a:xfrm>
              <a:off x="5703" y="0"/>
              <a:ext cx="11" cy="13"/>
            </a:xfrm>
            <a:custGeom>
              <a:avLst/>
              <a:gdLst>
                <a:gd name="T0" fmla="*/ 69 w 8"/>
                <a:gd name="T1" fmla="*/ 188 h 9"/>
                <a:gd name="T2" fmla="*/ 0 w 8"/>
                <a:gd name="T3" fmla="*/ 81 h 9"/>
                <a:gd name="T4" fmla="*/ 0 w 8"/>
                <a:gd name="T5" fmla="*/ 81 h 9"/>
                <a:gd name="T6" fmla="*/ 69 w 8"/>
                <a:gd name="T7" fmla="*/ 0 h 9"/>
                <a:gd name="T8" fmla="*/ 131 w 8"/>
                <a:gd name="T9" fmla="*/ 81 h 9"/>
                <a:gd name="T10" fmla="*/ 69 w 8"/>
                <a:gd name="T11" fmla="*/ 188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2" y="9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035" name="Freeform 18"/>
            <p:cNvSpPr>
              <a:spLocks noChangeArrowheads="1"/>
            </p:cNvSpPr>
            <p:nvPr/>
          </p:nvSpPr>
          <p:spPr bwMode="auto">
            <a:xfrm>
              <a:off x="5682" y="14"/>
              <a:ext cx="12" cy="11"/>
            </a:xfrm>
            <a:custGeom>
              <a:avLst/>
              <a:gdLst>
                <a:gd name="T0" fmla="*/ 49 w 9"/>
                <a:gd name="T1" fmla="*/ 131 h 8"/>
                <a:gd name="T2" fmla="*/ 0 w 9"/>
                <a:gd name="T3" fmla="*/ 69 h 8"/>
                <a:gd name="T4" fmla="*/ 49 w 9"/>
                <a:gd name="T5" fmla="*/ 0 h 8"/>
                <a:gd name="T6" fmla="*/ 49 w 9"/>
                <a:gd name="T7" fmla="*/ 0 h 8"/>
                <a:gd name="T8" fmla="*/ 113 w 9"/>
                <a:gd name="T9" fmla="*/ 69 h 8"/>
                <a:gd name="T10" fmla="*/ 49 w 9"/>
                <a:gd name="T11" fmla="*/ 131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8">
                  <a:moveTo>
                    <a:pt x="4" y="8"/>
                  </a:move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6"/>
                    <a:pt x="7" y="8"/>
                    <a:pt x="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036" name="Freeform 19"/>
            <p:cNvSpPr>
              <a:spLocks noChangeArrowheads="1"/>
            </p:cNvSpPr>
            <p:nvPr/>
          </p:nvSpPr>
          <p:spPr bwMode="auto">
            <a:xfrm>
              <a:off x="5661" y="0"/>
              <a:ext cx="12" cy="13"/>
            </a:xfrm>
            <a:custGeom>
              <a:avLst/>
              <a:gdLst>
                <a:gd name="T0" fmla="*/ 64 w 9"/>
                <a:gd name="T1" fmla="*/ 188 h 9"/>
                <a:gd name="T2" fmla="*/ 0 w 9"/>
                <a:gd name="T3" fmla="*/ 81 h 9"/>
                <a:gd name="T4" fmla="*/ 0 w 9"/>
                <a:gd name="T5" fmla="*/ 81 h 9"/>
                <a:gd name="T6" fmla="*/ 64 w 9"/>
                <a:gd name="T7" fmla="*/ 0 h 9"/>
                <a:gd name="T8" fmla="*/ 113 w 9"/>
                <a:gd name="T9" fmla="*/ 81 h 9"/>
                <a:gd name="T10" fmla="*/ 64 w 9"/>
                <a:gd name="T11" fmla="*/ 188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2" y="9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037" name="Freeform 20"/>
            <p:cNvSpPr>
              <a:spLocks noChangeArrowheads="1"/>
            </p:cNvSpPr>
            <p:nvPr/>
          </p:nvSpPr>
          <p:spPr bwMode="auto">
            <a:xfrm>
              <a:off x="5640" y="14"/>
              <a:ext cx="12" cy="11"/>
            </a:xfrm>
            <a:custGeom>
              <a:avLst/>
              <a:gdLst>
                <a:gd name="T0" fmla="*/ 120 w 8"/>
                <a:gd name="T1" fmla="*/ 131 h 8"/>
                <a:gd name="T2" fmla="*/ 0 w 8"/>
                <a:gd name="T3" fmla="*/ 69 h 8"/>
                <a:gd name="T4" fmla="*/ 0 w 8"/>
                <a:gd name="T5" fmla="*/ 69 h 8"/>
                <a:gd name="T6" fmla="*/ 120 w 8"/>
                <a:gd name="T7" fmla="*/ 0 h 8"/>
                <a:gd name="T8" fmla="*/ 120 w 8"/>
                <a:gd name="T9" fmla="*/ 0 h 8"/>
                <a:gd name="T10" fmla="*/ 230 w 8"/>
                <a:gd name="T11" fmla="*/ 69 h 8"/>
                <a:gd name="T12" fmla="*/ 230 w 8"/>
                <a:gd name="T13" fmla="*/ 69 h 8"/>
                <a:gd name="T14" fmla="*/ 120 w 8"/>
                <a:gd name="T15" fmla="*/ 131 h 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8" h="8">
                  <a:moveTo>
                    <a:pt x="4" y="8"/>
                  </a:moveTo>
                  <a:cubicBezTo>
                    <a:pt x="2" y="8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6" y="8"/>
                    <a:pt x="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038" name="Oval 21"/>
            <p:cNvSpPr>
              <a:spLocks noChangeArrowheads="1"/>
            </p:cNvSpPr>
            <p:nvPr/>
          </p:nvSpPr>
          <p:spPr bwMode="auto">
            <a:xfrm>
              <a:off x="5621" y="0"/>
              <a:ext cx="12" cy="1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US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039" name="Freeform 22"/>
            <p:cNvSpPr>
              <a:spLocks noChangeArrowheads="1"/>
            </p:cNvSpPr>
            <p:nvPr/>
          </p:nvSpPr>
          <p:spPr bwMode="auto">
            <a:xfrm>
              <a:off x="5415" y="21"/>
              <a:ext cx="12" cy="11"/>
            </a:xfrm>
            <a:custGeom>
              <a:avLst/>
              <a:gdLst>
                <a:gd name="T0" fmla="*/ 64 w 9"/>
                <a:gd name="T1" fmla="*/ 131 h 8"/>
                <a:gd name="T2" fmla="*/ 49 w 9"/>
                <a:gd name="T3" fmla="*/ 131 h 8"/>
                <a:gd name="T4" fmla="*/ 0 w 9"/>
                <a:gd name="T5" fmla="*/ 69 h 8"/>
                <a:gd name="T6" fmla="*/ 0 w 9"/>
                <a:gd name="T7" fmla="*/ 69 h 8"/>
                <a:gd name="T8" fmla="*/ 49 w 9"/>
                <a:gd name="T9" fmla="*/ 0 h 8"/>
                <a:gd name="T10" fmla="*/ 113 w 9"/>
                <a:gd name="T11" fmla="*/ 69 h 8"/>
                <a:gd name="T12" fmla="*/ 64 w 9"/>
                <a:gd name="T13" fmla="*/ 131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8">
                  <a:moveTo>
                    <a:pt x="5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6"/>
                    <a:pt x="7" y="8"/>
                    <a:pt x="5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040" name="Oval 23"/>
            <p:cNvSpPr>
              <a:spLocks noChangeArrowheads="1"/>
            </p:cNvSpPr>
            <p:nvPr/>
          </p:nvSpPr>
          <p:spPr bwMode="auto">
            <a:xfrm>
              <a:off x="5600" y="33"/>
              <a:ext cx="12" cy="12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US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041" name="Freeform 24"/>
            <p:cNvSpPr>
              <a:spLocks noChangeArrowheads="1"/>
            </p:cNvSpPr>
            <p:nvPr/>
          </p:nvSpPr>
          <p:spPr bwMode="auto">
            <a:xfrm>
              <a:off x="5580" y="21"/>
              <a:ext cx="11" cy="11"/>
            </a:xfrm>
            <a:custGeom>
              <a:avLst/>
              <a:gdLst>
                <a:gd name="T0" fmla="*/ 69 w 8"/>
                <a:gd name="T1" fmla="*/ 131 h 8"/>
                <a:gd name="T2" fmla="*/ 69 w 8"/>
                <a:gd name="T3" fmla="*/ 131 h 8"/>
                <a:gd name="T4" fmla="*/ 0 w 8"/>
                <a:gd name="T5" fmla="*/ 69 h 8"/>
                <a:gd name="T6" fmla="*/ 0 w 8"/>
                <a:gd name="T7" fmla="*/ 69 h 8"/>
                <a:gd name="T8" fmla="*/ 69 w 8"/>
                <a:gd name="T9" fmla="*/ 0 h 8"/>
                <a:gd name="T10" fmla="*/ 131 w 8"/>
                <a:gd name="T11" fmla="*/ 69 h 8"/>
                <a:gd name="T12" fmla="*/ 69 w 8"/>
                <a:gd name="T13" fmla="*/ 131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" h="8">
                  <a:moveTo>
                    <a:pt x="4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6"/>
                    <a:pt x="6" y="8"/>
                    <a:pt x="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042" name="Freeform 25"/>
            <p:cNvSpPr>
              <a:spLocks noChangeArrowheads="1"/>
            </p:cNvSpPr>
            <p:nvPr/>
          </p:nvSpPr>
          <p:spPr bwMode="auto">
            <a:xfrm>
              <a:off x="5558" y="33"/>
              <a:ext cx="12" cy="12"/>
            </a:xfrm>
            <a:custGeom>
              <a:avLst/>
              <a:gdLst>
                <a:gd name="T0" fmla="*/ 49 w 9"/>
                <a:gd name="T1" fmla="*/ 113 h 9"/>
                <a:gd name="T2" fmla="*/ 0 w 9"/>
                <a:gd name="T3" fmla="*/ 64 h 9"/>
                <a:gd name="T4" fmla="*/ 0 w 9"/>
                <a:gd name="T5" fmla="*/ 64 h 9"/>
                <a:gd name="T6" fmla="*/ 49 w 9"/>
                <a:gd name="T7" fmla="*/ 0 h 9"/>
                <a:gd name="T8" fmla="*/ 113 w 9"/>
                <a:gd name="T9" fmla="*/ 64 h 9"/>
                <a:gd name="T10" fmla="*/ 49 w 9"/>
                <a:gd name="T11" fmla="*/ 113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043" name="Freeform 26"/>
            <p:cNvSpPr>
              <a:spLocks noChangeArrowheads="1"/>
            </p:cNvSpPr>
            <p:nvPr/>
          </p:nvSpPr>
          <p:spPr bwMode="auto">
            <a:xfrm>
              <a:off x="5744" y="21"/>
              <a:ext cx="13" cy="11"/>
            </a:xfrm>
            <a:custGeom>
              <a:avLst/>
              <a:gdLst>
                <a:gd name="T0" fmla="*/ 108 w 9"/>
                <a:gd name="T1" fmla="*/ 131 h 8"/>
                <a:gd name="T2" fmla="*/ 81 w 9"/>
                <a:gd name="T3" fmla="*/ 131 h 8"/>
                <a:gd name="T4" fmla="*/ 0 w 9"/>
                <a:gd name="T5" fmla="*/ 69 h 8"/>
                <a:gd name="T6" fmla="*/ 81 w 9"/>
                <a:gd name="T7" fmla="*/ 0 h 8"/>
                <a:gd name="T8" fmla="*/ 188 w 9"/>
                <a:gd name="T9" fmla="*/ 69 h 8"/>
                <a:gd name="T10" fmla="*/ 108 w 9"/>
                <a:gd name="T11" fmla="*/ 131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8">
                  <a:moveTo>
                    <a:pt x="5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6"/>
                    <a:pt x="7" y="8"/>
                    <a:pt x="5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044" name="Freeform 27"/>
            <p:cNvSpPr>
              <a:spLocks noChangeArrowheads="1"/>
            </p:cNvSpPr>
            <p:nvPr/>
          </p:nvSpPr>
          <p:spPr bwMode="auto">
            <a:xfrm>
              <a:off x="5723" y="33"/>
              <a:ext cx="12" cy="12"/>
            </a:xfrm>
            <a:custGeom>
              <a:avLst/>
              <a:gdLst>
                <a:gd name="T0" fmla="*/ 64 w 9"/>
                <a:gd name="T1" fmla="*/ 113 h 9"/>
                <a:gd name="T2" fmla="*/ 0 w 9"/>
                <a:gd name="T3" fmla="*/ 64 h 9"/>
                <a:gd name="T4" fmla="*/ 0 w 9"/>
                <a:gd name="T5" fmla="*/ 64 h 9"/>
                <a:gd name="T6" fmla="*/ 64 w 9"/>
                <a:gd name="T7" fmla="*/ 0 h 9"/>
                <a:gd name="T8" fmla="*/ 113 w 9"/>
                <a:gd name="T9" fmla="*/ 64 h 9"/>
                <a:gd name="T10" fmla="*/ 64 w 9"/>
                <a:gd name="T11" fmla="*/ 113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045" name="Freeform 28"/>
            <p:cNvSpPr>
              <a:spLocks noChangeArrowheads="1"/>
            </p:cNvSpPr>
            <p:nvPr/>
          </p:nvSpPr>
          <p:spPr bwMode="auto">
            <a:xfrm>
              <a:off x="5703" y="21"/>
              <a:ext cx="11" cy="11"/>
            </a:xfrm>
            <a:custGeom>
              <a:avLst/>
              <a:gdLst>
                <a:gd name="T0" fmla="*/ 69 w 8"/>
                <a:gd name="T1" fmla="*/ 131 h 8"/>
                <a:gd name="T2" fmla="*/ 69 w 8"/>
                <a:gd name="T3" fmla="*/ 131 h 8"/>
                <a:gd name="T4" fmla="*/ 0 w 8"/>
                <a:gd name="T5" fmla="*/ 69 h 8"/>
                <a:gd name="T6" fmla="*/ 0 w 8"/>
                <a:gd name="T7" fmla="*/ 69 h 8"/>
                <a:gd name="T8" fmla="*/ 69 w 8"/>
                <a:gd name="T9" fmla="*/ 0 h 8"/>
                <a:gd name="T10" fmla="*/ 131 w 8"/>
                <a:gd name="T11" fmla="*/ 69 h 8"/>
                <a:gd name="T12" fmla="*/ 69 w 8"/>
                <a:gd name="T13" fmla="*/ 131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" h="8">
                  <a:moveTo>
                    <a:pt x="4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6"/>
                    <a:pt x="7" y="8"/>
                    <a:pt x="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046" name="Oval 29"/>
            <p:cNvSpPr>
              <a:spLocks noChangeArrowheads="1"/>
            </p:cNvSpPr>
            <p:nvPr/>
          </p:nvSpPr>
          <p:spPr bwMode="auto">
            <a:xfrm>
              <a:off x="5682" y="33"/>
              <a:ext cx="12" cy="12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US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047" name="Freeform 30"/>
            <p:cNvSpPr>
              <a:spLocks noChangeArrowheads="1"/>
            </p:cNvSpPr>
            <p:nvPr/>
          </p:nvSpPr>
          <p:spPr bwMode="auto">
            <a:xfrm>
              <a:off x="5661" y="21"/>
              <a:ext cx="12" cy="11"/>
            </a:xfrm>
            <a:custGeom>
              <a:avLst/>
              <a:gdLst>
                <a:gd name="T0" fmla="*/ 64 w 9"/>
                <a:gd name="T1" fmla="*/ 131 h 8"/>
                <a:gd name="T2" fmla="*/ 64 w 9"/>
                <a:gd name="T3" fmla="*/ 131 h 8"/>
                <a:gd name="T4" fmla="*/ 0 w 9"/>
                <a:gd name="T5" fmla="*/ 69 h 8"/>
                <a:gd name="T6" fmla="*/ 0 w 9"/>
                <a:gd name="T7" fmla="*/ 69 h 8"/>
                <a:gd name="T8" fmla="*/ 64 w 9"/>
                <a:gd name="T9" fmla="*/ 0 h 8"/>
                <a:gd name="T10" fmla="*/ 113 w 9"/>
                <a:gd name="T11" fmla="*/ 69 h 8"/>
                <a:gd name="T12" fmla="*/ 64 w 9"/>
                <a:gd name="T13" fmla="*/ 131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8">
                  <a:moveTo>
                    <a:pt x="5" y="8"/>
                  </a:moveTo>
                  <a:cubicBezTo>
                    <a:pt x="5" y="8"/>
                    <a:pt x="5" y="8"/>
                    <a:pt x="5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6"/>
                    <a:pt x="7" y="8"/>
                    <a:pt x="5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048" name="Freeform 31"/>
            <p:cNvSpPr>
              <a:spLocks noChangeArrowheads="1"/>
            </p:cNvSpPr>
            <p:nvPr/>
          </p:nvSpPr>
          <p:spPr bwMode="auto">
            <a:xfrm>
              <a:off x="5640" y="33"/>
              <a:ext cx="12" cy="12"/>
            </a:xfrm>
            <a:custGeom>
              <a:avLst/>
              <a:gdLst>
                <a:gd name="T0" fmla="*/ 120 w 8"/>
                <a:gd name="T1" fmla="*/ 113 h 9"/>
                <a:gd name="T2" fmla="*/ 0 w 8"/>
                <a:gd name="T3" fmla="*/ 64 h 9"/>
                <a:gd name="T4" fmla="*/ 0 w 8"/>
                <a:gd name="T5" fmla="*/ 64 h 9"/>
                <a:gd name="T6" fmla="*/ 120 w 8"/>
                <a:gd name="T7" fmla="*/ 0 h 9"/>
                <a:gd name="T8" fmla="*/ 230 w 8"/>
                <a:gd name="T9" fmla="*/ 64 h 9"/>
                <a:gd name="T10" fmla="*/ 230 w 8"/>
                <a:gd name="T11" fmla="*/ 64 h 9"/>
                <a:gd name="T12" fmla="*/ 120 w 8"/>
                <a:gd name="T13" fmla="*/ 113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049" name="Freeform 32"/>
            <p:cNvSpPr>
              <a:spLocks noChangeArrowheads="1"/>
            </p:cNvSpPr>
            <p:nvPr/>
          </p:nvSpPr>
          <p:spPr bwMode="auto">
            <a:xfrm>
              <a:off x="5621" y="21"/>
              <a:ext cx="12" cy="11"/>
            </a:xfrm>
            <a:custGeom>
              <a:avLst/>
              <a:gdLst>
                <a:gd name="T0" fmla="*/ 49 w 9"/>
                <a:gd name="T1" fmla="*/ 131 h 8"/>
                <a:gd name="T2" fmla="*/ 49 w 9"/>
                <a:gd name="T3" fmla="*/ 131 h 8"/>
                <a:gd name="T4" fmla="*/ 0 w 9"/>
                <a:gd name="T5" fmla="*/ 69 h 8"/>
                <a:gd name="T6" fmla="*/ 49 w 9"/>
                <a:gd name="T7" fmla="*/ 0 h 8"/>
                <a:gd name="T8" fmla="*/ 113 w 9"/>
                <a:gd name="T9" fmla="*/ 69 h 8"/>
                <a:gd name="T10" fmla="*/ 49 w 9"/>
                <a:gd name="T11" fmla="*/ 131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8">
                  <a:moveTo>
                    <a:pt x="4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6"/>
                    <a:pt x="7" y="8"/>
                    <a:pt x="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050" name="Freeform 33"/>
            <p:cNvSpPr>
              <a:spLocks noChangeArrowheads="1"/>
            </p:cNvSpPr>
            <p:nvPr/>
          </p:nvSpPr>
          <p:spPr bwMode="auto">
            <a:xfrm>
              <a:off x="5393" y="33"/>
              <a:ext cx="13" cy="12"/>
            </a:xfrm>
            <a:custGeom>
              <a:avLst/>
              <a:gdLst>
                <a:gd name="T0" fmla="*/ 108 w 9"/>
                <a:gd name="T1" fmla="*/ 113 h 9"/>
                <a:gd name="T2" fmla="*/ 0 w 9"/>
                <a:gd name="T3" fmla="*/ 64 h 9"/>
                <a:gd name="T4" fmla="*/ 0 w 9"/>
                <a:gd name="T5" fmla="*/ 64 h 9"/>
                <a:gd name="T6" fmla="*/ 108 w 9"/>
                <a:gd name="T7" fmla="*/ 0 h 9"/>
                <a:gd name="T8" fmla="*/ 188 w 9"/>
                <a:gd name="T9" fmla="*/ 64 h 9"/>
                <a:gd name="T10" fmla="*/ 108 w 9"/>
                <a:gd name="T11" fmla="*/ 113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051" name="Freeform 34"/>
            <p:cNvSpPr>
              <a:spLocks noChangeArrowheads="1"/>
            </p:cNvSpPr>
            <p:nvPr/>
          </p:nvSpPr>
          <p:spPr bwMode="auto">
            <a:xfrm>
              <a:off x="5374" y="21"/>
              <a:ext cx="11" cy="11"/>
            </a:xfrm>
            <a:custGeom>
              <a:avLst/>
              <a:gdLst>
                <a:gd name="T0" fmla="*/ 69 w 8"/>
                <a:gd name="T1" fmla="*/ 131 h 8"/>
                <a:gd name="T2" fmla="*/ 69 w 8"/>
                <a:gd name="T3" fmla="*/ 131 h 8"/>
                <a:gd name="T4" fmla="*/ 0 w 8"/>
                <a:gd name="T5" fmla="*/ 69 h 8"/>
                <a:gd name="T6" fmla="*/ 0 w 8"/>
                <a:gd name="T7" fmla="*/ 69 h 8"/>
                <a:gd name="T8" fmla="*/ 69 w 8"/>
                <a:gd name="T9" fmla="*/ 0 h 8"/>
                <a:gd name="T10" fmla="*/ 131 w 8"/>
                <a:gd name="T11" fmla="*/ 69 h 8"/>
                <a:gd name="T12" fmla="*/ 69 w 8"/>
                <a:gd name="T13" fmla="*/ 131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" h="8">
                  <a:moveTo>
                    <a:pt x="4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6"/>
                    <a:pt x="6" y="8"/>
                    <a:pt x="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052" name="Freeform 35"/>
            <p:cNvSpPr>
              <a:spLocks noChangeArrowheads="1"/>
            </p:cNvSpPr>
            <p:nvPr/>
          </p:nvSpPr>
          <p:spPr bwMode="auto">
            <a:xfrm>
              <a:off x="5353" y="33"/>
              <a:ext cx="12" cy="12"/>
            </a:xfrm>
            <a:custGeom>
              <a:avLst/>
              <a:gdLst>
                <a:gd name="T0" fmla="*/ 49 w 9"/>
                <a:gd name="T1" fmla="*/ 113 h 9"/>
                <a:gd name="T2" fmla="*/ 0 w 9"/>
                <a:gd name="T3" fmla="*/ 64 h 9"/>
                <a:gd name="T4" fmla="*/ 0 w 9"/>
                <a:gd name="T5" fmla="*/ 64 h 9"/>
                <a:gd name="T6" fmla="*/ 49 w 9"/>
                <a:gd name="T7" fmla="*/ 0 h 9"/>
                <a:gd name="T8" fmla="*/ 113 w 9"/>
                <a:gd name="T9" fmla="*/ 64 h 9"/>
                <a:gd name="T10" fmla="*/ 49 w 9"/>
                <a:gd name="T11" fmla="*/ 113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053" name="Freeform 36"/>
            <p:cNvSpPr>
              <a:spLocks noChangeArrowheads="1"/>
            </p:cNvSpPr>
            <p:nvPr/>
          </p:nvSpPr>
          <p:spPr bwMode="auto">
            <a:xfrm>
              <a:off x="5476" y="54"/>
              <a:ext cx="12" cy="12"/>
            </a:xfrm>
            <a:custGeom>
              <a:avLst/>
              <a:gdLst>
                <a:gd name="T0" fmla="*/ 49 w 9"/>
                <a:gd name="T1" fmla="*/ 113 h 9"/>
                <a:gd name="T2" fmla="*/ 0 w 9"/>
                <a:gd name="T3" fmla="*/ 64 h 9"/>
                <a:gd name="T4" fmla="*/ 0 w 9"/>
                <a:gd name="T5" fmla="*/ 64 h 9"/>
                <a:gd name="T6" fmla="*/ 49 w 9"/>
                <a:gd name="T7" fmla="*/ 0 h 9"/>
                <a:gd name="T8" fmla="*/ 116 w 9"/>
                <a:gd name="T9" fmla="*/ 64 h 9"/>
                <a:gd name="T10" fmla="*/ 49 w 9"/>
                <a:gd name="T11" fmla="*/ 113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054" name="Freeform 37"/>
            <p:cNvSpPr>
              <a:spLocks noChangeArrowheads="1"/>
            </p:cNvSpPr>
            <p:nvPr/>
          </p:nvSpPr>
          <p:spPr bwMode="auto">
            <a:xfrm>
              <a:off x="5436" y="54"/>
              <a:ext cx="12" cy="12"/>
            </a:xfrm>
            <a:custGeom>
              <a:avLst/>
              <a:gdLst>
                <a:gd name="T0" fmla="*/ 120 w 8"/>
                <a:gd name="T1" fmla="*/ 113 h 9"/>
                <a:gd name="T2" fmla="*/ 0 w 8"/>
                <a:gd name="T3" fmla="*/ 64 h 9"/>
                <a:gd name="T4" fmla="*/ 0 w 8"/>
                <a:gd name="T5" fmla="*/ 64 h 9"/>
                <a:gd name="T6" fmla="*/ 120 w 8"/>
                <a:gd name="T7" fmla="*/ 0 h 9"/>
                <a:gd name="T8" fmla="*/ 230 w 8"/>
                <a:gd name="T9" fmla="*/ 64 h 9"/>
                <a:gd name="T10" fmla="*/ 120 w 8"/>
                <a:gd name="T11" fmla="*/ 113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5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055" name="Freeform 38"/>
            <p:cNvSpPr>
              <a:spLocks noChangeArrowheads="1"/>
            </p:cNvSpPr>
            <p:nvPr/>
          </p:nvSpPr>
          <p:spPr bwMode="auto">
            <a:xfrm>
              <a:off x="5415" y="40"/>
              <a:ext cx="12" cy="13"/>
            </a:xfrm>
            <a:custGeom>
              <a:avLst/>
              <a:gdLst>
                <a:gd name="T0" fmla="*/ 49 w 9"/>
                <a:gd name="T1" fmla="*/ 188 h 9"/>
                <a:gd name="T2" fmla="*/ 0 w 9"/>
                <a:gd name="T3" fmla="*/ 108 h 9"/>
                <a:gd name="T4" fmla="*/ 0 w 9"/>
                <a:gd name="T5" fmla="*/ 108 h 9"/>
                <a:gd name="T6" fmla="*/ 49 w 9"/>
                <a:gd name="T7" fmla="*/ 0 h 9"/>
                <a:gd name="T8" fmla="*/ 113 w 9"/>
                <a:gd name="T9" fmla="*/ 108 h 9"/>
                <a:gd name="T10" fmla="*/ 49 w 9"/>
                <a:gd name="T11" fmla="*/ 188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056" name="Freeform 39"/>
            <p:cNvSpPr>
              <a:spLocks noChangeArrowheads="1"/>
            </p:cNvSpPr>
            <p:nvPr/>
          </p:nvSpPr>
          <p:spPr bwMode="auto">
            <a:xfrm>
              <a:off x="5331" y="40"/>
              <a:ext cx="14" cy="13"/>
            </a:xfrm>
            <a:custGeom>
              <a:avLst/>
              <a:gdLst>
                <a:gd name="T0" fmla="*/ 182 w 9"/>
                <a:gd name="T1" fmla="*/ 188 h 9"/>
                <a:gd name="T2" fmla="*/ 0 w 9"/>
                <a:gd name="T3" fmla="*/ 108 h 9"/>
                <a:gd name="T4" fmla="*/ 0 w 9"/>
                <a:gd name="T5" fmla="*/ 108 h 9"/>
                <a:gd name="T6" fmla="*/ 182 w 9"/>
                <a:gd name="T7" fmla="*/ 0 h 9"/>
                <a:gd name="T8" fmla="*/ 327 w 9"/>
                <a:gd name="T9" fmla="*/ 108 h 9"/>
                <a:gd name="T10" fmla="*/ 182 w 9"/>
                <a:gd name="T11" fmla="*/ 188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057" name="Oval 40"/>
            <p:cNvSpPr>
              <a:spLocks noChangeArrowheads="1"/>
            </p:cNvSpPr>
            <p:nvPr/>
          </p:nvSpPr>
          <p:spPr bwMode="auto">
            <a:xfrm>
              <a:off x="5600" y="54"/>
              <a:ext cx="12" cy="12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US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058" name="Freeform 41"/>
            <p:cNvSpPr>
              <a:spLocks noChangeArrowheads="1"/>
            </p:cNvSpPr>
            <p:nvPr/>
          </p:nvSpPr>
          <p:spPr bwMode="auto">
            <a:xfrm>
              <a:off x="5580" y="40"/>
              <a:ext cx="11" cy="13"/>
            </a:xfrm>
            <a:custGeom>
              <a:avLst/>
              <a:gdLst>
                <a:gd name="T0" fmla="*/ 69 w 8"/>
                <a:gd name="T1" fmla="*/ 188 h 9"/>
                <a:gd name="T2" fmla="*/ 0 w 8"/>
                <a:gd name="T3" fmla="*/ 108 h 9"/>
                <a:gd name="T4" fmla="*/ 0 w 8"/>
                <a:gd name="T5" fmla="*/ 108 h 9"/>
                <a:gd name="T6" fmla="*/ 69 w 8"/>
                <a:gd name="T7" fmla="*/ 0 h 9"/>
                <a:gd name="T8" fmla="*/ 131 w 8"/>
                <a:gd name="T9" fmla="*/ 108 h 9"/>
                <a:gd name="T10" fmla="*/ 69 w 8"/>
                <a:gd name="T11" fmla="*/ 188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5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059" name="Freeform 42"/>
            <p:cNvSpPr>
              <a:spLocks noChangeArrowheads="1"/>
            </p:cNvSpPr>
            <p:nvPr/>
          </p:nvSpPr>
          <p:spPr bwMode="auto">
            <a:xfrm>
              <a:off x="5558" y="54"/>
              <a:ext cx="12" cy="12"/>
            </a:xfrm>
            <a:custGeom>
              <a:avLst/>
              <a:gdLst>
                <a:gd name="T0" fmla="*/ 49 w 9"/>
                <a:gd name="T1" fmla="*/ 113 h 9"/>
                <a:gd name="T2" fmla="*/ 0 w 9"/>
                <a:gd name="T3" fmla="*/ 64 h 9"/>
                <a:gd name="T4" fmla="*/ 0 w 9"/>
                <a:gd name="T5" fmla="*/ 64 h 9"/>
                <a:gd name="T6" fmla="*/ 49 w 9"/>
                <a:gd name="T7" fmla="*/ 0 h 9"/>
                <a:gd name="T8" fmla="*/ 113 w 9"/>
                <a:gd name="T9" fmla="*/ 64 h 9"/>
                <a:gd name="T10" fmla="*/ 49 w 9"/>
                <a:gd name="T11" fmla="*/ 113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060" name="Freeform 43"/>
            <p:cNvSpPr>
              <a:spLocks noChangeArrowheads="1"/>
            </p:cNvSpPr>
            <p:nvPr/>
          </p:nvSpPr>
          <p:spPr bwMode="auto">
            <a:xfrm>
              <a:off x="5538" y="40"/>
              <a:ext cx="12" cy="13"/>
            </a:xfrm>
            <a:custGeom>
              <a:avLst/>
              <a:gdLst>
                <a:gd name="T0" fmla="*/ 64 w 9"/>
                <a:gd name="T1" fmla="*/ 188 h 9"/>
                <a:gd name="T2" fmla="*/ 0 w 9"/>
                <a:gd name="T3" fmla="*/ 108 h 9"/>
                <a:gd name="T4" fmla="*/ 0 w 9"/>
                <a:gd name="T5" fmla="*/ 108 h 9"/>
                <a:gd name="T6" fmla="*/ 64 w 9"/>
                <a:gd name="T7" fmla="*/ 0 h 9"/>
                <a:gd name="T8" fmla="*/ 113 w 9"/>
                <a:gd name="T9" fmla="*/ 108 h 9"/>
                <a:gd name="T10" fmla="*/ 64 w 9"/>
                <a:gd name="T11" fmla="*/ 188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061" name="Oval 44"/>
            <p:cNvSpPr>
              <a:spLocks noChangeArrowheads="1"/>
            </p:cNvSpPr>
            <p:nvPr/>
          </p:nvSpPr>
          <p:spPr bwMode="auto">
            <a:xfrm>
              <a:off x="5455" y="40"/>
              <a:ext cx="13" cy="1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US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062" name="Oval 45"/>
            <p:cNvSpPr>
              <a:spLocks noChangeArrowheads="1"/>
            </p:cNvSpPr>
            <p:nvPr/>
          </p:nvSpPr>
          <p:spPr bwMode="auto">
            <a:xfrm>
              <a:off x="5744" y="40"/>
              <a:ext cx="13" cy="1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US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063" name="Freeform 46"/>
            <p:cNvSpPr>
              <a:spLocks noChangeArrowheads="1"/>
            </p:cNvSpPr>
            <p:nvPr/>
          </p:nvSpPr>
          <p:spPr bwMode="auto">
            <a:xfrm>
              <a:off x="5723" y="54"/>
              <a:ext cx="12" cy="12"/>
            </a:xfrm>
            <a:custGeom>
              <a:avLst/>
              <a:gdLst>
                <a:gd name="T0" fmla="*/ 64 w 9"/>
                <a:gd name="T1" fmla="*/ 113 h 9"/>
                <a:gd name="T2" fmla="*/ 0 w 9"/>
                <a:gd name="T3" fmla="*/ 64 h 9"/>
                <a:gd name="T4" fmla="*/ 0 w 9"/>
                <a:gd name="T5" fmla="*/ 64 h 9"/>
                <a:gd name="T6" fmla="*/ 64 w 9"/>
                <a:gd name="T7" fmla="*/ 0 h 9"/>
                <a:gd name="T8" fmla="*/ 113 w 9"/>
                <a:gd name="T9" fmla="*/ 64 h 9"/>
                <a:gd name="T10" fmla="*/ 64 w 9"/>
                <a:gd name="T11" fmla="*/ 113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064" name="Freeform 47"/>
            <p:cNvSpPr>
              <a:spLocks noChangeArrowheads="1"/>
            </p:cNvSpPr>
            <p:nvPr/>
          </p:nvSpPr>
          <p:spPr bwMode="auto">
            <a:xfrm>
              <a:off x="5703" y="40"/>
              <a:ext cx="11" cy="13"/>
            </a:xfrm>
            <a:custGeom>
              <a:avLst/>
              <a:gdLst>
                <a:gd name="T0" fmla="*/ 69 w 8"/>
                <a:gd name="T1" fmla="*/ 188 h 9"/>
                <a:gd name="T2" fmla="*/ 0 w 8"/>
                <a:gd name="T3" fmla="*/ 108 h 9"/>
                <a:gd name="T4" fmla="*/ 0 w 8"/>
                <a:gd name="T5" fmla="*/ 108 h 9"/>
                <a:gd name="T6" fmla="*/ 69 w 8"/>
                <a:gd name="T7" fmla="*/ 0 h 9"/>
                <a:gd name="T8" fmla="*/ 131 w 8"/>
                <a:gd name="T9" fmla="*/ 108 h 9"/>
                <a:gd name="T10" fmla="*/ 69 w 8"/>
                <a:gd name="T11" fmla="*/ 188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5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065" name="Oval 48"/>
            <p:cNvSpPr>
              <a:spLocks noChangeArrowheads="1"/>
            </p:cNvSpPr>
            <p:nvPr/>
          </p:nvSpPr>
          <p:spPr bwMode="auto">
            <a:xfrm>
              <a:off x="5682" y="54"/>
              <a:ext cx="12" cy="12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US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066" name="Freeform 49"/>
            <p:cNvSpPr>
              <a:spLocks noChangeArrowheads="1"/>
            </p:cNvSpPr>
            <p:nvPr/>
          </p:nvSpPr>
          <p:spPr bwMode="auto">
            <a:xfrm>
              <a:off x="5661" y="40"/>
              <a:ext cx="12" cy="13"/>
            </a:xfrm>
            <a:custGeom>
              <a:avLst/>
              <a:gdLst>
                <a:gd name="T0" fmla="*/ 64 w 9"/>
                <a:gd name="T1" fmla="*/ 188 h 9"/>
                <a:gd name="T2" fmla="*/ 0 w 9"/>
                <a:gd name="T3" fmla="*/ 108 h 9"/>
                <a:gd name="T4" fmla="*/ 0 w 9"/>
                <a:gd name="T5" fmla="*/ 108 h 9"/>
                <a:gd name="T6" fmla="*/ 64 w 9"/>
                <a:gd name="T7" fmla="*/ 0 h 9"/>
                <a:gd name="T8" fmla="*/ 113 w 9"/>
                <a:gd name="T9" fmla="*/ 108 h 9"/>
                <a:gd name="T10" fmla="*/ 64 w 9"/>
                <a:gd name="T11" fmla="*/ 188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067" name="Freeform 50"/>
            <p:cNvSpPr>
              <a:spLocks noChangeArrowheads="1"/>
            </p:cNvSpPr>
            <p:nvPr/>
          </p:nvSpPr>
          <p:spPr bwMode="auto">
            <a:xfrm>
              <a:off x="5640" y="54"/>
              <a:ext cx="12" cy="12"/>
            </a:xfrm>
            <a:custGeom>
              <a:avLst/>
              <a:gdLst>
                <a:gd name="T0" fmla="*/ 120 w 8"/>
                <a:gd name="T1" fmla="*/ 113 h 9"/>
                <a:gd name="T2" fmla="*/ 0 w 8"/>
                <a:gd name="T3" fmla="*/ 64 h 9"/>
                <a:gd name="T4" fmla="*/ 0 w 8"/>
                <a:gd name="T5" fmla="*/ 49 h 9"/>
                <a:gd name="T6" fmla="*/ 120 w 8"/>
                <a:gd name="T7" fmla="*/ 0 h 9"/>
                <a:gd name="T8" fmla="*/ 230 w 8"/>
                <a:gd name="T9" fmla="*/ 64 h 9"/>
                <a:gd name="T10" fmla="*/ 230 w 8"/>
                <a:gd name="T11" fmla="*/ 64 h 9"/>
                <a:gd name="T12" fmla="*/ 120 w 8"/>
                <a:gd name="T13" fmla="*/ 113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068" name="Oval 51"/>
            <p:cNvSpPr>
              <a:spLocks noChangeArrowheads="1"/>
            </p:cNvSpPr>
            <p:nvPr/>
          </p:nvSpPr>
          <p:spPr bwMode="auto">
            <a:xfrm>
              <a:off x="5621" y="40"/>
              <a:ext cx="12" cy="1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US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069" name="Freeform 52"/>
            <p:cNvSpPr>
              <a:spLocks noChangeArrowheads="1"/>
            </p:cNvSpPr>
            <p:nvPr/>
          </p:nvSpPr>
          <p:spPr bwMode="auto">
            <a:xfrm>
              <a:off x="5393" y="54"/>
              <a:ext cx="13" cy="12"/>
            </a:xfrm>
            <a:custGeom>
              <a:avLst/>
              <a:gdLst>
                <a:gd name="T0" fmla="*/ 108 w 9"/>
                <a:gd name="T1" fmla="*/ 113 h 9"/>
                <a:gd name="T2" fmla="*/ 0 w 9"/>
                <a:gd name="T3" fmla="*/ 64 h 9"/>
                <a:gd name="T4" fmla="*/ 0 w 9"/>
                <a:gd name="T5" fmla="*/ 64 h 9"/>
                <a:gd name="T6" fmla="*/ 108 w 9"/>
                <a:gd name="T7" fmla="*/ 0 h 9"/>
                <a:gd name="T8" fmla="*/ 188 w 9"/>
                <a:gd name="T9" fmla="*/ 64 h 9"/>
                <a:gd name="T10" fmla="*/ 108 w 9"/>
                <a:gd name="T11" fmla="*/ 113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070" name="Freeform 53"/>
            <p:cNvSpPr>
              <a:spLocks noChangeArrowheads="1"/>
            </p:cNvSpPr>
            <p:nvPr/>
          </p:nvSpPr>
          <p:spPr bwMode="auto">
            <a:xfrm>
              <a:off x="5374" y="40"/>
              <a:ext cx="11" cy="13"/>
            </a:xfrm>
            <a:custGeom>
              <a:avLst/>
              <a:gdLst>
                <a:gd name="T0" fmla="*/ 69 w 8"/>
                <a:gd name="T1" fmla="*/ 188 h 9"/>
                <a:gd name="T2" fmla="*/ 0 w 8"/>
                <a:gd name="T3" fmla="*/ 108 h 9"/>
                <a:gd name="T4" fmla="*/ 0 w 8"/>
                <a:gd name="T5" fmla="*/ 108 h 9"/>
                <a:gd name="T6" fmla="*/ 69 w 8"/>
                <a:gd name="T7" fmla="*/ 0 h 9"/>
                <a:gd name="T8" fmla="*/ 131 w 8"/>
                <a:gd name="T9" fmla="*/ 108 h 9"/>
                <a:gd name="T10" fmla="*/ 69 w 8"/>
                <a:gd name="T11" fmla="*/ 188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5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071" name="Freeform 54"/>
            <p:cNvSpPr>
              <a:spLocks noChangeArrowheads="1"/>
            </p:cNvSpPr>
            <p:nvPr/>
          </p:nvSpPr>
          <p:spPr bwMode="auto">
            <a:xfrm>
              <a:off x="5353" y="54"/>
              <a:ext cx="12" cy="12"/>
            </a:xfrm>
            <a:custGeom>
              <a:avLst/>
              <a:gdLst>
                <a:gd name="T0" fmla="*/ 49 w 9"/>
                <a:gd name="T1" fmla="*/ 113 h 9"/>
                <a:gd name="T2" fmla="*/ 0 w 9"/>
                <a:gd name="T3" fmla="*/ 64 h 9"/>
                <a:gd name="T4" fmla="*/ 0 w 9"/>
                <a:gd name="T5" fmla="*/ 64 h 9"/>
                <a:gd name="T6" fmla="*/ 49 w 9"/>
                <a:gd name="T7" fmla="*/ 0 h 9"/>
                <a:gd name="T8" fmla="*/ 113 w 9"/>
                <a:gd name="T9" fmla="*/ 64 h 9"/>
                <a:gd name="T10" fmla="*/ 49 w 9"/>
                <a:gd name="T11" fmla="*/ 113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072" name="Freeform 55"/>
            <p:cNvSpPr>
              <a:spLocks noChangeArrowheads="1"/>
            </p:cNvSpPr>
            <p:nvPr/>
          </p:nvSpPr>
          <p:spPr bwMode="auto">
            <a:xfrm>
              <a:off x="5476" y="75"/>
              <a:ext cx="12" cy="12"/>
            </a:xfrm>
            <a:custGeom>
              <a:avLst/>
              <a:gdLst>
                <a:gd name="T0" fmla="*/ 65 w 9"/>
                <a:gd name="T1" fmla="*/ 116 h 9"/>
                <a:gd name="T2" fmla="*/ 49 w 9"/>
                <a:gd name="T3" fmla="*/ 116 h 9"/>
                <a:gd name="T4" fmla="*/ 0 w 9"/>
                <a:gd name="T5" fmla="*/ 65 h 9"/>
                <a:gd name="T6" fmla="*/ 0 w 9"/>
                <a:gd name="T7" fmla="*/ 49 h 9"/>
                <a:gd name="T8" fmla="*/ 49 w 9"/>
                <a:gd name="T9" fmla="*/ 0 h 9"/>
                <a:gd name="T10" fmla="*/ 65 w 9"/>
                <a:gd name="T11" fmla="*/ 0 h 9"/>
                <a:gd name="T12" fmla="*/ 116 w 9"/>
                <a:gd name="T13" fmla="*/ 49 h 9"/>
                <a:gd name="T14" fmla="*/ 65 w 9"/>
                <a:gd name="T15" fmla="*/ 116 h 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073" name="Freeform 56"/>
            <p:cNvSpPr>
              <a:spLocks noChangeArrowheads="1"/>
            </p:cNvSpPr>
            <p:nvPr/>
          </p:nvSpPr>
          <p:spPr bwMode="auto">
            <a:xfrm>
              <a:off x="5436" y="75"/>
              <a:ext cx="12" cy="12"/>
            </a:xfrm>
            <a:custGeom>
              <a:avLst/>
              <a:gdLst>
                <a:gd name="T0" fmla="*/ 120 w 8"/>
                <a:gd name="T1" fmla="*/ 116 h 9"/>
                <a:gd name="T2" fmla="*/ 120 w 8"/>
                <a:gd name="T3" fmla="*/ 116 h 9"/>
                <a:gd name="T4" fmla="*/ 0 w 8"/>
                <a:gd name="T5" fmla="*/ 65 h 9"/>
                <a:gd name="T6" fmla="*/ 0 w 8"/>
                <a:gd name="T7" fmla="*/ 49 h 9"/>
                <a:gd name="T8" fmla="*/ 120 w 8"/>
                <a:gd name="T9" fmla="*/ 0 h 9"/>
                <a:gd name="T10" fmla="*/ 120 w 8"/>
                <a:gd name="T11" fmla="*/ 0 h 9"/>
                <a:gd name="T12" fmla="*/ 230 w 8"/>
                <a:gd name="T13" fmla="*/ 49 h 9"/>
                <a:gd name="T14" fmla="*/ 120 w 8"/>
                <a:gd name="T15" fmla="*/ 116 h 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7" y="0"/>
                    <a:pt x="8" y="2"/>
                    <a:pt x="8" y="4"/>
                  </a:cubicBezTo>
                  <a:cubicBezTo>
                    <a:pt x="8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074" name="Freeform 57"/>
            <p:cNvSpPr>
              <a:spLocks noChangeArrowheads="1"/>
            </p:cNvSpPr>
            <p:nvPr/>
          </p:nvSpPr>
          <p:spPr bwMode="auto">
            <a:xfrm>
              <a:off x="5415" y="61"/>
              <a:ext cx="12" cy="14"/>
            </a:xfrm>
            <a:custGeom>
              <a:avLst/>
              <a:gdLst>
                <a:gd name="T0" fmla="*/ 64 w 9"/>
                <a:gd name="T1" fmla="*/ 327 h 9"/>
                <a:gd name="T2" fmla="*/ 49 w 9"/>
                <a:gd name="T3" fmla="*/ 327 h 9"/>
                <a:gd name="T4" fmla="*/ 0 w 9"/>
                <a:gd name="T5" fmla="*/ 182 h 9"/>
                <a:gd name="T6" fmla="*/ 0 w 9"/>
                <a:gd name="T7" fmla="*/ 148 h 9"/>
                <a:gd name="T8" fmla="*/ 49 w 9"/>
                <a:gd name="T9" fmla="*/ 0 h 9"/>
                <a:gd name="T10" fmla="*/ 64 w 9"/>
                <a:gd name="T11" fmla="*/ 0 h 9"/>
                <a:gd name="T12" fmla="*/ 113 w 9"/>
                <a:gd name="T13" fmla="*/ 182 h 9"/>
                <a:gd name="T14" fmla="*/ 64 w 9"/>
                <a:gd name="T15" fmla="*/ 327 h 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075" name="Freeform 58"/>
            <p:cNvSpPr>
              <a:spLocks noChangeArrowheads="1"/>
            </p:cNvSpPr>
            <p:nvPr/>
          </p:nvSpPr>
          <p:spPr bwMode="auto">
            <a:xfrm>
              <a:off x="5331" y="61"/>
              <a:ext cx="14" cy="14"/>
            </a:xfrm>
            <a:custGeom>
              <a:avLst/>
              <a:gdLst>
                <a:gd name="T0" fmla="*/ 182 w 9"/>
                <a:gd name="T1" fmla="*/ 327 h 9"/>
                <a:gd name="T2" fmla="*/ 182 w 9"/>
                <a:gd name="T3" fmla="*/ 327 h 9"/>
                <a:gd name="T4" fmla="*/ 0 w 9"/>
                <a:gd name="T5" fmla="*/ 182 h 9"/>
                <a:gd name="T6" fmla="*/ 0 w 9"/>
                <a:gd name="T7" fmla="*/ 148 h 9"/>
                <a:gd name="T8" fmla="*/ 182 w 9"/>
                <a:gd name="T9" fmla="*/ 0 h 9"/>
                <a:gd name="T10" fmla="*/ 182 w 9"/>
                <a:gd name="T11" fmla="*/ 0 h 9"/>
                <a:gd name="T12" fmla="*/ 327 w 9"/>
                <a:gd name="T13" fmla="*/ 182 h 9"/>
                <a:gd name="T14" fmla="*/ 182 w 9"/>
                <a:gd name="T15" fmla="*/ 327 h 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5" y="9"/>
                    <a:pt x="5" y="9"/>
                    <a:pt x="5" y="9"/>
                  </a:cubicBez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076" name="Freeform 59"/>
            <p:cNvSpPr>
              <a:spLocks noChangeArrowheads="1"/>
            </p:cNvSpPr>
            <p:nvPr/>
          </p:nvSpPr>
          <p:spPr bwMode="auto">
            <a:xfrm>
              <a:off x="5600" y="75"/>
              <a:ext cx="12" cy="12"/>
            </a:xfrm>
            <a:custGeom>
              <a:avLst/>
              <a:gdLst>
                <a:gd name="T0" fmla="*/ 64 w 9"/>
                <a:gd name="T1" fmla="*/ 116 h 9"/>
                <a:gd name="T2" fmla="*/ 49 w 9"/>
                <a:gd name="T3" fmla="*/ 116 h 9"/>
                <a:gd name="T4" fmla="*/ 0 w 9"/>
                <a:gd name="T5" fmla="*/ 49 h 9"/>
                <a:gd name="T6" fmla="*/ 49 w 9"/>
                <a:gd name="T7" fmla="*/ 0 h 9"/>
                <a:gd name="T8" fmla="*/ 64 w 9"/>
                <a:gd name="T9" fmla="*/ 0 h 9"/>
                <a:gd name="T10" fmla="*/ 113 w 9"/>
                <a:gd name="T11" fmla="*/ 49 h 9"/>
                <a:gd name="T12" fmla="*/ 64 w 9"/>
                <a:gd name="T13" fmla="*/ 116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077" name="Freeform 60"/>
            <p:cNvSpPr>
              <a:spLocks noChangeArrowheads="1"/>
            </p:cNvSpPr>
            <p:nvPr/>
          </p:nvSpPr>
          <p:spPr bwMode="auto">
            <a:xfrm>
              <a:off x="5580" y="61"/>
              <a:ext cx="11" cy="14"/>
            </a:xfrm>
            <a:custGeom>
              <a:avLst/>
              <a:gdLst>
                <a:gd name="T0" fmla="*/ 69 w 8"/>
                <a:gd name="T1" fmla="*/ 327 h 9"/>
                <a:gd name="T2" fmla="*/ 69 w 8"/>
                <a:gd name="T3" fmla="*/ 327 h 9"/>
                <a:gd name="T4" fmla="*/ 0 w 8"/>
                <a:gd name="T5" fmla="*/ 182 h 9"/>
                <a:gd name="T6" fmla="*/ 0 w 8"/>
                <a:gd name="T7" fmla="*/ 148 h 9"/>
                <a:gd name="T8" fmla="*/ 69 w 8"/>
                <a:gd name="T9" fmla="*/ 0 h 9"/>
                <a:gd name="T10" fmla="*/ 69 w 8"/>
                <a:gd name="T11" fmla="*/ 0 h 9"/>
                <a:gd name="T12" fmla="*/ 131 w 8"/>
                <a:gd name="T13" fmla="*/ 182 h 9"/>
                <a:gd name="T14" fmla="*/ 69 w 8"/>
                <a:gd name="T15" fmla="*/ 327 h 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6" y="0"/>
                    <a:pt x="8" y="2"/>
                    <a:pt x="8" y="5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078" name="Freeform 61"/>
            <p:cNvSpPr>
              <a:spLocks noChangeArrowheads="1"/>
            </p:cNvSpPr>
            <p:nvPr/>
          </p:nvSpPr>
          <p:spPr bwMode="auto">
            <a:xfrm>
              <a:off x="5558" y="75"/>
              <a:ext cx="12" cy="12"/>
            </a:xfrm>
            <a:custGeom>
              <a:avLst/>
              <a:gdLst>
                <a:gd name="T0" fmla="*/ 49 w 9"/>
                <a:gd name="T1" fmla="*/ 116 h 9"/>
                <a:gd name="T2" fmla="*/ 49 w 9"/>
                <a:gd name="T3" fmla="*/ 116 h 9"/>
                <a:gd name="T4" fmla="*/ 0 w 9"/>
                <a:gd name="T5" fmla="*/ 65 h 9"/>
                <a:gd name="T6" fmla="*/ 0 w 9"/>
                <a:gd name="T7" fmla="*/ 49 h 9"/>
                <a:gd name="T8" fmla="*/ 49 w 9"/>
                <a:gd name="T9" fmla="*/ 0 h 9"/>
                <a:gd name="T10" fmla="*/ 49 w 9"/>
                <a:gd name="T11" fmla="*/ 0 h 9"/>
                <a:gd name="T12" fmla="*/ 113 w 9"/>
                <a:gd name="T13" fmla="*/ 49 h 9"/>
                <a:gd name="T14" fmla="*/ 49 w 9"/>
                <a:gd name="T15" fmla="*/ 116 h 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079" name="Freeform 62"/>
            <p:cNvSpPr>
              <a:spLocks noChangeArrowheads="1"/>
            </p:cNvSpPr>
            <p:nvPr/>
          </p:nvSpPr>
          <p:spPr bwMode="auto">
            <a:xfrm>
              <a:off x="5538" y="61"/>
              <a:ext cx="12" cy="14"/>
            </a:xfrm>
            <a:custGeom>
              <a:avLst/>
              <a:gdLst>
                <a:gd name="T0" fmla="*/ 64 w 9"/>
                <a:gd name="T1" fmla="*/ 327 h 9"/>
                <a:gd name="T2" fmla="*/ 49 w 9"/>
                <a:gd name="T3" fmla="*/ 327 h 9"/>
                <a:gd name="T4" fmla="*/ 0 w 9"/>
                <a:gd name="T5" fmla="*/ 182 h 9"/>
                <a:gd name="T6" fmla="*/ 0 w 9"/>
                <a:gd name="T7" fmla="*/ 148 h 9"/>
                <a:gd name="T8" fmla="*/ 49 w 9"/>
                <a:gd name="T9" fmla="*/ 0 h 9"/>
                <a:gd name="T10" fmla="*/ 64 w 9"/>
                <a:gd name="T11" fmla="*/ 0 h 9"/>
                <a:gd name="T12" fmla="*/ 113 w 9"/>
                <a:gd name="T13" fmla="*/ 182 h 9"/>
                <a:gd name="T14" fmla="*/ 64 w 9"/>
                <a:gd name="T15" fmla="*/ 327 h 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080" name="Freeform 63"/>
            <p:cNvSpPr>
              <a:spLocks noChangeArrowheads="1"/>
            </p:cNvSpPr>
            <p:nvPr/>
          </p:nvSpPr>
          <p:spPr bwMode="auto">
            <a:xfrm>
              <a:off x="5496" y="61"/>
              <a:ext cx="12" cy="14"/>
            </a:xfrm>
            <a:custGeom>
              <a:avLst/>
              <a:gdLst>
                <a:gd name="T0" fmla="*/ 49 w 9"/>
                <a:gd name="T1" fmla="*/ 327 h 9"/>
                <a:gd name="T2" fmla="*/ 49 w 9"/>
                <a:gd name="T3" fmla="*/ 327 h 9"/>
                <a:gd name="T4" fmla="*/ 0 w 9"/>
                <a:gd name="T5" fmla="*/ 182 h 9"/>
                <a:gd name="T6" fmla="*/ 0 w 9"/>
                <a:gd name="T7" fmla="*/ 148 h 9"/>
                <a:gd name="T8" fmla="*/ 49 w 9"/>
                <a:gd name="T9" fmla="*/ 0 h 9"/>
                <a:gd name="T10" fmla="*/ 49 w 9"/>
                <a:gd name="T11" fmla="*/ 0 h 9"/>
                <a:gd name="T12" fmla="*/ 113 w 9"/>
                <a:gd name="T13" fmla="*/ 182 h 9"/>
                <a:gd name="T14" fmla="*/ 49 w 9"/>
                <a:gd name="T15" fmla="*/ 327 h 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081" name="Freeform 64"/>
            <p:cNvSpPr>
              <a:spLocks noChangeArrowheads="1"/>
            </p:cNvSpPr>
            <p:nvPr/>
          </p:nvSpPr>
          <p:spPr bwMode="auto">
            <a:xfrm>
              <a:off x="5455" y="61"/>
              <a:ext cx="13" cy="14"/>
            </a:xfrm>
            <a:custGeom>
              <a:avLst/>
              <a:gdLst>
                <a:gd name="T0" fmla="*/ 108 w 9"/>
                <a:gd name="T1" fmla="*/ 327 h 9"/>
                <a:gd name="T2" fmla="*/ 108 w 9"/>
                <a:gd name="T3" fmla="*/ 327 h 9"/>
                <a:gd name="T4" fmla="*/ 0 w 9"/>
                <a:gd name="T5" fmla="*/ 182 h 9"/>
                <a:gd name="T6" fmla="*/ 108 w 9"/>
                <a:gd name="T7" fmla="*/ 0 h 9"/>
                <a:gd name="T8" fmla="*/ 108 w 9"/>
                <a:gd name="T9" fmla="*/ 0 h 9"/>
                <a:gd name="T10" fmla="*/ 188 w 9"/>
                <a:gd name="T11" fmla="*/ 182 h 9"/>
                <a:gd name="T12" fmla="*/ 108 w 9"/>
                <a:gd name="T13" fmla="*/ 327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5" y="9"/>
                    <a:pt x="5" y="9"/>
                    <a:pt x="5" y="9"/>
                  </a:cubicBezTo>
                  <a:cubicBezTo>
                    <a:pt x="2" y="9"/>
                    <a:pt x="0" y="7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082" name="Freeform 65"/>
            <p:cNvSpPr>
              <a:spLocks noChangeArrowheads="1"/>
            </p:cNvSpPr>
            <p:nvPr/>
          </p:nvSpPr>
          <p:spPr bwMode="auto">
            <a:xfrm>
              <a:off x="5744" y="61"/>
              <a:ext cx="13" cy="14"/>
            </a:xfrm>
            <a:custGeom>
              <a:avLst/>
              <a:gdLst>
                <a:gd name="T0" fmla="*/ 108 w 9"/>
                <a:gd name="T1" fmla="*/ 327 h 9"/>
                <a:gd name="T2" fmla="*/ 81 w 9"/>
                <a:gd name="T3" fmla="*/ 327 h 9"/>
                <a:gd name="T4" fmla="*/ 0 w 9"/>
                <a:gd name="T5" fmla="*/ 182 h 9"/>
                <a:gd name="T6" fmla="*/ 81 w 9"/>
                <a:gd name="T7" fmla="*/ 0 h 9"/>
                <a:gd name="T8" fmla="*/ 108 w 9"/>
                <a:gd name="T9" fmla="*/ 0 h 9"/>
                <a:gd name="T10" fmla="*/ 188 w 9"/>
                <a:gd name="T11" fmla="*/ 182 h 9"/>
                <a:gd name="T12" fmla="*/ 108 w 9"/>
                <a:gd name="T13" fmla="*/ 327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083" name="Freeform 66"/>
            <p:cNvSpPr>
              <a:spLocks noChangeArrowheads="1"/>
            </p:cNvSpPr>
            <p:nvPr/>
          </p:nvSpPr>
          <p:spPr bwMode="auto">
            <a:xfrm>
              <a:off x="5723" y="75"/>
              <a:ext cx="12" cy="12"/>
            </a:xfrm>
            <a:custGeom>
              <a:avLst/>
              <a:gdLst>
                <a:gd name="T0" fmla="*/ 64 w 9"/>
                <a:gd name="T1" fmla="*/ 116 h 9"/>
                <a:gd name="T2" fmla="*/ 64 w 9"/>
                <a:gd name="T3" fmla="*/ 116 h 9"/>
                <a:gd name="T4" fmla="*/ 0 w 9"/>
                <a:gd name="T5" fmla="*/ 65 h 9"/>
                <a:gd name="T6" fmla="*/ 0 w 9"/>
                <a:gd name="T7" fmla="*/ 49 h 9"/>
                <a:gd name="T8" fmla="*/ 64 w 9"/>
                <a:gd name="T9" fmla="*/ 0 h 9"/>
                <a:gd name="T10" fmla="*/ 64 w 9"/>
                <a:gd name="T11" fmla="*/ 0 h 9"/>
                <a:gd name="T12" fmla="*/ 113 w 9"/>
                <a:gd name="T13" fmla="*/ 49 h 9"/>
                <a:gd name="T14" fmla="*/ 64 w 9"/>
                <a:gd name="T15" fmla="*/ 116 h 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5" y="9"/>
                    <a:pt x="5" y="9"/>
                    <a:pt x="5" y="9"/>
                  </a:cubicBez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084" name="Freeform 67"/>
            <p:cNvSpPr>
              <a:spLocks noChangeArrowheads="1"/>
            </p:cNvSpPr>
            <p:nvPr/>
          </p:nvSpPr>
          <p:spPr bwMode="auto">
            <a:xfrm>
              <a:off x="5703" y="61"/>
              <a:ext cx="11" cy="14"/>
            </a:xfrm>
            <a:custGeom>
              <a:avLst/>
              <a:gdLst>
                <a:gd name="T0" fmla="*/ 69 w 8"/>
                <a:gd name="T1" fmla="*/ 327 h 9"/>
                <a:gd name="T2" fmla="*/ 69 w 8"/>
                <a:gd name="T3" fmla="*/ 327 h 9"/>
                <a:gd name="T4" fmla="*/ 0 w 8"/>
                <a:gd name="T5" fmla="*/ 182 h 9"/>
                <a:gd name="T6" fmla="*/ 0 w 8"/>
                <a:gd name="T7" fmla="*/ 148 h 9"/>
                <a:gd name="T8" fmla="*/ 69 w 8"/>
                <a:gd name="T9" fmla="*/ 0 h 9"/>
                <a:gd name="T10" fmla="*/ 69 w 8"/>
                <a:gd name="T11" fmla="*/ 0 h 9"/>
                <a:gd name="T12" fmla="*/ 131 w 8"/>
                <a:gd name="T13" fmla="*/ 182 h 9"/>
                <a:gd name="T14" fmla="*/ 69 w 8"/>
                <a:gd name="T15" fmla="*/ 327 h 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7" y="0"/>
                    <a:pt x="8" y="2"/>
                    <a:pt x="8" y="5"/>
                  </a:cubicBezTo>
                  <a:cubicBezTo>
                    <a:pt x="8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085" name="Freeform 68"/>
            <p:cNvSpPr>
              <a:spLocks noChangeArrowheads="1"/>
            </p:cNvSpPr>
            <p:nvPr/>
          </p:nvSpPr>
          <p:spPr bwMode="auto">
            <a:xfrm>
              <a:off x="5682" y="75"/>
              <a:ext cx="12" cy="12"/>
            </a:xfrm>
            <a:custGeom>
              <a:avLst/>
              <a:gdLst>
                <a:gd name="T0" fmla="*/ 64 w 9"/>
                <a:gd name="T1" fmla="*/ 116 h 9"/>
                <a:gd name="T2" fmla="*/ 49 w 9"/>
                <a:gd name="T3" fmla="*/ 116 h 9"/>
                <a:gd name="T4" fmla="*/ 0 w 9"/>
                <a:gd name="T5" fmla="*/ 49 h 9"/>
                <a:gd name="T6" fmla="*/ 49 w 9"/>
                <a:gd name="T7" fmla="*/ 0 h 9"/>
                <a:gd name="T8" fmla="*/ 49 w 9"/>
                <a:gd name="T9" fmla="*/ 0 h 9"/>
                <a:gd name="T10" fmla="*/ 113 w 9"/>
                <a:gd name="T11" fmla="*/ 49 h 9"/>
                <a:gd name="T12" fmla="*/ 64 w 9"/>
                <a:gd name="T13" fmla="*/ 116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086" name="Freeform 69"/>
            <p:cNvSpPr>
              <a:spLocks noChangeArrowheads="1"/>
            </p:cNvSpPr>
            <p:nvPr/>
          </p:nvSpPr>
          <p:spPr bwMode="auto">
            <a:xfrm>
              <a:off x="5661" y="61"/>
              <a:ext cx="12" cy="14"/>
            </a:xfrm>
            <a:custGeom>
              <a:avLst/>
              <a:gdLst>
                <a:gd name="T0" fmla="*/ 64 w 9"/>
                <a:gd name="T1" fmla="*/ 327 h 9"/>
                <a:gd name="T2" fmla="*/ 64 w 9"/>
                <a:gd name="T3" fmla="*/ 327 h 9"/>
                <a:gd name="T4" fmla="*/ 0 w 9"/>
                <a:gd name="T5" fmla="*/ 182 h 9"/>
                <a:gd name="T6" fmla="*/ 0 w 9"/>
                <a:gd name="T7" fmla="*/ 148 h 9"/>
                <a:gd name="T8" fmla="*/ 64 w 9"/>
                <a:gd name="T9" fmla="*/ 0 h 9"/>
                <a:gd name="T10" fmla="*/ 64 w 9"/>
                <a:gd name="T11" fmla="*/ 0 h 9"/>
                <a:gd name="T12" fmla="*/ 113 w 9"/>
                <a:gd name="T13" fmla="*/ 182 h 9"/>
                <a:gd name="T14" fmla="*/ 64 w 9"/>
                <a:gd name="T15" fmla="*/ 327 h 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5" y="9"/>
                    <a:pt x="5" y="9"/>
                    <a:pt x="5" y="9"/>
                  </a:cubicBez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087" name="Freeform 70"/>
            <p:cNvSpPr>
              <a:spLocks noChangeArrowheads="1"/>
            </p:cNvSpPr>
            <p:nvPr/>
          </p:nvSpPr>
          <p:spPr bwMode="auto">
            <a:xfrm>
              <a:off x="5640" y="75"/>
              <a:ext cx="12" cy="12"/>
            </a:xfrm>
            <a:custGeom>
              <a:avLst/>
              <a:gdLst>
                <a:gd name="T0" fmla="*/ 120 w 8"/>
                <a:gd name="T1" fmla="*/ 116 h 9"/>
                <a:gd name="T2" fmla="*/ 120 w 8"/>
                <a:gd name="T3" fmla="*/ 116 h 9"/>
                <a:gd name="T4" fmla="*/ 0 w 8"/>
                <a:gd name="T5" fmla="*/ 65 h 9"/>
                <a:gd name="T6" fmla="*/ 0 w 8"/>
                <a:gd name="T7" fmla="*/ 49 h 9"/>
                <a:gd name="T8" fmla="*/ 120 w 8"/>
                <a:gd name="T9" fmla="*/ 0 h 9"/>
                <a:gd name="T10" fmla="*/ 120 w 8"/>
                <a:gd name="T11" fmla="*/ 0 h 9"/>
                <a:gd name="T12" fmla="*/ 230 w 8"/>
                <a:gd name="T13" fmla="*/ 49 h 9"/>
                <a:gd name="T14" fmla="*/ 230 w 8"/>
                <a:gd name="T15" fmla="*/ 65 h 9"/>
                <a:gd name="T16" fmla="*/ 120 w 8"/>
                <a:gd name="T17" fmla="*/ 116 h 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088" name="Freeform 71"/>
            <p:cNvSpPr>
              <a:spLocks noChangeArrowheads="1"/>
            </p:cNvSpPr>
            <p:nvPr/>
          </p:nvSpPr>
          <p:spPr bwMode="auto">
            <a:xfrm>
              <a:off x="5621" y="61"/>
              <a:ext cx="12" cy="14"/>
            </a:xfrm>
            <a:custGeom>
              <a:avLst/>
              <a:gdLst>
                <a:gd name="T0" fmla="*/ 49 w 9"/>
                <a:gd name="T1" fmla="*/ 327 h 9"/>
                <a:gd name="T2" fmla="*/ 49 w 9"/>
                <a:gd name="T3" fmla="*/ 327 h 9"/>
                <a:gd name="T4" fmla="*/ 0 w 9"/>
                <a:gd name="T5" fmla="*/ 182 h 9"/>
                <a:gd name="T6" fmla="*/ 49 w 9"/>
                <a:gd name="T7" fmla="*/ 0 h 9"/>
                <a:gd name="T8" fmla="*/ 49 w 9"/>
                <a:gd name="T9" fmla="*/ 0 h 9"/>
                <a:gd name="T10" fmla="*/ 113 w 9"/>
                <a:gd name="T11" fmla="*/ 182 h 9"/>
                <a:gd name="T12" fmla="*/ 49 w 9"/>
                <a:gd name="T13" fmla="*/ 327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089" name="Freeform 72"/>
            <p:cNvSpPr>
              <a:spLocks noChangeArrowheads="1"/>
            </p:cNvSpPr>
            <p:nvPr/>
          </p:nvSpPr>
          <p:spPr bwMode="auto">
            <a:xfrm>
              <a:off x="5393" y="75"/>
              <a:ext cx="13" cy="12"/>
            </a:xfrm>
            <a:custGeom>
              <a:avLst/>
              <a:gdLst>
                <a:gd name="T0" fmla="*/ 108 w 9"/>
                <a:gd name="T1" fmla="*/ 116 h 9"/>
                <a:gd name="T2" fmla="*/ 108 w 9"/>
                <a:gd name="T3" fmla="*/ 116 h 9"/>
                <a:gd name="T4" fmla="*/ 0 w 9"/>
                <a:gd name="T5" fmla="*/ 65 h 9"/>
                <a:gd name="T6" fmla="*/ 0 w 9"/>
                <a:gd name="T7" fmla="*/ 49 h 9"/>
                <a:gd name="T8" fmla="*/ 108 w 9"/>
                <a:gd name="T9" fmla="*/ 0 h 9"/>
                <a:gd name="T10" fmla="*/ 108 w 9"/>
                <a:gd name="T11" fmla="*/ 0 h 9"/>
                <a:gd name="T12" fmla="*/ 188 w 9"/>
                <a:gd name="T13" fmla="*/ 49 h 9"/>
                <a:gd name="T14" fmla="*/ 108 w 9"/>
                <a:gd name="T15" fmla="*/ 116 h 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5" y="9"/>
                    <a:pt x="5" y="9"/>
                    <a:pt x="5" y="9"/>
                  </a:cubicBez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090" name="Freeform 73"/>
            <p:cNvSpPr>
              <a:spLocks noChangeArrowheads="1"/>
            </p:cNvSpPr>
            <p:nvPr/>
          </p:nvSpPr>
          <p:spPr bwMode="auto">
            <a:xfrm>
              <a:off x="5312" y="75"/>
              <a:ext cx="11" cy="12"/>
            </a:xfrm>
            <a:custGeom>
              <a:avLst/>
              <a:gdLst>
                <a:gd name="T0" fmla="*/ 69 w 8"/>
                <a:gd name="T1" fmla="*/ 116 h 9"/>
                <a:gd name="T2" fmla="*/ 69 w 8"/>
                <a:gd name="T3" fmla="*/ 116 h 9"/>
                <a:gd name="T4" fmla="*/ 0 w 8"/>
                <a:gd name="T5" fmla="*/ 65 h 9"/>
                <a:gd name="T6" fmla="*/ 0 w 8"/>
                <a:gd name="T7" fmla="*/ 49 h 9"/>
                <a:gd name="T8" fmla="*/ 69 w 8"/>
                <a:gd name="T9" fmla="*/ 0 h 9"/>
                <a:gd name="T10" fmla="*/ 69 w 8"/>
                <a:gd name="T11" fmla="*/ 0 h 9"/>
                <a:gd name="T12" fmla="*/ 131 w 8"/>
                <a:gd name="T13" fmla="*/ 49 h 9"/>
                <a:gd name="T14" fmla="*/ 69 w 8"/>
                <a:gd name="T15" fmla="*/ 116 h 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091" name="Freeform 74"/>
            <p:cNvSpPr>
              <a:spLocks noChangeArrowheads="1"/>
            </p:cNvSpPr>
            <p:nvPr/>
          </p:nvSpPr>
          <p:spPr bwMode="auto">
            <a:xfrm>
              <a:off x="5374" y="61"/>
              <a:ext cx="11" cy="14"/>
            </a:xfrm>
            <a:custGeom>
              <a:avLst/>
              <a:gdLst>
                <a:gd name="T0" fmla="*/ 69 w 8"/>
                <a:gd name="T1" fmla="*/ 327 h 9"/>
                <a:gd name="T2" fmla="*/ 69 w 8"/>
                <a:gd name="T3" fmla="*/ 327 h 9"/>
                <a:gd name="T4" fmla="*/ 0 w 8"/>
                <a:gd name="T5" fmla="*/ 182 h 9"/>
                <a:gd name="T6" fmla="*/ 0 w 8"/>
                <a:gd name="T7" fmla="*/ 148 h 9"/>
                <a:gd name="T8" fmla="*/ 69 w 8"/>
                <a:gd name="T9" fmla="*/ 0 h 9"/>
                <a:gd name="T10" fmla="*/ 69 w 8"/>
                <a:gd name="T11" fmla="*/ 0 h 9"/>
                <a:gd name="T12" fmla="*/ 131 w 8"/>
                <a:gd name="T13" fmla="*/ 182 h 9"/>
                <a:gd name="T14" fmla="*/ 69 w 8"/>
                <a:gd name="T15" fmla="*/ 327 h 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6" y="0"/>
                    <a:pt x="8" y="2"/>
                    <a:pt x="8" y="5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092" name="Freeform 75"/>
            <p:cNvSpPr>
              <a:spLocks noChangeArrowheads="1"/>
            </p:cNvSpPr>
            <p:nvPr/>
          </p:nvSpPr>
          <p:spPr bwMode="auto">
            <a:xfrm>
              <a:off x="5353" y="75"/>
              <a:ext cx="12" cy="12"/>
            </a:xfrm>
            <a:custGeom>
              <a:avLst/>
              <a:gdLst>
                <a:gd name="T0" fmla="*/ 64 w 9"/>
                <a:gd name="T1" fmla="*/ 116 h 9"/>
                <a:gd name="T2" fmla="*/ 49 w 9"/>
                <a:gd name="T3" fmla="*/ 116 h 9"/>
                <a:gd name="T4" fmla="*/ 0 w 9"/>
                <a:gd name="T5" fmla="*/ 65 h 9"/>
                <a:gd name="T6" fmla="*/ 0 w 9"/>
                <a:gd name="T7" fmla="*/ 49 h 9"/>
                <a:gd name="T8" fmla="*/ 49 w 9"/>
                <a:gd name="T9" fmla="*/ 0 h 9"/>
                <a:gd name="T10" fmla="*/ 49 w 9"/>
                <a:gd name="T11" fmla="*/ 0 h 9"/>
                <a:gd name="T12" fmla="*/ 113 w 9"/>
                <a:gd name="T13" fmla="*/ 49 h 9"/>
                <a:gd name="T14" fmla="*/ 64 w 9"/>
                <a:gd name="T15" fmla="*/ 116 h 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093" name="Freeform 76"/>
            <p:cNvSpPr>
              <a:spLocks noChangeArrowheads="1"/>
            </p:cNvSpPr>
            <p:nvPr/>
          </p:nvSpPr>
          <p:spPr bwMode="auto">
            <a:xfrm>
              <a:off x="5436" y="96"/>
              <a:ext cx="12" cy="14"/>
            </a:xfrm>
            <a:custGeom>
              <a:avLst/>
              <a:gdLst>
                <a:gd name="T0" fmla="*/ 120 w 8"/>
                <a:gd name="T1" fmla="*/ 327 h 9"/>
                <a:gd name="T2" fmla="*/ 0 w 8"/>
                <a:gd name="T3" fmla="*/ 148 h 9"/>
                <a:gd name="T4" fmla="*/ 0 w 8"/>
                <a:gd name="T5" fmla="*/ 148 h 9"/>
                <a:gd name="T6" fmla="*/ 120 w 8"/>
                <a:gd name="T7" fmla="*/ 0 h 9"/>
                <a:gd name="T8" fmla="*/ 230 w 8"/>
                <a:gd name="T9" fmla="*/ 148 h 9"/>
                <a:gd name="T10" fmla="*/ 120 w 8"/>
                <a:gd name="T11" fmla="*/ 327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2" y="9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094" name="Freeform 77"/>
            <p:cNvSpPr>
              <a:spLocks noChangeArrowheads="1"/>
            </p:cNvSpPr>
            <p:nvPr/>
          </p:nvSpPr>
          <p:spPr bwMode="auto">
            <a:xfrm>
              <a:off x="5415" y="83"/>
              <a:ext cx="12" cy="12"/>
            </a:xfrm>
            <a:custGeom>
              <a:avLst/>
              <a:gdLst>
                <a:gd name="T0" fmla="*/ 49 w 9"/>
                <a:gd name="T1" fmla="*/ 113 h 9"/>
                <a:gd name="T2" fmla="*/ 0 w 9"/>
                <a:gd name="T3" fmla="*/ 64 h 9"/>
                <a:gd name="T4" fmla="*/ 0 w 9"/>
                <a:gd name="T5" fmla="*/ 49 h 9"/>
                <a:gd name="T6" fmla="*/ 49 w 9"/>
                <a:gd name="T7" fmla="*/ 0 h 9"/>
                <a:gd name="T8" fmla="*/ 113 w 9"/>
                <a:gd name="T9" fmla="*/ 49 h 9"/>
                <a:gd name="T10" fmla="*/ 49 w 9"/>
                <a:gd name="T11" fmla="*/ 113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095" name="Freeform 78"/>
            <p:cNvSpPr>
              <a:spLocks noChangeArrowheads="1"/>
            </p:cNvSpPr>
            <p:nvPr/>
          </p:nvSpPr>
          <p:spPr bwMode="auto">
            <a:xfrm>
              <a:off x="5331" y="83"/>
              <a:ext cx="14" cy="12"/>
            </a:xfrm>
            <a:custGeom>
              <a:avLst/>
              <a:gdLst>
                <a:gd name="T0" fmla="*/ 182 w 9"/>
                <a:gd name="T1" fmla="*/ 113 h 9"/>
                <a:gd name="T2" fmla="*/ 0 w 9"/>
                <a:gd name="T3" fmla="*/ 64 h 9"/>
                <a:gd name="T4" fmla="*/ 0 w 9"/>
                <a:gd name="T5" fmla="*/ 49 h 9"/>
                <a:gd name="T6" fmla="*/ 182 w 9"/>
                <a:gd name="T7" fmla="*/ 0 h 9"/>
                <a:gd name="T8" fmla="*/ 327 w 9"/>
                <a:gd name="T9" fmla="*/ 49 h 9"/>
                <a:gd name="T10" fmla="*/ 182 w 9"/>
                <a:gd name="T11" fmla="*/ 113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096" name="Oval 79"/>
            <p:cNvSpPr>
              <a:spLocks noChangeArrowheads="1"/>
            </p:cNvSpPr>
            <p:nvPr/>
          </p:nvSpPr>
          <p:spPr bwMode="auto">
            <a:xfrm>
              <a:off x="5600" y="96"/>
              <a:ext cx="12" cy="14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US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097" name="Freeform 80"/>
            <p:cNvSpPr>
              <a:spLocks noChangeArrowheads="1"/>
            </p:cNvSpPr>
            <p:nvPr/>
          </p:nvSpPr>
          <p:spPr bwMode="auto">
            <a:xfrm>
              <a:off x="5580" y="83"/>
              <a:ext cx="11" cy="12"/>
            </a:xfrm>
            <a:custGeom>
              <a:avLst/>
              <a:gdLst>
                <a:gd name="T0" fmla="*/ 69 w 8"/>
                <a:gd name="T1" fmla="*/ 113 h 9"/>
                <a:gd name="T2" fmla="*/ 0 w 8"/>
                <a:gd name="T3" fmla="*/ 64 h 9"/>
                <a:gd name="T4" fmla="*/ 0 w 8"/>
                <a:gd name="T5" fmla="*/ 49 h 9"/>
                <a:gd name="T6" fmla="*/ 69 w 8"/>
                <a:gd name="T7" fmla="*/ 0 h 9"/>
                <a:gd name="T8" fmla="*/ 131 w 8"/>
                <a:gd name="T9" fmla="*/ 49 h 9"/>
                <a:gd name="T10" fmla="*/ 69 w 8"/>
                <a:gd name="T11" fmla="*/ 113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098" name="Freeform 81"/>
            <p:cNvSpPr>
              <a:spLocks noChangeArrowheads="1"/>
            </p:cNvSpPr>
            <p:nvPr/>
          </p:nvSpPr>
          <p:spPr bwMode="auto">
            <a:xfrm>
              <a:off x="5558" y="96"/>
              <a:ext cx="12" cy="14"/>
            </a:xfrm>
            <a:custGeom>
              <a:avLst/>
              <a:gdLst>
                <a:gd name="T0" fmla="*/ 49 w 9"/>
                <a:gd name="T1" fmla="*/ 327 h 9"/>
                <a:gd name="T2" fmla="*/ 0 w 9"/>
                <a:gd name="T3" fmla="*/ 148 h 9"/>
                <a:gd name="T4" fmla="*/ 0 w 9"/>
                <a:gd name="T5" fmla="*/ 148 h 9"/>
                <a:gd name="T6" fmla="*/ 49 w 9"/>
                <a:gd name="T7" fmla="*/ 0 h 9"/>
                <a:gd name="T8" fmla="*/ 113 w 9"/>
                <a:gd name="T9" fmla="*/ 148 h 9"/>
                <a:gd name="T10" fmla="*/ 49 w 9"/>
                <a:gd name="T11" fmla="*/ 327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2" y="9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099" name="Freeform 82"/>
            <p:cNvSpPr>
              <a:spLocks noChangeArrowheads="1"/>
            </p:cNvSpPr>
            <p:nvPr/>
          </p:nvSpPr>
          <p:spPr bwMode="auto">
            <a:xfrm>
              <a:off x="5538" y="83"/>
              <a:ext cx="12" cy="12"/>
            </a:xfrm>
            <a:custGeom>
              <a:avLst/>
              <a:gdLst>
                <a:gd name="T0" fmla="*/ 64 w 9"/>
                <a:gd name="T1" fmla="*/ 113 h 9"/>
                <a:gd name="T2" fmla="*/ 0 w 9"/>
                <a:gd name="T3" fmla="*/ 64 h 9"/>
                <a:gd name="T4" fmla="*/ 0 w 9"/>
                <a:gd name="T5" fmla="*/ 49 h 9"/>
                <a:gd name="T6" fmla="*/ 64 w 9"/>
                <a:gd name="T7" fmla="*/ 0 h 9"/>
                <a:gd name="T8" fmla="*/ 113 w 9"/>
                <a:gd name="T9" fmla="*/ 49 h 9"/>
                <a:gd name="T10" fmla="*/ 64 w 9"/>
                <a:gd name="T11" fmla="*/ 113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100" name="Freeform 83"/>
            <p:cNvSpPr>
              <a:spLocks noChangeArrowheads="1"/>
            </p:cNvSpPr>
            <p:nvPr/>
          </p:nvSpPr>
          <p:spPr bwMode="auto">
            <a:xfrm>
              <a:off x="5518" y="96"/>
              <a:ext cx="12" cy="14"/>
            </a:xfrm>
            <a:custGeom>
              <a:avLst/>
              <a:gdLst>
                <a:gd name="T0" fmla="*/ 120 w 8"/>
                <a:gd name="T1" fmla="*/ 327 h 9"/>
                <a:gd name="T2" fmla="*/ 0 w 8"/>
                <a:gd name="T3" fmla="*/ 148 h 9"/>
                <a:gd name="T4" fmla="*/ 0 w 8"/>
                <a:gd name="T5" fmla="*/ 148 h 9"/>
                <a:gd name="T6" fmla="*/ 120 w 8"/>
                <a:gd name="T7" fmla="*/ 0 h 9"/>
                <a:gd name="T8" fmla="*/ 230 w 8"/>
                <a:gd name="T9" fmla="*/ 148 h 9"/>
                <a:gd name="T10" fmla="*/ 120 w 8"/>
                <a:gd name="T11" fmla="*/ 327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2" y="9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101" name="Oval 84"/>
            <p:cNvSpPr>
              <a:spLocks noChangeArrowheads="1"/>
            </p:cNvSpPr>
            <p:nvPr/>
          </p:nvSpPr>
          <p:spPr bwMode="auto">
            <a:xfrm>
              <a:off x="5455" y="83"/>
              <a:ext cx="13" cy="12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US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102" name="Oval 85"/>
            <p:cNvSpPr>
              <a:spLocks noChangeArrowheads="1"/>
            </p:cNvSpPr>
            <p:nvPr/>
          </p:nvSpPr>
          <p:spPr bwMode="auto">
            <a:xfrm>
              <a:off x="5744" y="83"/>
              <a:ext cx="13" cy="12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US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103" name="Freeform 86"/>
            <p:cNvSpPr>
              <a:spLocks noChangeArrowheads="1"/>
            </p:cNvSpPr>
            <p:nvPr/>
          </p:nvSpPr>
          <p:spPr bwMode="auto">
            <a:xfrm>
              <a:off x="5723" y="96"/>
              <a:ext cx="12" cy="14"/>
            </a:xfrm>
            <a:custGeom>
              <a:avLst/>
              <a:gdLst>
                <a:gd name="T0" fmla="*/ 64 w 9"/>
                <a:gd name="T1" fmla="*/ 327 h 9"/>
                <a:gd name="T2" fmla="*/ 0 w 9"/>
                <a:gd name="T3" fmla="*/ 148 h 9"/>
                <a:gd name="T4" fmla="*/ 0 w 9"/>
                <a:gd name="T5" fmla="*/ 148 h 9"/>
                <a:gd name="T6" fmla="*/ 64 w 9"/>
                <a:gd name="T7" fmla="*/ 0 h 9"/>
                <a:gd name="T8" fmla="*/ 113 w 9"/>
                <a:gd name="T9" fmla="*/ 148 h 9"/>
                <a:gd name="T10" fmla="*/ 64 w 9"/>
                <a:gd name="T11" fmla="*/ 327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2" y="9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104" name="Freeform 87"/>
            <p:cNvSpPr>
              <a:spLocks noChangeArrowheads="1"/>
            </p:cNvSpPr>
            <p:nvPr/>
          </p:nvSpPr>
          <p:spPr bwMode="auto">
            <a:xfrm>
              <a:off x="5703" y="83"/>
              <a:ext cx="11" cy="12"/>
            </a:xfrm>
            <a:custGeom>
              <a:avLst/>
              <a:gdLst>
                <a:gd name="T0" fmla="*/ 69 w 8"/>
                <a:gd name="T1" fmla="*/ 113 h 9"/>
                <a:gd name="T2" fmla="*/ 0 w 8"/>
                <a:gd name="T3" fmla="*/ 64 h 9"/>
                <a:gd name="T4" fmla="*/ 0 w 8"/>
                <a:gd name="T5" fmla="*/ 49 h 9"/>
                <a:gd name="T6" fmla="*/ 69 w 8"/>
                <a:gd name="T7" fmla="*/ 0 h 9"/>
                <a:gd name="T8" fmla="*/ 131 w 8"/>
                <a:gd name="T9" fmla="*/ 49 h 9"/>
                <a:gd name="T10" fmla="*/ 69 w 8"/>
                <a:gd name="T11" fmla="*/ 113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105" name="Oval 88"/>
            <p:cNvSpPr>
              <a:spLocks noChangeArrowheads="1"/>
            </p:cNvSpPr>
            <p:nvPr/>
          </p:nvSpPr>
          <p:spPr bwMode="auto">
            <a:xfrm>
              <a:off x="5682" y="96"/>
              <a:ext cx="12" cy="14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US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106" name="Freeform 89"/>
            <p:cNvSpPr>
              <a:spLocks noChangeArrowheads="1"/>
            </p:cNvSpPr>
            <p:nvPr/>
          </p:nvSpPr>
          <p:spPr bwMode="auto">
            <a:xfrm>
              <a:off x="5661" y="83"/>
              <a:ext cx="12" cy="12"/>
            </a:xfrm>
            <a:custGeom>
              <a:avLst/>
              <a:gdLst>
                <a:gd name="T0" fmla="*/ 64 w 9"/>
                <a:gd name="T1" fmla="*/ 113 h 9"/>
                <a:gd name="T2" fmla="*/ 0 w 9"/>
                <a:gd name="T3" fmla="*/ 64 h 9"/>
                <a:gd name="T4" fmla="*/ 0 w 9"/>
                <a:gd name="T5" fmla="*/ 49 h 9"/>
                <a:gd name="T6" fmla="*/ 64 w 9"/>
                <a:gd name="T7" fmla="*/ 0 h 9"/>
                <a:gd name="T8" fmla="*/ 113 w 9"/>
                <a:gd name="T9" fmla="*/ 49 h 9"/>
                <a:gd name="T10" fmla="*/ 64 w 9"/>
                <a:gd name="T11" fmla="*/ 113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107" name="Freeform 90"/>
            <p:cNvSpPr>
              <a:spLocks noChangeArrowheads="1"/>
            </p:cNvSpPr>
            <p:nvPr/>
          </p:nvSpPr>
          <p:spPr bwMode="auto">
            <a:xfrm>
              <a:off x="5640" y="96"/>
              <a:ext cx="12" cy="14"/>
            </a:xfrm>
            <a:custGeom>
              <a:avLst/>
              <a:gdLst>
                <a:gd name="T0" fmla="*/ 120 w 8"/>
                <a:gd name="T1" fmla="*/ 327 h 9"/>
                <a:gd name="T2" fmla="*/ 0 w 8"/>
                <a:gd name="T3" fmla="*/ 148 h 9"/>
                <a:gd name="T4" fmla="*/ 0 w 8"/>
                <a:gd name="T5" fmla="*/ 148 h 9"/>
                <a:gd name="T6" fmla="*/ 120 w 8"/>
                <a:gd name="T7" fmla="*/ 0 h 9"/>
                <a:gd name="T8" fmla="*/ 230 w 8"/>
                <a:gd name="T9" fmla="*/ 148 h 9"/>
                <a:gd name="T10" fmla="*/ 230 w 8"/>
                <a:gd name="T11" fmla="*/ 148 h 9"/>
                <a:gd name="T12" fmla="*/ 120 w 8"/>
                <a:gd name="T13" fmla="*/ 327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2" y="9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108" name="Oval 91"/>
            <p:cNvSpPr>
              <a:spLocks noChangeArrowheads="1"/>
            </p:cNvSpPr>
            <p:nvPr/>
          </p:nvSpPr>
          <p:spPr bwMode="auto">
            <a:xfrm>
              <a:off x="5621" y="83"/>
              <a:ext cx="12" cy="12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US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109" name="Freeform 92"/>
            <p:cNvSpPr>
              <a:spLocks noChangeArrowheads="1"/>
            </p:cNvSpPr>
            <p:nvPr/>
          </p:nvSpPr>
          <p:spPr bwMode="auto">
            <a:xfrm>
              <a:off x="5393" y="96"/>
              <a:ext cx="13" cy="14"/>
            </a:xfrm>
            <a:custGeom>
              <a:avLst/>
              <a:gdLst>
                <a:gd name="T0" fmla="*/ 108 w 9"/>
                <a:gd name="T1" fmla="*/ 327 h 9"/>
                <a:gd name="T2" fmla="*/ 0 w 9"/>
                <a:gd name="T3" fmla="*/ 148 h 9"/>
                <a:gd name="T4" fmla="*/ 0 w 9"/>
                <a:gd name="T5" fmla="*/ 148 h 9"/>
                <a:gd name="T6" fmla="*/ 108 w 9"/>
                <a:gd name="T7" fmla="*/ 0 h 9"/>
                <a:gd name="T8" fmla="*/ 188 w 9"/>
                <a:gd name="T9" fmla="*/ 148 h 9"/>
                <a:gd name="T10" fmla="*/ 108 w 9"/>
                <a:gd name="T11" fmla="*/ 327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2" y="9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110" name="Freeform 93"/>
            <p:cNvSpPr>
              <a:spLocks noChangeArrowheads="1"/>
            </p:cNvSpPr>
            <p:nvPr/>
          </p:nvSpPr>
          <p:spPr bwMode="auto">
            <a:xfrm>
              <a:off x="5312" y="96"/>
              <a:ext cx="11" cy="14"/>
            </a:xfrm>
            <a:custGeom>
              <a:avLst/>
              <a:gdLst>
                <a:gd name="T0" fmla="*/ 69 w 8"/>
                <a:gd name="T1" fmla="*/ 327 h 9"/>
                <a:gd name="T2" fmla="*/ 0 w 8"/>
                <a:gd name="T3" fmla="*/ 148 h 9"/>
                <a:gd name="T4" fmla="*/ 0 w 8"/>
                <a:gd name="T5" fmla="*/ 148 h 9"/>
                <a:gd name="T6" fmla="*/ 69 w 8"/>
                <a:gd name="T7" fmla="*/ 0 h 9"/>
                <a:gd name="T8" fmla="*/ 131 w 8"/>
                <a:gd name="T9" fmla="*/ 148 h 9"/>
                <a:gd name="T10" fmla="*/ 69 w 8"/>
                <a:gd name="T11" fmla="*/ 327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2" y="9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111" name="Freeform 94"/>
            <p:cNvSpPr>
              <a:spLocks noChangeArrowheads="1"/>
            </p:cNvSpPr>
            <p:nvPr/>
          </p:nvSpPr>
          <p:spPr bwMode="auto">
            <a:xfrm>
              <a:off x="5374" y="83"/>
              <a:ext cx="11" cy="12"/>
            </a:xfrm>
            <a:custGeom>
              <a:avLst/>
              <a:gdLst>
                <a:gd name="T0" fmla="*/ 69 w 8"/>
                <a:gd name="T1" fmla="*/ 113 h 9"/>
                <a:gd name="T2" fmla="*/ 0 w 8"/>
                <a:gd name="T3" fmla="*/ 64 h 9"/>
                <a:gd name="T4" fmla="*/ 0 w 8"/>
                <a:gd name="T5" fmla="*/ 49 h 9"/>
                <a:gd name="T6" fmla="*/ 69 w 8"/>
                <a:gd name="T7" fmla="*/ 0 h 9"/>
                <a:gd name="T8" fmla="*/ 131 w 8"/>
                <a:gd name="T9" fmla="*/ 49 h 9"/>
                <a:gd name="T10" fmla="*/ 69 w 8"/>
                <a:gd name="T11" fmla="*/ 113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112" name="Freeform 95"/>
            <p:cNvSpPr>
              <a:spLocks noChangeArrowheads="1"/>
            </p:cNvSpPr>
            <p:nvPr/>
          </p:nvSpPr>
          <p:spPr bwMode="auto">
            <a:xfrm>
              <a:off x="5353" y="96"/>
              <a:ext cx="12" cy="14"/>
            </a:xfrm>
            <a:custGeom>
              <a:avLst/>
              <a:gdLst>
                <a:gd name="T0" fmla="*/ 49 w 9"/>
                <a:gd name="T1" fmla="*/ 327 h 9"/>
                <a:gd name="T2" fmla="*/ 0 w 9"/>
                <a:gd name="T3" fmla="*/ 148 h 9"/>
                <a:gd name="T4" fmla="*/ 0 w 9"/>
                <a:gd name="T5" fmla="*/ 148 h 9"/>
                <a:gd name="T6" fmla="*/ 49 w 9"/>
                <a:gd name="T7" fmla="*/ 0 h 9"/>
                <a:gd name="T8" fmla="*/ 113 w 9"/>
                <a:gd name="T9" fmla="*/ 148 h 9"/>
                <a:gd name="T10" fmla="*/ 49 w 9"/>
                <a:gd name="T11" fmla="*/ 327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2" y="9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113" name="Freeform 96"/>
            <p:cNvSpPr>
              <a:spLocks noChangeArrowheads="1"/>
            </p:cNvSpPr>
            <p:nvPr/>
          </p:nvSpPr>
          <p:spPr bwMode="auto">
            <a:xfrm>
              <a:off x="5436" y="118"/>
              <a:ext cx="12" cy="11"/>
            </a:xfrm>
            <a:custGeom>
              <a:avLst/>
              <a:gdLst>
                <a:gd name="T0" fmla="*/ 120 w 8"/>
                <a:gd name="T1" fmla="*/ 131 h 8"/>
                <a:gd name="T2" fmla="*/ 120 w 8"/>
                <a:gd name="T3" fmla="*/ 131 h 8"/>
                <a:gd name="T4" fmla="*/ 0 w 8"/>
                <a:gd name="T5" fmla="*/ 69 h 8"/>
                <a:gd name="T6" fmla="*/ 0 w 8"/>
                <a:gd name="T7" fmla="*/ 69 h 8"/>
                <a:gd name="T8" fmla="*/ 120 w 8"/>
                <a:gd name="T9" fmla="*/ 0 h 8"/>
                <a:gd name="T10" fmla="*/ 230 w 8"/>
                <a:gd name="T11" fmla="*/ 69 h 8"/>
                <a:gd name="T12" fmla="*/ 120 w 8"/>
                <a:gd name="T13" fmla="*/ 131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" h="8">
                  <a:moveTo>
                    <a:pt x="4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6"/>
                    <a:pt x="7" y="8"/>
                    <a:pt x="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114" name="Freeform 97"/>
            <p:cNvSpPr>
              <a:spLocks noChangeArrowheads="1"/>
            </p:cNvSpPr>
            <p:nvPr/>
          </p:nvSpPr>
          <p:spPr bwMode="auto">
            <a:xfrm>
              <a:off x="5415" y="104"/>
              <a:ext cx="12" cy="12"/>
            </a:xfrm>
            <a:custGeom>
              <a:avLst/>
              <a:gdLst>
                <a:gd name="T0" fmla="*/ 49 w 9"/>
                <a:gd name="T1" fmla="*/ 113 h 9"/>
                <a:gd name="T2" fmla="*/ 0 w 9"/>
                <a:gd name="T3" fmla="*/ 49 h 9"/>
                <a:gd name="T4" fmla="*/ 0 w 9"/>
                <a:gd name="T5" fmla="*/ 49 h 9"/>
                <a:gd name="T6" fmla="*/ 49 w 9"/>
                <a:gd name="T7" fmla="*/ 0 h 9"/>
                <a:gd name="T8" fmla="*/ 113 w 9"/>
                <a:gd name="T9" fmla="*/ 49 h 9"/>
                <a:gd name="T10" fmla="*/ 49 w 9"/>
                <a:gd name="T11" fmla="*/ 113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2" y="9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115" name="Freeform 98"/>
            <p:cNvSpPr>
              <a:spLocks noChangeArrowheads="1"/>
            </p:cNvSpPr>
            <p:nvPr/>
          </p:nvSpPr>
          <p:spPr bwMode="auto">
            <a:xfrm>
              <a:off x="5331" y="104"/>
              <a:ext cx="14" cy="12"/>
            </a:xfrm>
            <a:custGeom>
              <a:avLst/>
              <a:gdLst>
                <a:gd name="T0" fmla="*/ 182 w 9"/>
                <a:gd name="T1" fmla="*/ 113 h 9"/>
                <a:gd name="T2" fmla="*/ 0 w 9"/>
                <a:gd name="T3" fmla="*/ 49 h 9"/>
                <a:gd name="T4" fmla="*/ 0 w 9"/>
                <a:gd name="T5" fmla="*/ 49 h 9"/>
                <a:gd name="T6" fmla="*/ 182 w 9"/>
                <a:gd name="T7" fmla="*/ 0 h 9"/>
                <a:gd name="T8" fmla="*/ 327 w 9"/>
                <a:gd name="T9" fmla="*/ 49 h 9"/>
                <a:gd name="T10" fmla="*/ 182 w 9"/>
                <a:gd name="T11" fmla="*/ 113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2" y="9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116" name="Freeform 99"/>
            <p:cNvSpPr>
              <a:spLocks noChangeArrowheads="1"/>
            </p:cNvSpPr>
            <p:nvPr/>
          </p:nvSpPr>
          <p:spPr bwMode="auto">
            <a:xfrm>
              <a:off x="5600" y="118"/>
              <a:ext cx="12" cy="11"/>
            </a:xfrm>
            <a:custGeom>
              <a:avLst/>
              <a:gdLst>
                <a:gd name="T0" fmla="*/ 64 w 9"/>
                <a:gd name="T1" fmla="*/ 131 h 8"/>
                <a:gd name="T2" fmla="*/ 49 w 9"/>
                <a:gd name="T3" fmla="*/ 131 h 8"/>
                <a:gd name="T4" fmla="*/ 0 w 9"/>
                <a:gd name="T5" fmla="*/ 69 h 8"/>
                <a:gd name="T6" fmla="*/ 64 w 9"/>
                <a:gd name="T7" fmla="*/ 0 h 8"/>
                <a:gd name="T8" fmla="*/ 113 w 9"/>
                <a:gd name="T9" fmla="*/ 69 h 8"/>
                <a:gd name="T10" fmla="*/ 64 w 9"/>
                <a:gd name="T11" fmla="*/ 131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8">
                  <a:moveTo>
                    <a:pt x="5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6"/>
                    <a:pt x="7" y="8"/>
                    <a:pt x="5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117" name="Freeform 100"/>
            <p:cNvSpPr>
              <a:spLocks noChangeArrowheads="1"/>
            </p:cNvSpPr>
            <p:nvPr/>
          </p:nvSpPr>
          <p:spPr bwMode="auto">
            <a:xfrm>
              <a:off x="5580" y="104"/>
              <a:ext cx="11" cy="12"/>
            </a:xfrm>
            <a:custGeom>
              <a:avLst/>
              <a:gdLst>
                <a:gd name="T0" fmla="*/ 69 w 8"/>
                <a:gd name="T1" fmla="*/ 113 h 9"/>
                <a:gd name="T2" fmla="*/ 0 w 8"/>
                <a:gd name="T3" fmla="*/ 49 h 9"/>
                <a:gd name="T4" fmla="*/ 0 w 8"/>
                <a:gd name="T5" fmla="*/ 49 h 9"/>
                <a:gd name="T6" fmla="*/ 69 w 8"/>
                <a:gd name="T7" fmla="*/ 0 h 9"/>
                <a:gd name="T8" fmla="*/ 131 w 8"/>
                <a:gd name="T9" fmla="*/ 49 h 9"/>
                <a:gd name="T10" fmla="*/ 69 w 8"/>
                <a:gd name="T11" fmla="*/ 113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2" y="9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118" name="Freeform 101"/>
            <p:cNvSpPr>
              <a:spLocks noChangeArrowheads="1"/>
            </p:cNvSpPr>
            <p:nvPr/>
          </p:nvSpPr>
          <p:spPr bwMode="auto">
            <a:xfrm>
              <a:off x="5558" y="118"/>
              <a:ext cx="12" cy="11"/>
            </a:xfrm>
            <a:custGeom>
              <a:avLst/>
              <a:gdLst>
                <a:gd name="T0" fmla="*/ 49 w 9"/>
                <a:gd name="T1" fmla="*/ 131 h 8"/>
                <a:gd name="T2" fmla="*/ 49 w 9"/>
                <a:gd name="T3" fmla="*/ 131 h 8"/>
                <a:gd name="T4" fmla="*/ 0 w 9"/>
                <a:gd name="T5" fmla="*/ 69 h 8"/>
                <a:gd name="T6" fmla="*/ 0 w 9"/>
                <a:gd name="T7" fmla="*/ 69 h 8"/>
                <a:gd name="T8" fmla="*/ 49 w 9"/>
                <a:gd name="T9" fmla="*/ 0 h 8"/>
                <a:gd name="T10" fmla="*/ 113 w 9"/>
                <a:gd name="T11" fmla="*/ 69 h 8"/>
                <a:gd name="T12" fmla="*/ 49 w 9"/>
                <a:gd name="T13" fmla="*/ 131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8">
                  <a:moveTo>
                    <a:pt x="4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6"/>
                    <a:pt x="7" y="8"/>
                    <a:pt x="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119" name="Freeform 102"/>
            <p:cNvSpPr>
              <a:spLocks noChangeArrowheads="1"/>
            </p:cNvSpPr>
            <p:nvPr/>
          </p:nvSpPr>
          <p:spPr bwMode="auto">
            <a:xfrm>
              <a:off x="5538" y="104"/>
              <a:ext cx="12" cy="12"/>
            </a:xfrm>
            <a:custGeom>
              <a:avLst/>
              <a:gdLst>
                <a:gd name="T0" fmla="*/ 64 w 9"/>
                <a:gd name="T1" fmla="*/ 113 h 9"/>
                <a:gd name="T2" fmla="*/ 0 w 9"/>
                <a:gd name="T3" fmla="*/ 49 h 9"/>
                <a:gd name="T4" fmla="*/ 0 w 9"/>
                <a:gd name="T5" fmla="*/ 49 h 9"/>
                <a:gd name="T6" fmla="*/ 64 w 9"/>
                <a:gd name="T7" fmla="*/ 0 h 9"/>
                <a:gd name="T8" fmla="*/ 113 w 9"/>
                <a:gd name="T9" fmla="*/ 49 h 9"/>
                <a:gd name="T10" fmla="*/ 64 w 9"/>
                <a:gd name="T11" fmla="*/ 113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2" y="9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120" name="Freeform 103"/>
            <p:cNvSpPr>
              <a:spLocks noChangeArrowheads="1"/>
            </p:cNvSpPr>
            <p:nvPr/>
          </p:nvSpPr>
          <p:spPr bwMode="auto">
            <a:xfrm>
              <a:off x="5518" y="118"/>
              <a:ext cx="12" cy="11"/>
            </a:xfrm>
            <a:custGeom>
              <a:avLst/>
              <a:gdLst>
                <a:gd name="T0" fmla="*/ 120 w 8"/>
                <a:gd name="T1" fmla="*/ 131 h 8"/>
                <a:gd name="T2" fmla="*/ 120 w 8"/>
                <a:gd name="T3" fmla="*/ 131 h 8"/>
                <a:gd name="T4" fmla="*/ 0 w 8"/>
                <a:gd name="T5" fmla="*/ 69 h 8"/>
                <a:gd name="T6" fmla="*/ 0 w 8"/>
                <a:gd name="T7" fmla="*/ 69 h 8"/>
                <a:gd name="T8" fmla="*/ 120 w 8"/>
                <a:gd name="T9" fmla="*/ 0 h 8"/>
                <a:gd name="T10" fmla="*/ 230 w 8"/>
                <a:gd name="T11" fmla="*/ 69 h 8"/>
                <a:gd name="T12" fmla="*/ 120 w 8"/>
                <a:gd name="T13" fmla="*/ 131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" h="8">
                  <a:moveTo>
                    <a:pt x="4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1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6"/>
                    <a:pt x="6" y="8"/>
                    <a:pt x="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121" name="Oval 104"/>
            <p:cNvSpPr>
              <a:spLocks noChangeArrowheads="1"/>
            </p:cNvSpPr>
            <p:nvPr/>
          </p:nvSpPr>
          <p:spPr bwMode="auto">
            <a:xfrm>
              <a:off x="5455" y="104"/>
              <a:ext cx="13" cy="12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US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122" name="Oval 105"/>
            <p:cNvSpPr>
              <a:spLocks noChangeArrowheads="1"/>
            </p:cNvSpPr>
            <p:nvPr/>
          </p:nvSpPr>
          <p:spPr bwMode="auto">
            <a:xfrm>
              <a:off x="5744" y="104"/>
              <a:ext cx="13" cy="12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US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123" name="Freeform 106"/>
            <p:cNvSpPr>
              <a:spLocks noChangeArrowheads="1"/>
            </p:cNvSpPr>
            <p:nvPr/>
          </p:nvSpPr>
          <p:spPr bwMode="auto">
            <a:xfrm>
              <a:off x="5723" y="118"/>
              <a:ext cx="12" cy="11"/>
            </a:xfrm>
            <a:custGeom>
              <a:avLst/>
              <a:gdLst>
                <a:gd name="T0" fmla="*/ 64 w 9"/>
                <a:gd name="T1" fmla="*/ 131 h 8"/>
                <a:gd name="T2" fmla="*/ 64 w 9"/>
                <a:gd name="T3" fmla="*/ 131 h 8"/>
                <a:gd name="T4" fmla="*/ 0 w 9"/>
                <a:gd name="T5" fmla="*/ 69 h 8"/>
                <a:gd name="T6" fmla="*/ 0 w 9"/>
                <a:gd name="T7" fmla="*/ 69 h 8"/>
                <a:gd name="T8" fmla="*/ 64 w 9"/>
                <a:gd name="T9" fmla="*/ 0 h 8"/>
                <a:gd name="T10" fmla="*/ 113 w 9"/>
                <a:gd name="T11" fmla="*/ 69 h 8"/>
                <a:gd name="T12" fmla="*/ 64 w 9"/>
                <a:gd name="T13" fmla="*/ 131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8">
                  <a:moveTo>
                    <a:pt x="5" y="8"/>
                  </a:moveTo>
                  <a:cubicBezTo>
                    <a:pt x="5" y="8"/>
                    <a:pt x="5" y="8"/>
                    <a:pt x="5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6"/>
                    <a:pt x="7" y="8"/>
                    <a:pt x="5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124" name="Freeform 107"/>
            <p:cNvSpPr>
              <a:spLocks noChangeArrowheads="1"/>
            </p:cNvSpPr>
            <p:nvPr/>
          </p:nvSpPr>
          <p:spPr bwMode="auto">
            <a:xfrm>
              <a:off x="5703" y="104"/>
              <a:ext cx="11" cy="12"/>
            </a:xfrm>
            <a:custGeom>
              <a:avLst/>
              <a:gdLst>
                <a:gd name="T0" fmla="*/ 69 w 8"/>
                <a:gd name="T1" fmla="*/ 113 h 9"/>
                <a:gd name="T2" fmla="*/ 0 w 8"/>
                <a:gd name="T3" fmla="*/ 49 h 9"/>
                <a:gd name="T4" fmla="*/ 0 w 8"/>
                <a:gd name="T5" fmla="*/ 49 h 9"/>
                <a:gd name="T6" fmla="*/ 69 w 8"/>
                <a:gd name="T7" fmla="*/ 0 h 9"/>
                <a:gd name="T8" fmla="*/ 131 w 8"/>
                <a:gd name="T9" fmla="*/ 49 h 9"/>
                <a:gd name="T10" fmla="*/ 69 w 8"/>
                <a:gd name="T11" fmla="*/ 113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2" y="9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125" name="Freeform 108"/>
            <p:cNvSpPr>
              <a:spLocks noChangeArrowheads="1"/>
            </p:cNvSpPr>
            <p:nvPr/>
          </p:nvSpPr>
          <p:spPr bwMode="auto">
            <a:xfrm>
              <a:off x="5682" y="118"/>
              <a:ext cx="12" cy="11"/>
            </a:xfrm>
            <a:custGeom>
              <a:avLst/>
              <a:gdLst>
                <a:gd name="T0" fmla="*/ 49 w 9"/>
                <a:gd name="T1" fmla="*/ 131 h 8"/>
                <a:gd name="T2" fmla="*/ 49 w 9"/>
                <a:gd name="T3" fmla="*/ 131 h 8"/>
                <a:gd name="T4" fmla="*/ 0 w 9"/>
                <a:gd name="T5" fmla="*/ 69 h 8"/>
                <a:gd name="T6" fmla="*/ 49 w 9"/>
                <a:gd name="T7" fmla="*/ 0 h 8"/>
                <a:gd name="T8" fmla="*/ 113 w 9"/>
                <a:gd name="T9" fmla="*/ 69 h 8"/>
                <a:gd name="T10" fmla="*/ 49 w 9"/>
                <a:gd name="T11" fmla="*/ 131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8">
                  <a:moveTo>
                    <a:pt x="4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6"/>
                    <a:pt x="7" y="8"/>
                    <a:pt x="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126" name="Freeform 109"/>
            <p:cNvSpPr>
              <a:spLocks noChangeArrowheads="1"/>
            </p:cNvSpPr>
            <p:nvPr/>
          </p:nvSpPr>
          <p:spPr bwMode="auto">
            <a:xfrm>
              <a:off x="5661" y="104"/>
              <a:ext cx="12" cy="12"/>
            </a:xfrm>
            <a:custGeom>
              <a:avLst/>
              <a:gdLst>
                <a:gd name="T0" fmla="*/ 64 w 9"/>
                <a:gd name="T1" fmla="*/ 113 h 9"/>
                <a:gd name="T2" fmla="*/ 0 w 9"/>
                <a:gd name="T3" fmla="*/ 49 h 9"/>
                <a:gd name="T4" fmla="*/ 0 w 9"/>
                <a:gd name="T5" fmla="*/ 49 h 9"/>
                <a:gd name="T6" fmla="*/ 64 w 9"/>
                <a:gd name="T7" fmla="*/ 0 h 9"/>
                <a:gd name="T8" fmla="*/ 113 w 9"/>
                <a:gd name="T9" fmla="*/ 49 h 9"/>
                <a:gd name="T10" fmla="*/ 64 w 9"/>
                <a:gd name="T11" fmla="*/ 113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2" y="9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127" name="Freeform 110"/>
            <p:cNvSpPr>
              <a:spLocks noChangeArrowheads="1"/>
            </p:cNvSpPr>
            <p:nvPr/>
          </p:nvSpPr>
          <p:spPr bwMode="auto">
            <a:xfrm>
              <a:off x="5640" y="118"/>
              <a:ext cx="12" cy="11"/>
            </a:xfrm>
            <a:custGeom>
              <a:avLst/>
              <a:gdLst>
                <a:gd name="T0" fmla="*/ 120 w 8"/>
                <a:gd name="T1" fmla="*/ 131 h 8"/>
                <a:gd name="T2" fmla="*/ 120 w 8"/>
                <a:gd name="T3" fmla="*/ 131 h 8"/>
                <a:gd name="T4" fmla="*/ 0 w 8"/>
                <a:gd name="T5" fmla="*/ 69 h 8"/>
                <a:gd name="T6" fmla="*/ 0 w 8"/>
                <a:gd name="T7" fmla="*/ 69 h 8"/>
                <a:gd name="T8" fmla="*/ 120 w 8"/>
                <a:gd name="T9" fmla="*/ 0 h 8"/>
                <a:gd name="T10" fmla="*/ 230 w 8"/>
                <a:gd name="T11" fmla="*/ 69 h 8"/>
                <a:gd name="T12" fmla="*/ 230 w 8"/>
                <a:gd name="T13" fmla="*/ 69 h 8"/>
                <a:gd name="T14" fmla="*/ 120 w 8"/>
                <a:gd name="T15" fmla="*/ 131 h 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8" h="8">
                  <a:moveTo>
                    <a:pt x="4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6" y="8"/>
                    <a:pt x="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128" name="Oval 111"/>
            <p:cNvSpPr>
              <a:spLocks noChangeArrowheads="1"/>
            </p:cNvSpPr>
            <p:nvPr/>
          </p:nvSpPr>
          <p:spPr bwMode="auto">
            <a:xfrm>
              <a:off x="5621" y="104"/>
              <a:ext cx="12" cy="12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US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129" name="Freeform 112"/>
            <p:cNvSpPr>
              <a:spLocks noChangeArrowheads="1"/>
            </p:cNvSpPr>
            <p:nvPr/>
          </p:nvSpPr>
          <p:spPr bwMode="auto">
            <a:xfrm>
              <a:off x="5393" y="118"/>
              <a:ext cx="13" cy="11"/>
            </a:xfrm>
            <a:custGeom>
              <a:avLst/>
              <a:gdLst>
                <a:gd name="T0" fmla="*/ 108 w 9"/>
                <a:gd name="T1" fmla="*/ 131 h 8"/>
                <a:gd name="T2" fmla="*/ 108 w 9"/>
                <a:gd name="T3" fmla="*/ 131 h 8"/>
                <a:gd name="T4" fmla="*/ 0 w 9"/>
                <a:gd name="T5" fmla="*/ 69 h 8"/>
                <a:gd name="T6" fmla="*/ 0 w 9"/>
                <a:gd name="T7" fmla="*/ 69 h 8"/>
                <a:gd name="T8" fmla="*/ 108 w 9"/>
                <a:gd name="T9" fmla="*/ 0 h 8"/>
                <a:gd name="T10" fmla="*/ 188 w 9"/>
                <a:gd name="T11" fmla="*/ 69 h 8"/>
                <a:gd name="T12" fmla="*/ 108 w 9"/>
                <a:gd name="T13" fmla="*/ 131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8">
                  <a:moveTo>
                    <a:pt x="5" y="8"/>
                  </a:moveTo>
                  <a:cubicBezTo>
                    <a:pt x="5" y="8"/>
                    <a:pt x="5" y="8"/>
                    <a:pt x="5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6"/>
                    <a:pt x="7" y="8"/>
                    <a:pt x="5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130" name="Freeform 113"/>
            <p:cNvSpPr>
              <a:spLocks noChangeArrowheads="1"/>
            </p:cNvSpPr>
            <p:nvPr/>
          </p:nvSpPr>
          <p:spPr bwMode="auto">
            <a:xfrm>
              <a:off x="5312" y="118"/>
              <a:ext cx="11" cy="11"/>
            </a:xfrm>
            <a:custGeom>
              <a:avLst/>
              <a:gdLst>
                <a:gd name="T0" fmla="*/ 69 w 8"/>
                <a:gd name="T1" fmla="*/ 131 h 8"/>
                <a:gd name="T2" fmla="*/ 69 w 8"/>
                <a:gd name="T3" fmla="*/ 131 h 8"/>
                <a:gd name="T4" fmla="*/ 0 w 8"/>
                <a:gd name="T5" fmla="*/ 69 h 8"/>
                <a:gd name="T6" fmla="*/ 0 w 8"/>
                <a:gd name="T7" fmla="*/ 69 h 8"/>
                <a:gd name="T8" fmla="*/ 69 w 8"/>
                <a:gd name="T9" fmla="*/ 0 h 8"/>
                <a:gd name="T10" fmla="*/ 131 w 8"/>
                <a:gd name="T11" fmla="*/ 69 h 8"/>
                <a:gd name="T12" fmla="*/ 69 w 8"/>
                <a:gd name="T13" fmla="*/ 131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" h="8">
                  <a:moveTo>
                    <a:pt x="4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6"/>
                    <a:pt x="6" y="8"/>
                    <a:pt x="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131" name="Freeform 114"/>
            <p:cNvSpPr>
              <a:spLocks noChangeArrowheads="1"/>
            </p:cNvSpPr>
            <p:nvPr/>
          </p:nvSpPr>
          <p:spPr bwMode="auto">
            <a:xfrm>
              <a:off x="5374" y="104"/>
              <a:ext cx="11" cy="12"/>
            </a:xfrm>
            <a:custGeom>
              <a:avLst/>
              <a:gdLst>
                <a:gd name="T0" fmla="*/ 69 w 8"/>
                <a:gd name="T1" fmla="*/ 113 h 9"/>
                <a:gd name="T2" fmla="*/ 0 w 8"/>
                <a:gd name="T3" fmla="*/ 49 h 9"/>
                <a:gd name="T4" fmla="*/ 0 w 8"/>
                <a:gd name="T5" fmla="*/ 49 h 9"/>
                <a:gd name="T6" fmla="*/ 69 w 8"/>
                <a:gd name="T7" fmla="*/ 0 h 9"/>
                <a:gd name="T8" fmla="*/ 131 w 8"/>
                <a:gd name="T9" fmla="*/ 49 h 9"/>
                <a:gd name="T10" fmla="*/ 69 w 8"/>
                <a:gd name="T11" fmla="*/ 113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2" y="9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132" name="Freeform 115"/>
            <p:cNvSpPr>
              <a:spLocks noChangeArrowheads="1"/>
            </p:cNvSpPr>
            <p:nvPr/>
          </p:nvSpPr>
          <p:spPr bwMode="auto">
            <a:xfrm>
              <a:off x="5291" y="104"/>
              <a:ext cx="13" cy="12"/>
            </a:xfrm>
            <a:custGeom>
              <a:avLst/>
              <a:gdLst>
                <a:gd name="T0" fmla="*/ 81 w 9"/>
                <a:gd name="T1" fmla="*/ 113 h 9"/>
                <a:gd name="T2" fmla="*/ 0 w 9"/>
                <a:gd name="T3" fmla="*/ 49 h 9"/>
                <a:gd name="T4" fmla="*/ 0 w 9"/>
                <a:gd name="T5" fmla="*/ 49 h 9"/>
                <a:gd name="T6" fmla="*/ 81 w 9"/>
                <a:gd name="T7" fmla="*/ 0 h 9"/>
                <a:gd name="T8" fmla="*/ 188 w 9"/>
                <a:gd name="T9" fmla="*/ 49 h 9"/>
                <a:gd name="T10" fmla="*/ 81 w 9"/>
                <a:gd name="T11" fmla="*/ 113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2" y="9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133" name="Freeform 116"/>
            <p:cNvSpPr>
              <a:spLocks noChangeArrowheads="1"/>
            </p:cNvSpPr>
            <p:nvPr/>
          </p:nvSpPr>
          <p:spPr bwMode="auto">
            <a:xfrm>
              <a:off x="5353" y="118"/>
              <a:ext cx="12" cy="11"/>
            </a:xfrm>
            <a:custGeom>
              <a:avLst/>
              <a:gdLst>
                <a:gd name="T0" fmla="*/ 49 w 9"/>
                <a:gd name="T1" fmla="*/ 131 h 8"/>
                <a:gd name="T2" fmla="*/ 49 w 9"/>
                <a:gd name="T3" fmla="*/ 131 h 8"/>
                <a:gd name="T4" fmla="*/ 0 w 9"/>
                <a:gd name="T5" fmla="*/ 69 h 8"/>
                <a:gd name="T6" fmla="*/ 0 w 9"/>
                <a:gd name="T7" fmla="*/ 69 h 8"/>
                <a:gd name="T8" fmla="*/ 49 w 9"/>
                <a:gd name="T9" fmla="*/ 0 h 8"/>
                <a:gd name="T10" fmla="*/ 113 w 9"/>
                <a:gd name="T11" fmla="*/ 69 h 8"/>
                <a:gd name="T12" fmla="*/ 49 w 9"/>
                <a:gd name="T13" fmla="*/ 131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8">
                  <a:moveTo>
                    <a:pt x="4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6"/>
                    <a:pt x="7" y="8"/>
                    <a:pt x="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134" name="Freeform 117"/>
            <p:cNvSpPr>
              <a:spLocks noChangeArrowheads="1"/>
            </p:cNvSpPr>
            <p:nvPr/>
          </p:nvSpPr>
          <p:spPr bwMode="auto">
            <a:xfrm>
              <a:off x="5476" y="137"/>
              <a:ext cx="12" cy="12"/>
            </a:xfrm>
            <a:custGeom>
              <a:avLst/>
              <a:gdLst>
                <a:gd name="T0" fmla="*/ 49 w 9"/>
                <a:gd name="T1" fmla="*/ 116 h 9"/>
                <a:gd name="T2" fmla="*/ 0 w 9"/>
                <a:gd name="T3" fmla="*/ 65 h 9"/>
                <a:gd name="T4" fmla="*/ 0 w 9"/>
                <a:gd name="T5" fmla="*/ 65 h 9"/>
                <a:gd name="T6" fmla="*/ 49 w 9"/>
                <a:gd name="T7" fmla="*/ 0 h 9"/>
                <a:gd name="T8" fmla="*/ 116 w 9"/>
                <a:gd name="T9" fmla="*/ 65 h 9"/>
                <a:gd name="T10" fmla="*/ 49 w 9"/>
                <a:gd name="T11" fmla="*/ 116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135" name="Freeform 118"/>
            <p:cNvSpPr>
              <a:spLocks noChangeArrowheads="1"/>
            </p:cNvSpPr>
            <p:nvPr/>
          </p:nvSpPr>
          <p:spPr bwMode="auto">
            <a:xfrm>
              <a:off x="5436" y="137"/>
              <a:ext cx="12" cy="12"/>
            </a:xfrm>
            <a:custGeom>
              <a:avLst/>
              <a:gdLst>
                <a:gd name="T0" fmla="*/ 120 w 8"/>
                <a:gd name="T1" fmla="*/ 116 h 9"/>
                <a:gd name="T2" fmla="*/ 0 w 8"/>
                <a:gd name="T3" fmla="*/ 65 h 9"/>
                <a:gd name="T4" fmla="*/ 0 w 8"/>
                <a:gd name="T5" fmla="*/ 65 h 9"/>
                <a:gd name="T6" fmla="*/ 120 w 8"/>
                <a:gd name="T7" fmla="*/ 0 h 9"/>
                <a:gd name="T8" fmla="*/ 230 w 8"/>
                <a:gd name="T9" fmla="*/ 65 h 9"/>
                <a:gd name="T10" fmla="*/ 120 w 8"/>
                <a:gd name="T11" fmla="*/ 116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5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136" name="Freeform 119"/>
            <p:cNvSpPr>
              <a:spLocks noChangeArrowheads="1"/>
            </p:cNvSpPr>
            <p:nvPr/>
          </p:nvSpPr>
          <p:spPr bwMode="auto">
            <a:xfrm>
              <a:off x="5415" y="125"/>
              <a:ext cx="12" cy="11"/>
            </a:xfrm>
            <a:custGeom>
              <a:avLst/>
              <a:gdLst>
                <a:gd name="T0" fmla="*/ 49 w 9"/>
                <a:gd name="T1" fmla="*/ 131 h 8"/>
                <a:gd name="T2" fmla="*/ 0 w 9"/>
                <a:gd name="T3" fmla="*/ 69 h 8"/>
                <a:gd name="T4" fmla="*/ 0 w 9"/>
                <a:gd name="T5" fmla="*/ 69 h 8"/>
                <a:gd name="T6" fmla="*/ 49 w 9"/>
                <a:gd name="T7" fmla="*/ 0 h 8"/>
                <a:gd name="T8" fmla="*/ 113 w 9"/>
                <a:gd name="T9" fmla="*/ 69 h 8"/>
                <a:gd name="T10" fmla="*/ 49 w 9"/>
                <a:gd name="T11" fmla="*/ 131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8">
                  <a:moveTo>
                    <a:pt x="4" y="8"/>
                  </a:moveTo>
                  <a:cubicBezTo>
                    <a:pt x="2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6"/>
                    <a:pt x="7" y="8"/>
                    <a:pt x="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137" name="Freeform 120"/>
            <p:cNvSpPr>
              <a:spLocks noChangeArrowheads="1"/>
            </p:cNvSpPr>
            <p:nvPr/>
          </p:nvSpPr>
          <p:spPr bwMode="auto">
            <a:xfrm>
              <a:off x="5331" y="125"/>
              <a:ext cx="14" cy="11"/>
            </a:xfrm>
            <a:custGeom>
              <a:avLst/>
              <a:gdLst>
                <a:gd name="T0" fmla="*/ 182 w 9"/>
                <a:gd name="T1" fmla="*/ 131 h 8"/>
                <a:gd name="T2" fmla="*/ 0 w 9"/>
                <a:gd name="T3" fmla="*/ 69 h 8"/>
                <a:gd name="T4" fmla="*/ 0 w 9"/>
                <a:gd name="T5" fmla="*/ 69 h 8"/>
                <a:gd name="T6" fmla="*/ 182 w 9"/>
                <a:gd name="T7" fmla="*/ 0 h 8"/>
                <a:gd name="T8" fmla="*/ 327 w 9"/>
                <a:gd name="T9" fmla="*/ 69 h 8"/>
                <a:gd name="T10" fmla="*/ 182 w 9"/>
                <a:gd name="T11" fmla="*/ 131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8">
                  <a:moveTo>
                    <a:pt x="5" y="8"/>
                  </a:moveTo>
                  <a:cubicBezTo>
                    <a:pt x="2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6"/>
                    <a:pt x="7" y="8"/>
                    <a:pt x="5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138" name="Oval 121"/>
            <p:cNvSpPr>
              <a:spLocks noChangeArrowheads="1"/>
            </p:cNvSpPr>
            <p:nvPr/>
          </p:nvSpPr>
          <p:spPr bwMode="auto">
            <a:xfrm>
              <a:off x="5600" y="137"/>
              <a:ext cx="12" cy="12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US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139" name="Freeform 122"/>
            <p:cNvSpPr>
              <a:spLocks noChangeArrowheads="1"/>
            </p:cNvSpPr>
            <p:nvPr/>
          </p:nvSpPr>
          <p:spPr bwMode="auto">
            <a:xfrm>
              <a:off x="5580" y="125"/>
              <a:ext cx="11" cy="11"/>
            </a:xfrm>
            <a:custGeom>
              <a:avLst/>
              <a:gdLst>
                <a:gd name="T0" fmla="*/ 69 w 8"/>
                <a:gd name="T1" fmla="*/ 131 h 8"/>
                <a:gd name="T2" fmla="*/ 0 w 8"/>
                <a:gd name="T3" fmla="*/ 69 h 8"/>
                <a:gd name="T4" fmla="*/ 0 w 8"/>
                <a:gd name="T5" fmla="*/ 69 h 8"/>
                <a:gd name="T6" fmla="*/ 69 w 8"/>
                <a:gd name="T7" fmla="*/ 0 h 8"/>
                <a:gd name="T8" fmla="*/ 131 w 8"/>
                <a:gd name="T9" fmla="*/ 69 h 8"/>
                <a:gd name="T10" fmla="*/ 69 w 8"/>
                <a:gd name="T11" fmla="*/ 131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" h="8">
                  <a:moveTo>
                    <a:pt x="4" y="8"/>
                  </a:moveTo>
                  <a:cubicBezTo>
                    <a:pt x="2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6"/>
                    <a:pt x="6" y="8"/>
                    <a:pt x="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140" name="Freeform 123"/>
            <p:cNvSpPr>
              <a:spLocks noChangeArrowheads="1"/>
            </p:cNvSpPr>
            <p:nvPr/>
          </p:nvSpPr>
          <p:spPr bwMode="auto">
            <a:xfrm>
              <a:off x="5558" y="137"/>
              <a:ext cx="12" cy="12"/>
            </a:xfrm>
            <a:custGeom>
              <a:avLst/>
              <a:gdLst>
                <a:gd name="T0" fmla="*/ 49 w 9"/>
                <a:gd name="T1" fmla="*/ 116 h 9"/>
                <a:gd name="T2" fmla="*/ 0 w 9"/>
                <a:gd name="T3" fmla="*/ 65 h 9"/>
                <a:gd name="T4" fmla="*/ 0 w 9"/>
                <a:gd name="T5" fmla="*/ 65 h 9"/>
                <a:gd name="T6" fmla="*/ 49 w 9"/>
                <a:gd name="T7" fmla="*/ 0 h 9"/>
                <a:gd name="T8" fmla="*/ 113 w 9"/>
                <a:gd name="T9" fmla="*/ 65 h 9"/>
                <a:gd name="T10" fmla="*/ 49 w 9"/>
                <a:gd name="T11" fmla="*/ 116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141" name="Freeform 124"/>
            <p:cNvSpPr>
              <a:spLocks noChangeArrowheads="1"/>
            </p:cNvSpPr>
            <p:nvPr/>
          </p:nvSpPr>
          <p:spPr bwMode="auto">
            <a:xfrm>
              <a:off x="5538" y="125"/>
              <a:ext cx="12" cy="11"/>
            </a:xfrm>
            <a:custGeom>
              <a:avLst/>
              <a:gdLst>
                <a:gd name="T0" fmla="*/ 64 w 9"/>
                <a:gd name="T1" fmla="*/ 131 h 8"/>
                <a:gd name="T2" fmla="*/ 0 w 9"/>
                <a:gd name="T3" fmla="*/ 69 h 8"/>
                <a:gd name="T4" fmla="*/ 0 w 9"/>
                <a:gd name="T5" fmla="*/ 69 h 8"/>
                <a:gd name="T6" fmla="*/ 64 w 9"/>
                <a:gd name="T7" fmla="*/ 0 h 8"/>
                <a:gd name="T8" fmla="*/ 113 w 9"/>
                <a:gd name="T9" fmla="*/ 69 h 8"/>
                <a:gd name="T10" fmla="*/ 64 w 9"/>
                <a:gd name="T11" fmla="*/ 131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8">
                  <a:moveTo>
                    <a:pt x="5" y="8"/>
                  </a:moveTo>
                  <a:cubicBezTo>
                    <a:pt x="2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6"/>
                    <a:pt x="7" y="8"/>
                    <a:pt x="5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142" name="Freeform 125"/>
            <p:cNvSpPr>
              <a:spLocks noChangeArrowheads="1"/>
            </p:cNvSpPr>
            <p:nvPr/>
          </p:nvSpPr>
          <p:spPr bwMode="auto">
            <a:xfrm>
              <a:off x="5518" y="137"/>
              <a:ext cx="12" cy="12"/>
            </a:xfrm>
            <a:custGeom>
              <a:avLst/>
              <a:gdLst>
                <a:gd name="T0" fmla="*/ 120 w 8"/>
                <a:gd name="T1" fmla="*/ 116 h 9"/>
                <a:gd name="T2" fmla="*/ 0 w 8"/>
                <a:gd name="T3" fmla="*/ 65 h 9"/>
                <a:gd name="T4" fmla="*/ 0 w 8"/>
                <a:gd name="T5" fmla="*/ 65 h 9"/>
                <a:gd name="T6" fmla="*/ 120 w 8"/>
                <a:gd name="T7" fmla="*/ 0 h 9"/>
                <a:gd name="T8" fmla="*/ 230 w 8"/>
                <a:gd name="T9" fmla="*/ 65 h 9"/>
                <a:gd name="T10" fmla="*/ 120 w 8"/>
                <a:gd name="T11" fmla="*/ 116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5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143" name="Freeform 126"/>
            <p:cNvSpPr>
              <a:spLocks noChangeArrowheads="1"/>
            </p:cNvSpPr>
            <p:nvPr/>
          </p:nvSpPr>
          <p:spPr bwMode="auto">
            <a:xfrm>
              <a:off x="5496" y="125"/>
              <a:ext cx="12" cy="11"/>
            </a:xfrm>
            <a:custGeom>
              <a:avLst/>
              <a:gdLst>
                <a:gd name="T0" fmla="*/ 49 w 9"/>
                <a:gd name="T1" fmla="*/ 131 h 8"/>
                <a:gd name="T2" fmla="*/ 0 w 9"/>
                <a:gd name="T3" fmla="*/ 69 h 8"/>
                <a:gd name="T4" fmla="*/ 0 w 9"/>
                <a:gd name="T5" fmla="*/ 69 h 8"/>
                <a:gd name="T6" fmla="*/ 49 w 9"/>
                <a:gd name="T7" fmla="*/ 0 h 8"/>
                <a:gd name="T8" fmla="*/ 113 w 9"/>
                <a:gd name="T9" fmla="*/ 69 h 8"/>
                <a:gd name="T10" fmla="*/ 49 w 9"/>
                <a:gd name="T11" fmla="*/ 131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8">
                  <a:moveTo>
                    <a:pt x="4" y="8"/>
                  </a:moveTo>
                  <a:cubicBezTo>
                    <a:pt x="2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6"/>
                    <a:pt x="7" y="8"/>
                    <a:pt x="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144" name="Oval 127"/>
            <p:cNvSpPr>
              <a:spLocks noChangeArrowheads="1"/>
            </p:cNvSpPr>
            <p:nvPr/>
          </p:nvSpPr>
          <p:spPr bwMode="auto">
            <a:xfrm>
              <a:off x="5455" y="125"/>
              <a:ext cx="13" cy="11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US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145" name="Oval 128"/>
            <p:cNvSpPr>
              <a:spLocks noChangeArrowheads="1"/>
            </p:cNvSpPr>
            <p:nvPr/>
          </p:nvSpPr>
          <p:spPr bwMode="auto">
            <a:xfrm>
              <a:off x="5744" y="125"/>
              <a:ext cx="13" cy="11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US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146" name="Freeform 129"/>
            <p:cNvSpPr>
              <a:spLocks noChangeArrowheads="1"/>
            </p:cNvSpPr>
            <p:nvPr/>
          </p:nvSpPr>
          <p:spPr bwMode="auto">
            <a:xfrm>
              <a:off x="5723" y="137"/>
              <a:ext cx="12" cy="12"/>
            </a:xfrm>
            <a:custGeom>
              <a:avLst/>
              <a:gdLst>
                <a:gd name="T0" fmla="*/ 64 w 9"/>
                <a:gd name="T1" fmla="*/ 116 h 9"/>
                <a:gd name="T2" fmla="*/ 0 w 9"/>
                <a:gd name="T3" fmla="*/ 65 h 9"/>
                <a:gd name="T4" fmla="*/ 0 w 9"/>
                <a:gd name="T5" fmla="*/ 65 h 9"/>
                <a:gd name="T6" fmla="*/ 64 w 9"/>
                <a:gd name="T7" fmla="*/ 0 h 9"/>
                <a:gd name="T8" fmla="*/ 113 w 9"/>
                <a:gd name="T9" fmla="*/ 65 h 9"/>
                <a:gd name="T10" fmla="*/ 64 w 9"/>
                <a:gd name="T11" fmla="*/ 116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147" name="Freeform 130"/>
            <p:cNvSpPr>
              <a:spLocks noChangeArrowheads="1"/>
            </p:cNvSpPr>
            <p:nvPr/>
          </p:nvSpPr>
          <p:spPr bwMode="auto">
            <a:xfrm>
              <a:off x="5703" y="125"/>
              <a:ext cx="11" cy="11"/>
            </a:xfrm>
            <a:custGeom>
              <a:avLst/>
              <a:gdLst>
                <a:gd name="T0" fmla="*/ 69 w 8"/>
                <a:gd name="T1" fmla="*/ 131 h 8"/>
                <a:gd name="T2" fmla="*/ 0 w 8"/>
                <a:gd name="T3" fmla="*/ 69 h 8"/>
                <a:gd name="T4" fmla="*/ 0 w 8"/>
                <a:gd name="T5" fmla="*/ 69 h 8"/>
                <a:gd name="T6" fmla="*/ 69 w 8"/>
                <a:gd name="T7" fmla="*/ 0 h 8"/>
                <a:gd name="T8" fmla="*/ 131 w 8"/>
                <a:gd name="T9" fmla="*/ 69 h 8"/>
                <a:gd name="T10" fmla="*/ 69 w 8"/>
                <a:gd name="T11" fmla="*/ 131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" h="8">
                  <a:moveTo>
                    <a:pt x="4" y="8"/>
                  </a:moveTo>
                  <a:cubicBezTo>
                    <a:pt x="2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6"/>
                    <a:pt x="6" y="8"/>
                    <a:pt x="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148" name="Oval 131"/>
            <p:cNvSpPr>
              <a:spLocks noChangeArrowheads="1"/>
            </p:cNvSpPr>
            <p:nvPr/>
          </p:nvSpPr>
          <p:spPr bwMode="auto">
            <a:xfrm>
              <a:off x="5682" y="137"/>
              <a:ext cx="12" cy="12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US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149" name="Freeform 132"/>
            <p:cNvSpPr>
              <a:spLocks noChangeArrowheads="1"/>
            </p:cNvSpPr>
            <p:nvPr/>
          </p:nvSpPr>
          <p:spPr bwMode="auto">
            <a:xfrm>
              <a:off x="5661" y="125"/>
              <a:ext cx="12" cy="11"/>
            </a:xfrm>
            <a:custGeom>
              <a:avLst/>
              <a:gdLst>
                <a:gd name="T0" fmla="*/ 64 w 9"/>
                <a:gd name="T1" fmla="*/ 131 h 8"/>
                <a:gd name="T2" fmla="*/ 0 w 9"/>
                <a:gd name="T3" fmla="*/ 69 h 8"/>
                <a:gd name="T4" fmla="*/ 0 w 9"/>
                <a:gd name="T5" fmla="*/ 69 h 8"/>
                <a:gd name="T6" fmla="*/ 64 w 9"/>
                <a:gd name="T7" fmla="*/ 0 h 8"/>
                <a:gd name="T8" fmla="*/ 113 w 9"/>
                <a:gd name="T9" fmla="*/ 69 h 8"/>
                <a:gd name="T10" fmla="*/ 64 w 9"/>
                <a:gd name="T11" fmla="*/ 131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8">
                  <a:moveTo>
                    <a:pt x="5" y="8"/>
                  </a:moveTo>
                  <a:cubicBezTo>
                    <a:pt x="2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6"/>
                    <a:pt x="7" y="8"/>
                    <a:pt x="5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150" name="Freeform 133"/>
            <p:cNvSpPr>
              <a:spLocks noChangeArrowheads="1"/>
            </p:cNvSpPr>
            <p:nvPr/>
          </p:nvSpPr>
          <p:spPr bwMode="auto">
            <a:xfrm>
              <a:off x="5640" y="137"/>
              <a:ext cx="12" cy="12"/>
            </a:xfrm>
            <a:custGeom>
              <a:avLst/>
              <a:gdLst>
                <a:gd name="T0" fmla="*/ 120 w 8"/>
                <a:gd name="T1" fmla="*/ 116 h 9"/>
                <a:gd name="T2" fmla="*/ 0 w 8"/>
                <a:gd name="T3" fmla="*/ 65 h 9"/>
                <a:gd name="T4" fmla="*/ 0 w 8"/>
                <a:gd name="T5" fmla="*/ 65 h 9"/>
                <a:gd name="T6" fmla="*/ 120 w 8"/>
                <a:gd name="T7" fmla="*/ 0 h 9"/>
                <a:gd name="T8" fmla="*/ 230 w 8"/>
                <a:gd name="T9" fmla="*/ 65 h 9"/>
                <a:gd name="T10" fmla="*/ 230 w 8"/>
                <a:gd name="T11" fmla="*/ 65 h 9"/>
                <a:gd name="T12" fmla="*/ 120 w 8"/>
                <a:gd name="T13" fmla="*/ 116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151" name="Oval 134"/>
            <p:cNvSpPr>
              <a:spLocks noChangeArrowheads="1"/>
            </p:cNvSpPr>
            <p:nvPr/>
          </p:nvSpPr>
          <p:spPr bwMode="auto">
            <a:xfrm>
              <a:off x="5621" y="125"/>
              <a:ext cx="12" cy="11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US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152" name="Freeform 135"/>
            <p:cNvSpPr>
              <a:spLocks noChangeArrowheads="1"/>
            </p:cNvSpPr>
            <p:nvPr/>
          </p:nvSpPr>
          <p:spPr bwMode="auto">
            <a:xfrm>
              <a:off x="5393" y="137"/>
              <a:ext cx="13" cy="12"/>
            </a:xfrm>
            <a:custGeom>
              <a:avLst/>
              <a:gdLst>
                <a:gd name="T0" fmla="*/ 108 w 9"/>
                <a:gd name="T1" fmla="*/ 116 h 9"/>
                <a:gd name="T2" fmla="*/ 0 w 9"/>
                <a:gd name="T3" fmla="*/ 65 h 9"/>
                <a:gd name="T4" fmla="*/ 0 w 9"/>
                <a:gd name="T5" fmla="*/ 65 h 9"/>
                <a:gd name="T6" fmla="*/ 108 w 9"/>
                <a:gd name="T7" fmla="*/ 0 h 9"/>
                <a:gd name="T8" fmla="*/ 188 w 9"/>
                <a:gd name="T9" fmla="*/ 65 h 9"/>
                <a:gd name="T10" fmla="*/ 108 w 9"/>
                <a:gd name="T11" fmla="*/ 116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153" name="Freeform 136"/>
            <p:cNvSpPr>
              <a:spLocks noChangeArrowheads="1"/>
            </p:cNvSpPr>
            <p:nvPr/>
          </p:nvSpPr>
          <p:spPr bwMode="auto">
            <a:xfrm>
              <a:off x="5312" y="137"/>
              <a:ext cx="11" cy="12"/>
            </a:xfrm>
            <a:custGeom>
              <a:avLst/>
              <a:gdLst>
                <a:gd name="T0" fmla="*/ 69 w 8"/>
                <a:gd name="T1" fmla="*/ 116 h 9"/>
                <a:gd name="T2" fmla="*/ 0 w 8"/>
                <a:gd name="T3" fmla="*/ 65 h 9"/>
                <a:gd name="T4" fmla="*/ 0 w 8"/>
                <a:gd name="T5" fmla="*/ 65 h 9"/>
                <a:gd name="T6" fmla="*/ 69 w 8"/>
                <a:gd name="T7" fmla="*/ 0 h 9"/>
                <a:gd name="T8" fmla="*/ 131 w 8"/>
                <a:gd name="T9" fmla="*/ 65 h 9"/>
                <a:gd name="T10" fmla="*/ 69 w 8"/>
                <a:gd name="T11" fmla="*/ 116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5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154" name="Freeform 137"/>
            <p:cNvSpPr>
              <a:spLocks noChangeArrowheads="1"/>
            </p:cNvSpPr>
            <p:nvPr/>
          </p:nvSpPr>
          <p:spPr bwMode="auto">
            <a:xfrm>
              <a:off x="5291" y="125"/>
              <a:ext cx="13" cy="11"/>
            </a:xfrm>
            <a:custGeom>
              <a:avLst/>
              <a:gdLst>
                <a:gd name="T0" fmla="*/ 81 w 9"/>
                <a:gd name="T1" fmla="*/ 131 h 8"/>
                <a:gd name="T2" fmla="*/ 0 w 9"/>
                <a:gd name="T3" fmla="*/ 69 h 8"/>
                <a:gd name="T4" fmla="*/ 0 w 9"/>
                <a:gd name="T5" fmla="*/ 69 h 8"/>
                <a:gd name="T6" fmla="*/ 81 w 9"/>
                <a:gd name="T7" fmla="*/ 0 h 8"/>
                <a:gd name="T8" fmla="*/ 188 w 9"/>
                <a:gd name="T9" fmla="*/ 69 h 8"/>
                <a:gd name="T10" fmla="*/ 81 w 9"/>
                <a:gd name="T11" fmla="*/ 131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8">
                  <a:moveTo>
                    <a:pt x="4" y="8"/>
                  </a:moveTo>
                  <a:cubicBezTo>
                    <a:pt x="2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6"/>
                    <a:pt x="7" y="8"/>
                    <a:pt x="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155" name="Freeform 138"/>
            <p:cNvSpPr>
              <a:spLocks noChangeArrowheads="1"/>
            </p:cNvSpPr>
            <p:nvPr/>
          </p:nvSpPr>
          <p:spPr bwMode="auto">
            <a:xfrm>
              <a:off x="5353" y="137"/>
              <a:ext cx="12" cy="12"/>
            </a:xfrm>
            <a:custGeom>
              <a:avLst/>
              <a:gdLst>
                <a:gd name="T0" fmla="*/ 49 w 9"/>
                <a:gd name="T1" fmla="*/ 116 h 9"/>
                <a:gd name="T2" fmla="*/ 0 w 9"/>
                <a:gd name="T3" fmla="*/ 65 h 9"/>
                <a:gd name="T4" fmla="*/ 0 w 9"/>
                <a:gd name="T5" fmla="*/ 65 h 9"/>
                <a:gd name="T6" fmla="*/ 49 w 9"/>
                <a:gd name="T7" fmla="*/ 0 h 9"/>
                <a:gd name="T8" fmla="*/ 113 w 9"/>
                <a:gd name="T9" fmla="*/ 65 h 9"/>
                <a:gd name="T10" fmla="*/ 49 w 9"/>
                <a:gd name="T11" fmla="*/ 116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156" name="Freeform 139"/>
            <p:cNvSpPr>
              <a:spLocks noChangeArrowheads="1"/>
            </p:cNvSpPr>
            <p:nvPr/>
          </p:nvSpPr>
          <p:spPr bwMode="auto">
            <a:xfrm>
              <a:off x="5270" y="137"/>
              <a:ext cx="12" cy="12"/>
            </a:xfrm>
            <a:custGeom>
              <a:avLst/>
              <a:gdLst>
                <a:gd name="T0" fmla="*/ 65 w 9"/>
                <a:gd name="T1" fmla="*/ 116 h 9"/>
                <a:gd name="T2" fmla="*/ 0 w 9"/>
                <a:gd name="T3" fmla="*/ 65 h 9"/>
                <a:gd name="T4" fmla="*/ 0 w 9"/>
                <a:gd name="T5" fmla="*/ 65 h 9"/>
                <a:gd name="T6" fmla="*/ 65 w 9"/>
                <a:gd name="T7" fmla="*/ 0 h 9"/>
                <a:gd name="T8" fmla="*/ 116 w 9"/>
                <a:gd name="T9" fmla="*/ 65 h 9"/>
                <a:gd name="T10" fmla="*/ 65 w 9"/>
                <a:gd name="T11" fmla="*/ 116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157" name="Freeform 140"/>
            <p:cNvSpPr>
              <a:spLocks noChangeArrowheads="1"/>
            </p:cNvSpPr>
            <p:nvPr/>
          </p:nvSpPr>
          <p:spPr bwMode="auto">
            <a:xfrm>
              <a:off x="5476" y="158"/>
              <a:ext cx="12" cy="13"/>
            </a:xfrm>
            <a:custGeom>
              <a:avLst/>
              <a:gdLst>
                <a:gd name="T0" fmla="*/ 65 w 9"/>
                <a:gd name="T1" fmla="*/ 188 h 9"/>
                <a:gd name="T2" fmla="*/ 49 w 9"/>
                <a:gd name="T3" fmla="*/ 188 h 9"/>
                <a:gd name="T4" fmla="*/ 0 w 9"/>
                <a:gd name="T5" fmla="*/ 108 h 9"/>
                <a:gd name="T6" fmla="*/ 0 w 9"/>
                <a:gd name="T7" fmla="*/ 108 h 9"/>
                <a:gd name="T8" fmla="*/ 49 w 9"/>
                <a:gd name="T9" fmla="*/ 0 h 9"/>
                <a:gd name="T10" fmla="*/ 65 w 9"/>
                <a:gd name="T11" fmla="*/ 0 h 9"/>
                <a:gd name="T12" fmla="*/ 116 w 9"/>
                <a:gd name="T13" fmla="*/ 108 h 9"/>
                <a:gd name="T14" fmla="*/ 65 w 9"/>
                <a:gd name="T15" fmla="*/ 188 h 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158" name="Freeform 141"/>
            <p:cNvSpPr>
              <a:spLocks noChangeArrowheads="1"/>
            </p:cNvSpPr>
            <p:nvPr/>
          </p:nvSpPr>
          <p:spPr bwMode="auto">
            <a:xfrm>
              <a:off x="5436" y="158"/>
              <a:ext cx="12" cy="13"/>
            </a:xfrm>
            <a:custGeom>
              <a:avLst/>
              <a:gdLst>
                <a:gd name="T0" fmla="*/ 120 w 8"/>
                <a:gd name="T1" fmla="*/ 188 h 9"/>
                <a:gd name="T2" fmla="*/ 120 w 8"/>
                <a:gd name="T3" fmla="*/ 188 h 9"/>
                <a:gd name="T4" fmla="*/ 0 w 8"/>
                <a:gd name="T5" fmla="*/ 108 h 9"/>
                <a:gd name="T6" fmla="*/ 0 w 8"/>
                <a:gd name="T7" fmla="*/ 108 h 9"/>
                <a:gd name="T8" fmla="*/ 120 w 8"/>
                <a:gd name="T9" fmla="*/ 0 h 9"/>
                <a:gd name="T10" fmla="*/ 120 w 8"/>
                <a:gd name="T11" fmla="*/ 0 h 9"/>
                <a:gd name="T12" fmla="*/ 230 w 8"/>
                <a:gd name="T13" fmla="*/ 108 h 9"/>
                <a:gd name="T14" fmla="*/ 120 w 8"/>
                <a:gd name="T15" fmla="*/ 188 h 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7" y="0"/>
                    <a:pt x="8" y="2"/>
                    <a:pt x="8" y="5"/>
                  </a:cubicBezTo>
                  <a:cubicBezTo>
                    <a:pt x="8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159" name="Freeform 142"/>
            <p:cNvSpPr>
              <a:spLocks noChangeArrowheads="1"/>
            </p:cNvSpPr>
            <p:nvPr/>
          </p:nvSpPr>
          <p:spPr bwMode="auto">
            <a:xfrm>
              <a:off x="5415" y="144"/>
              <a:ext cx="12" cy="13"/>
            </a:xfrm>
            <a:custGeom>
              <a:avLst/>
              <a:gdLst>
                <a:gd name="T0" fmla="*/ 49 w 9"/>
                <a:gd name="T1" fmla="*/ 188 h 9"/>
                <a:gd name="T2" fmla="*/ 0 w 9"/>
                <a:gd name="T3" fmla="*/ 108 h 9"/>
                <a:gd name="T4" fmla="*/ 0 w 9"/>
                <a:gd name="T5" fmla="*/ 108 h 9"/>
                <a:gd name="T6" fmla="*/ 49 w 9"/>
                <a:gd name="T7" fmla="*/ 0 h 9"/>
                <a:gd name="T8" fmla="*/ 64 w 9"/>
                <a:gd name="T9" fmla="*/ 0 h 9"/>
                <a:gd name="T10" fmla="*/ 113 w 9"/>
                <a:gd name="T11" fmla="*/ 108 h 9"/>
                <a:gd name="T12" fmla="*/ 49 w 9"/>
                <a:gd name="T13" fmla="*/ 188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1"/>
                    <a:pt x="4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7" y="1"/>
                    <a:pt x="9" y="2"/>
                    <a:pt x="9" y="5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160" name="Freeform 143"/>
            <p:cNvSpPr>
              <a:spLocks noChangeArrowheads="1"/>
            </p:cNvSpPr>
            <p:nvPr/>
          </p:nvSpPr>
          <p:spPr bwMode="auto">
            <a:xfrm>
              <a:off x="5331" y="144"/>
              <a:ext cx="14" cy="13"/>
            </a:xfrm>
            <a:custGeom>
              <a:avLst/>
              <a:gdLst>
                <a:gd name="T0" fmla="*/ 182 w 9"/>
                <a:gd name="T1" fmla="*/ 188 h 9"/>
                <a:gd name="T2" fmla="*/ 0 w 9"/>
                <a:gd name="T3" fmla="*/ 108 h 9"/>
                <a:gd name="T4" fmla="*/ 0 w 9"/>
                <a:gd name="T5" fmla="*/ 108 h 9"/>
                <a:gd name="T6" fmla="*/ 182 w 9"/>
                <a:gd name="T7" fmla="*/ 0 h 9"/>
                <a:gd name="T8" fmla="*/ 182 w 9"/>
                <a:gd name="T9" fmla="*/ 0 h 9"/>
                <a:gd name="T10" fmla="*/ 327 w 9"/>
                <a:gd name="T11" fmla="*/ 108 h 9"/>
                <a:gd name="T12" fmla="*/ 182 w 9"/>
                <a:gd name="T13" fmla="*/ 188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1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7" y="1"/>
                    <a:pt x="9" y="2"/>
                    <a:pt x="9" y="5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161" name="Freeform 144"/>
            <p:cNvSpPr>
              <a:spLocks noChangeArrowheads="1"/>
            </p:cNvSpPr>
            <p:nvPr/>
          </p:nvSpPr>
          <p:spPr bwMode="auto">
            <a:xfrm>
              <a:off x="5600" y="158"/>
              <a:ext cx="12" cy="13"/>
            </a:xfrm>
            <a:custGeom>
              <a:avLst/>
              <a:gdLst>
                <a:gd name="T0" fmla="*/ 64 w 9"/>
                <a:gd name="T1" fmla="*/ 188 h 9"/>
                <a:gd name="T2" fmla="*/ 49 w 9"/>
                <a:gd name="T3" fmla="*/ 188 h 9"/>
                <a:gd name="T4" fmla="*/ 0 w 9"/>
                <a:gd name="T5" fmla="*/ 108 h 9"/>
                <a:gd name="T6" fmla="*/ 49 w 9"/>
                <a:gd name="T7" fmla="*/ 0 h 9"/>
                <a:gd name="T8" fmla="*/ 64 w 9"/>
                <a:gd name="T9" fmla="*/ 0 h 9"/>
                <a:gd name="T10" fmla="*/ 113 w 9"/>
                <a:gd name="T11" fmla="*/ 108 h 9"/>
                <a:gd name="T12" fmla="*/ 64 w 9"/>
                <a:gd name="T13" fmla="*/ 188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162" name="Freeform 145"/>
            <p:cNvSpPr>
              <a:spLocks noChangeArrowheads="1"/>
            </p:cNvSpPr>
            <p:nvPr/>
          </p:nvSpPr>
          <p:spPr bwMode="auto">
            <a:xfrm>
              <a:off x="5580" y="144"/>
              <a:ext cx="11" cy="13"/>
            </a:xfrm>
            <a:custGeom>
              <a:avLst/>
              <a:gdLst>
                <a:gd name="T0" fmla="*/ 69 w 8"/>
                <a:gd name="T1" fmla="*/ 188 h 9"/>
                <a:gd name="T2" fmla="*/ 0 w 8"/>
                <a:gd name="T3" fmla="*/ 108 h 9"/>
                <a:gd name="T4" fmla="*/ 0 w 8"/>
                <a:gd name="T5" fmla="*/ 108 h 9"/>
                <a:gd name="T6" fmla="*/ 69 w 8"/>
                <a:gd name="T7" fmla="*/ 0 h 9"/>
                <a:gd name="T8" fmla="*/ 69 w 8"/>
                <a:gd name="T9" fmla="*/ 0 h 9"/>
                <a:gd name="T10" fmla="*/ 131 w 8"/>
                <a:gd name="T11" fmla="*/ 108 h 9"/>
                <a:gd name="T12" fmla="*/ 69 w 8"/>
                <a:gd name="T13" fmla="*/ 188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1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6" y="1"/>
                    <a:pt x="8" y="2"/>
                    <a:pt x="8" y="5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163" name="Freeform 146"/>
            <p:cNvSpPr>
              <a:spLocks noChangeArrowheads="1"/>
            </p:cNvSpPr>
            <p:nvPr/>
          </p:nvSpPr>
          <p:spPr bwMode="auto">
            <a:xfrm>
              <a:off x="5558" y="158"/>
              <a:ext cx="12" cy="13"/>
            </a:xfrm>
            <a:custGeom>
              <a:avLst/>
              <a:gdLst>
                <a:gd name="T0" fmla="*/ 49 w 9"/>
                <a:gd name="T1" fmla="*/ 188 h 9"/>
                <a:gd name="T2" fmla="*/ 49 w 9"/>
                <a:gd name="T3" fmla="*/ 188 h 9"/>
                <a:gd name="T4" fmla="*/ 0 w 9"/>
                <a:gd name="T5" fmla="*/ 108 h 9"/>
                <a:gd name="T6" fmla="*/ 0 w 9"/>
                <a:gd name="T7" fmla="*/ 108 h 9"/>
                <a:gd name="T8" fmla="*/ 49 w 9"/>
                <a:gd name="T9" fmla="*/ 0 h 9"/>
                <a:gd name="T10" fmla="*/ 49 w 9"/>
                <a:gd name="T11" fmla="*/ 0 h 9"/>
                <a:gd name="T12" fmla="*/ 113 w 9"/>
                <a:gd name="T13" fmla="*/ 108 h 9"/>
                <a:gd name="T14" fmla="*/ 49 w 9"/>
                <a:gd name="T15" fmla="*/ 188 h 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164" name="Freeform 147"/>
            <p:cNvSpPr>
              <a:spLocks noChangeArrowheads="1"/>
            </p:cNvSpPr>
            <p:nvPr/>
          </p:nvSpPr>
          <p:spPr bwMode="auto">
            <a:xfrm>
              <a:off x="5538" y="144"/>
              <a:ext cx="12" cy="13"/>
            </a:xfrm>
            <a:custGeom>
              <a:avLst/>
              <a:gdLst>
                <a:gd name="T0" fmla="*/ 64 w 9"/>
                <a:gd name="T1" fmla="*/ 188 h 9"/>
                <a:gd name="T2" fmla="*/ 0 w 9"/>
                <a:gd name="T3" fmla="*/ 108 h 9"/>
                <a:gd name="T4" fmla="*/ 0 w 9"/>
                <a:gd name="T5" fmla="*/ 108 h 9"/>
                <a:gd name="T6" fmla="*/ 49 w 9"/>
                <a:gd name="T7" fmla="*/ 0 h 9"/>
                <a:gd name="T8" fmla="*/ 64 w 9"/>
                <a:gd name="T9" fmla="*/ 0 h 9"/>
                <a:gd name="T10" fmla="*/ 113 w 9"/>
                <a:gd name="T11" fmla="*/ 108 h 9"/>
                <a:gd name="T12" fmla="*/ 64 w 9"/>
                <a:gd name="T13" fmla="*/ 188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1"/>
                    <a:pt x="4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7" y="1"/>
                    <a:pt x="9" y="2"/>
                    <a:pt x="9" y="5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165" name="Freeform 148"/>
            <p:cNvSpPr>
              <a:spLocks noChangeArrowheads="1"/>
            </p:cNvSpPr>
            <p:nvPr/>
          </p:nvSpPr>
          <p:spPr bwMode="auto">
            <a:xfrm>
              <a:off x="5518" y="158"/>
              <a:ext cx="12" cy="13"/>
            </a:xfrm>
            <a:custGeom>
              <a:avLst/>
              <a:gdLst>
                <a:gd name="T0" fmla="*/ 120 w 8"/>
                <a:gd name="T1" fmla="*/ 188 h 9"/>
                <a:gd name="T2" fmla="*/ 120 w 8"/>
                <a:gd name="T3" fmla="*/ 188 h 9"/>
                <a:gd name="T4" fmla="*/ 0 w 8"/>
                <a:gd name="T5" fmla="*/ 108 h 9"/>
                <a:gd name="T6" fmla="*/ 0 w 8"/>
                <a:gd name="T7" fmla="*/ 108 h 9"/>
                <a:gd name="T8" fmla="*/ 120 w 8"/>
                <a:gd name="T9" fmla="*/ 0 h 9"/>
                <a:gd name="T10" fmla="*/ 120 w 8"/>
                <a:gd name="T11" fmla="*/ 0 h 9"/>
                <a:gd name="T12" fmla="*/ 230 w 8"/>
                <a:gd name="T13" fmla="*/ 108 h 9"/>
                <a:gd name="T14" fmla="*/ 120 w 8"/>
                <a:gd name="T15" fmla="*/ 188 h 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1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1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6" y="0"/>
                    <a:pt x="8" y="2"/>
                    <a:pt x="8" y="5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166" name="Freeform 149"/>
            <p:cNvSpPr>
              <a:spLocks noChangeArrowheads="1"/>
            </p:cNvSpPr>
            <p:nvPr/>
          </p:nvSpPr>
          <p:spPr bwMode="auto">
            <a:xfrm>
              <a:off x="5496" y="144"/>
              <a:ext cx="12" cy="13"/>
            </a:xfrm>
            <a:custGeom>
              <a:avLst/>
              <a:gdLst>
                <a:gd name="T0" fmla="*/ 49 w 9"/>
                <a:gd name="T1" fmla="*/ 188 h 9"/>
                <a:gd name="T2" fmla="*/ 0 w 9"/>
                <a:gd name="T3" fmla="*/ 108 h 9"/>
                <a:gd name="T4" fmla="*/ 0 w 9"/>
                <a:gd name="T5" fmla="*/ 108 h 9"/>
                <a:gd name="T6" fmla="*/ 49 w 9"/>
                <a:gd name="T7" fmla="*/ 0 h 9"/>
                <a:gd name="T8" fmla="*/ 49 w 9"/>
                <a:gd name="T9" fmla="*/ 0 h 9"/>
                <a:gd name="T10" fmla="*/ 113 w 9"/>
                <a:gd name="T11" fmla="*/ 108 h 9"/>
                <a:gd name="T12" fmla="*/ 49 w 9"/>
                <a:gd name="T13" fmla="*/ 188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1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7" y="1"/>
                    <a:pt x="9" y="2"/>
                    <a:pt x="9" y="5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167" name="Freeform 150"/>
            <p:cNvSpPr>
              <a:spLocks noChangeArrowheads="1"/>
            </p:cNvSpPr>
            <p:nvPr/>
          </p:nvSpPr>
          <p:spPr bwMode="auto">
            <a:xfrm>
              <a:off x="5455" y="144"/>
              <a:ext cx="13" cy="13"/>
            </a:xfrm>
            <a:custGeom>
              <a:avLst/>
              <a:gdLst>
                <a:gd name="T0" fmla="*/ 108 w 9"/>
                <a:gd name="T1" fmla="*/ 188 h 9"/>
                <a:gd name="T2" fmla="*/ 0 w 9"/>
                <a:gd name="T3" fmla="*/ 108 h 9"/>
                <a:gd name="T4" fmla="*/ 108 w 9"/>
                <a:gd name="T5" fmla="*/ 0 h 9"/>
                <a:gd name="T6" fmla="*/ 108 w 9"/>
                <a:gd name="T7" fmla="*/ 0 h 9"/>
                <a:gd name="T8" fmla="*/ 188 w 9"/>
                <a:gd name="T9" fmla="*/ 108 h 9"/>
                <a:gd name="T10" fmla="*/ 108 w 9"/>
                <a:gd name="T11" fmla="*/ 188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2"/>
                    <a:pt x="2" y="1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7" y="1"/>
                    <a:pt x="9" y="2"/>
                    <a:pt x="9" y="5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168" name="Freeform 151"/>
            <p:cNvSpPr>
              <a:spLocks noChangeArrowheads="1"/>
            </p:cNvSpPr>
            <p:nvPr/>
          </p:nvSpPr>
          <p:spPr bwMode="auto">
            <a:xfrm>
              <a:off x="5744" y="144"/>
              <a:ext cx="13" cy="13"/>
            </a:xfrm>
            <a:custGeom>
              <a:avLst/>
              <a:gdLst>
                <a:gd name="T0" fmla="*/ 81 w 9"/>
                <a:gd name="T1" fmla="*/ 188 h 9"/>
                <a:gd name="T2" fmla="*/ 0 w 9"/>
                <a:gd name="T3" fmla="*/ 108 h 9"/>
                <a:gd name="T4" fmla="*/ 81 w 9"/>
                <a:gd name="T5" fmla="*/ 0 h 9"/>
                <a:gd name="T6" fmla="*/ 108 w 9"/>
                <a:gd name="T7" fmla="*/ 0 h 9"/>
                <a:gd name="T8" fmla="*/ 188 w 9"/>
                <a:gd name="T9" fmla="*/ 108 h 9"/>
                <a:gd name="T10" fmla="*/ 81 w 9"/>
                <a:gd name="T11" fmla="*/ 188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2"/>
                    <a:pt x="2" y="1"/>
                    <a:pt x="4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7" y="1"/>
                    <a:pt x="9" y="2"/>
                    <a:pt x="9" y="5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169" name="Freeform 152"/>
            <p:cNvSpPr>
              <a:spLocks noChangeArrowheads="1"/>
            </p:cNvSpPr>
            <p:nvPr/>
          </p:nvSpPr>
          <p:spPr bwMode="auto">
            <a:xfrm>
              <a:off x="5723" y="158"/>
              <a:ext cx="12" cy="13"/>
            </a:xfrm>
            <a:custGeom>
              <a:avLst/>
              <a:gdLst>
                <a:gd name="T0" fmla="*/ 64 w 9"/>
                <a:gd name="T1" fmla="*/ 188 h 9"/>
                <a:gd name="T2" fmla="*/ 64 w 9"/>
                <a:gd name="T3" fmla="*/ 188 h 9"/>
                <a:gd name="T4" fmla="*/ 0 w 9"/>
                <a:gd name="T5" fmla="*/ 108 h 9"/>
                <a:gd name="T6" fmla="*/ 0 w 9"/>
                <a:gd name="T7" fmla="*/ 108 h 9"/>
                <a:gd name="T8" fmla="*/ 64 w 9"/>
                <a:gd name="T9" fmla="*/ 0 h 9"/>
                <a:gd name="T10" fmla="*/ 64 w 9"/>
                <a:gd name="T11" fmla="*/ 0 h 9"/>
                <a:gd name="T12" fmla="*/ 113 w 9"/>
                <a:gd name="T13" fmla="*/ 108 h 9"/>
                <a:gd name="T14" fmla="*/ 64 w 9"/>
                <a:gd name="T15" fmla="*/ 188 h 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5" y="9"/>
                    <a:pt x="5" y="9"/>
                    <a:pt x="5" y="9"/>
                  </a:cubicBez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170" name="Freeform 153"/>
            <p:cNvSpPr>
              <a:spLocks noChangeArrowheads="1"/>
            </p:cNvSpPr>
            <p:nvPr/>
          </p:nvSpPr>
          <p:spPr bwMode="auto">
            <a:xfrm>
              <a:off x="5703" y="144"/>
              <a:ext cx="11" cy="13"/>
            </a:xfrm>
            <a:custGeom>
              <a:avLst/>
              <a:gdLst>
                <a:gd name="T0" fmla="*/ 69 w 8"/>
                <a:gd name="T1" fmla="*/ 188 h 9"/>
                <a:gd name="T2" fmla="*/ 0 w 8"/>
                <a:gd name="T3" fmla="*/ 108 h 9"/>
                <a:gd name="T4" fmla="*/ 0 w 8"/>
                <a:gd name="T5" fmla="*/ 108 h 9"/>
                <a:gd name="T6" fmla="*/ 69 w 8"/>
                <a:gd name="T7" fmla="*/ 0 h 9"/>
                <a:gd name="T8" fmla="*/ 69 w 8"/>
                <a:gd name="T9" fmla="*/ 0 h 9"/>
                <a:gd name="T10" fmla="*/ 131 w 8"/>
                <a:gd name="T11" fmla="*/ 108 h 9"/>
                <a:gd name="T12" fmla="*/ 69 w 8"/>
                <a:gd name="T13" fmla="*/ 188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1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7" y="1"/>
                    <a:pt x="8" y="2"/>
                    <a:pt x="8" y="5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171" name="Freeform 154"/>
            <p:cNvSpPr>
              <a:spLocks noChangeArrowheads="1"/>
            </p:cNvSpPr>
            <p:nvPr/>
          </p:nvSpPr>
          <p:spPr bwMode="auto">
            <a:xfrm>
              <a:off x="5682" y="158"/>
              <a:ext cx="12" cy="13"/>
            </a:xfrm>
            <a:custGeom>
              <a:avLst/>
              <a:gdLst>
                <a:gd name="T0" fmla="*/ 49 w 9"/>
                <a:gd name="T1" fmla="*/ 188 h 9"/>
                <a:gd name="T2" fmla="*/ 49 w 9"/>
                <a:gd name="T3" fmla="*/ 188 h 9"/>
                <a:gd name="T4" fmla="*/ 0 w 9"/>
                <a:gd name="T5" fmla="*/ 108 h 9"/>
                <a:gd name="T6" fmla="*/ 49 w 9"/>
                <a:gd name="T7" fmla="*/ 0 h 9"/>
                <a:gd name="T8" fmla="*/ 64 w 9"/>
                <a:gd name="T9" fmla="*/ 0 h 9"/>
                <a:gd name="T10" fmla="*/ 113 w 9"/>
                <a:gd name="T11" fmla="*/ 108 h 9"/>
                <a:gd name="T12" fmla="*/ 49 w 9"/>
                <a:gd name="T13" fmla="*/ 188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172" name="Freeform 155"/>
            <p:cNvSpPr>
              <a:spLocks noChangeArrowheads="1"/>
            </p:cNvSpPr>
            <p:nvPr/>
          </p:nvSpPr>
          <p:spPr bwMode="auto">
            <a:xfrm>
              <a:off x="5661" y="144"/>
              <a:ext cx="12" cy="13"/>
            </a:xfrm>
            <a:custGeom>
              <a:avLst/>
              <a:gdLst>
                <a:gd name="T0" fmla="*/ 64 w 9"/>
                <a:gd name="T1" fmla="*/ 188 h 9"/>
                <a:gd name="T2" fmla="*/ 0 w 9"/>
                <a:gd name="T3" fmla="*/ 108 h 9"/>
                <a:gd name="T4" fmla="*/ 0 w 9"/>
                <a:gd name="T5" fmla="*/ 108 h 9"/>
                <a:gd name="T6" fmla="*/ 64 w 9"/>
                <a:gd name="T7" fmla="*/ 0 h 9"/>
                <a:gd name="T8" fmla="*/ 64 w 9"/>
                <a:gd name="T9" fmla="*/ 0 h 9"/>
                <a:gd name="T10" fmla="*/ 113 w 9"/>
                <a:gd name="T11" fmla="*/ 108 h 9"/>
                <a:gd name="T12" fmla="*/ 64 w 9"/>
                <a:gd name="T13" fmla="*/ 188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1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7" y="1"/>
                    <a:pt x="9" y="2"/>
                    <a:pt x="9" y="5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173" name="Freeform 156"/>
            <p:cNvSpPr>
              <a:spLocks noChangeArrowheads="1"/>
            </p:cNvSpPr>
            <p:nvPr/>
          </p:nvSpPr>
          <p:spPr bwMode="auto">
            <a:xfrm>
              <a:off x="5640" y="158"/>
              <a:ext cx="12" cy="13"/>
            </a:xfrm>
            <a:custGeom>
              <a:avLst/>
              <a:gdLst>
                <a:gd name="T0" fmla="*/ 120 w 8"/>
                <a:gd name="T1" fmla="*/ 188 h 9"/>
                <a:gd name="T2" fmla="*/ 120 w 8"/>
                <a:gd name="T3" fmla="*/ 188 h 9"/>
                <a:gd name="T4" fmla="*/ 0 w 8"/>
                <a:gd name="T5" fmla="*/ 108 h 9"/>
                <a:gd name="T6" fmla="*/ 0 w 8"/>
                <a:gd name="T7" fmla="*/ 81 h 9"/>
                <a:gd name="T8" fmla="*/ 120 w 8"/>
                <a:gd name="T9" fmla="*/ 0 h 9"/>
                <a:gd name="T10" fmla="*/ 120 w 8"/>
                <a:gd name="T11" fmla="*/ 0 h 9"/>
                <a:gd name="T12" fmla="*/ 230 w 8"/>
                <a:gd name="T13" fmla="*/ 108 h 9"/>
                <a:gd name="T14" fmla="*/ 230 w 8"/>
                <a:gd name="T15" fmla="*/ 108 h 9"/>
                <a:gd name="T16" fmla="*/ 120 w 8"/>
                <a:gd name="T17" fmla="*/ 188 h 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6" y="0"/>
                    <a:pt x="8" y="2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174" name="Freeform 157"/>
            <p:cNvSpPr>
              <a:spLocks noChangeArrowheads="1"/>
            </p:cNvSpPr>
            <p:nvPr/>
          </p:nvSpPr>
          <p:spPr bwMode="auto">
            <a:xfrm>
              <a:off x="5621" y="144"/>
              <a:ext cx="12" cy="13"/>
            </a:xfrm>
            <a:custGeom>
              <a:avLst/>
              <a:gdLst>
                <a:gd name="T0" fmla="*/ 49 w 9"/>
                <a:gd name="T1" fmla="*/ 188 h 9"/>
                <a:gd name="T2" fmla="*/ 0 w 9"/>
                <a:gd name="T3" fmla="*/ 108 h 9"/>
                <a:gd name="T4" fmla="*/ 49 w 9"/>
                <a:gd name="T5" fmla="*/ 0 h 9"/>
                <a:gd name="T6" fmla="*/ 49 w 9"/>
                <a:gd name="T7" fmla="*/ 0 h 9"/>
                <a:gd name="T8" fmla="*/ 113 w 9"/>
                <a:gd name="T9" fmla="*/ 108 h 9"/>
                <a:gd name="T10" fmla="*/ 49 w 9"/>
                <a:gd name="T11" fmla="*/ 188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2"/>
                    <a:pt x="2" y="1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7" y="1"/>
                    <a:pt x="9" y="2"/>
                    <a:pt x="9" y="5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175" name="Freeform 158"/>
            <p:cNvSpPr>
              <a:spLocks noChangeArrowheads="1"/>
            </p:cNvSpPr>
            <p:nvPr/>
          </p:nvSpPr>
          <p:spPr bwMode="auto">
            <a:xfrm>
              <a:off x="5393" y="158"/>
              <a:ext cx="13" cy="13"/>
            </a:xfrm>
            <a:custGeom>
              <a:avLst/>
              <a:gdLst>
                <a:gd name="T0" fmla="*/ 108 w 9"/>
                <a:gd name="T1" fmla="*/ 188 h 9"/>
                <a:gd name="T2" fmla="*/ 108 w 9"/>
                <a:gd name="T3" fmla="*/ 188 h 9"/>
                <a:gd name="T4" fmla="*/ 0 w 9"/>
                <a:gd name="T5" fmla="*/ 108 h 9"/>
                <a:gd name="T6" fmla="*/ 0 w 9"/>
                <a:gd name="T7" fmla="*/ 108 h 9"/>
                <a:gd name="T8" fmla="*/ 108 w 9"/>
                <a:gd name="T9" fmla="*/ 0 h 9"/>
                <a:gd name="T10" fmla="*/ 108 w 9"/>
                <a:gd name="T11" fmla="*/ 0 h 9"/>
                <a:gd name="T12" fmla="*/ 188 w 9"/>
                <a:gd name="T13" fmla="*/ 108 h 9"/>
                <a:gd name="T14" fmla="*/ 108 w 9"/>
                <a:gd name="T15" fmla="*/ 188 h 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5" y="9"/>
                    <a:pt x="5" y="9"/>
                    <a:pt x="5" y="9"/>
                  </a:cubicBez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176" name="Freeform 159"/>
            <p:cNvSpPr>
              <a:spLocks noChangeArrowheads="1"/>
            </p:cNvSpPr>
            <p:nvPr/>
          </p:nvSpPr>
          <p:spPr bwMode="auto">
            <a:xfrm>
              <a:off x="5312" y="158"/>
              <a:ext cx="11" cy="13"/>
            </a:xfrm>
            <a:custGeom>
              <a:avLst/>
              <a:gdLst>
                <a:gd name="T0" fmla="*/ 69 w 8"/>
                <a:gd name="T1" fmla="*/ 188 h 9"/>
                <a:gd name="T2" fmla="*/ 69 w 8"/>
                <a:gd name="T3" fmla="*/ 188 h 9"/>
                <a:gd name="T4" fmla="*/ 0 w 8"/>
                <a:gd name="T5" fmla="*/ 108 h 9"/>
                <a:gd name="T6" fmla="*/ 0 w 8"/>
                <a:gd name="T7" fmla="*/ 108 h 9"/>
                <a:gd name="T8" fmla="*/ 69 w 8"/>
                <a:gd name="T9" fmla="*/ 0 h 9"/>
                <a:gd name="T10" fmla="*/ 69 w 8"/>
                <a:gd name="T11" fmla="*/ 0 h 9"/>
                <a:gd name="T12" fmla="*/ 131 w 8"/>
                <a:gd name="T13" fmla="*/ 108 h 9"/>
                <a:gd name="T14" fmla="*/ 69 w 8"/>
                <a:gd name="T15" fmla="*/ 188 h 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6" y="0"/>
                    <a:pt x="8" y="2"/>
                    <a:pt x="8" y="5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177" name="Freeform 160"/>
            <p:cNvSpPr>
              <a:spLocks noChangeArrowheads="1"/>
            </p:cNvSpPr>
            <p:nvPr/>
          </p:nvSpPr>
          <p:spPr bwMode="auto">
            <a:xfrm>
              <a:off x="5250" y="144"/>
              <a:ext cx="11" cy="13"/>
            </a:xfrm>
            <a:custGeom>
              <a:avLst/>
              <a:gdLst>
                <a:gd name="T0" fmla="*/ 69 w 8"/>
                <a:gd name="T1" fmla="*/ 188 h 9"/>
                <a:gd name="T2" fmla="*/ 0 w 8"/>
                <a:gd name="T3" fmla="*/ 108 h 9"/>
                <a:gd name="T4" fmla="*/ 0 w 8"/>
                <a:gd name="T5" fmla="*/ 108 h 9"/>
                <a:gd name="T6" fmla="*/ 69 w 8"/>
                <a:gd name="T7" fmla="*/ 0 h 9"/>
                <a:gd name="T8" fmla="*/ 69 w 8"/>
                <a:gd name="T9" fmla="*/ 0 h 9"/>
                <a:gd name="T10" fmla="*/ 131 w 8"/>
                <a:gd name="T11" fmla="*/ 108 h 9"/>
                <a:gd name="T12" fmla="*/ 69 w 8"/>
                <a:gd name="T13" fmla="*/ 188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1" y="1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6" y="1"/>
                    <a:pt x="8" y="2"/>
                    <a:pt x="8" y="5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178" name="Freeform 161"/>
            <p:cNvSpPr>
              <a:spLocks noChangeArrowheads="1"/>
            </p:cNvSpPr>
            <p:nvPr/>
          </p:nvSpPr>
          <p:spPr bwMode="auto">
            <a:xfrm>
              <a:off x="5291" y="144"/>
              <a:ext cx="13" cy="13"/>
            </a:xfrm>
            <a:custGeom>
              <a:avLst/>
              <a:gdLst>
                <a:gd name="T0" fmla="*/ 81 w 9"/>
                <a:gd name="T1" fmla="*/ 188 h 9"/>
                <a:gd name="T2" fmla="*/ 0 w 9"/>
                <a:gd name="T3" fmla="*/ 108 h 9"/>
                <a:gd name="T4" fmla="*/ 0 w 9"/>
                <a:gd name="T5" fmla="*/ 108 h 9"/>
                <a:gd name="T6" fmla="*/ 81 w 9"/>
                <a:gd name="T7" fmla="*/ 0 h 9"/>
                <a:gd name="T8" fmla="*/ 81 w 9"/>
                <a:gd name="T9" fmla="*/ 0 h 9"/>
                <a:gd name="T10" fmla="*/ 188 w 9"/>
                <a:gd name="T11" fmla="*/ 108 h 9"/>
                <a:gd name="T12" fmla="*/ 81 w 9"/>
                <a:gd name="T13" fmla="*/ 188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1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7" y="1"/>
                    <a:pt x="9" y="2"/>
                    <a:pt x="9" y="5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179" name="Freeform 162"/>
            <p:cNvSpPr>
              <a:spLocks noChangeArrowheads="1"/>
            </p:cNvSpPr>
            <p:nvPr/>
          </p:nvSpPr>
          <p:spPr bwMode="auto">
            <a:xfrm>
              <a:off x="5270" y="158"/>
              <a:ext cx="12" cy="13"/>
            </a:xfrm>
            <a:custGeom>
              <a:avLst/>
              <a:gdLst>
                <a:gd name="T0" fmla="*/ 65 w 9"/>
                <a:gd name="T1" fmla="*/ 188 h 9"/>
                <a:gd name="T2" fmla="*/ 49 w 9"/>
                <a:gd name="T3" fmla="*/ 188 h 9"/>
                <a:gd name="T4" fmla="*/ 0 w 9"/>
                <a:gd name="T5" fmla="*/ 108 h 9"/>
                <a:gd name="T6" fmla="*/ 0 w 9"/>
                <a:gd name="T7" fmla="*/ 108 h 9"/>
                <a:gd name="T8" fmla="*/ 49 w 9"/>
                <a:gd name="T9" fmla="*/ 0 h 9"/>
                <a:gd name="T10" fmla="*/ 65 w 9"/>
                <a:gd name="T11" fmla="*/ 0 h 9"/>
                <a:gd name="T12" fmla="*/ 116 w 9"/>
                <a:gd name="T13" fmla="*/ 108 h 9"/>
                <a:gd name="T14" fmla="*/ 65 w 9"/>
                <a:gd name="T15" fmla="*/ 188 h 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180" name="Freeform 163"/>
            <p:cNvSpPr>
              <a:spLocks noChangeArrowheads="1"/>
            </p:cNvSpPr>
            <p:nvPr/>
          </p:nvSpPr>
          <p:spPr bwMode="auto">
            <a:xfrm>
              <a:off x="5476" y="179"/>
              <a:ext cx="12" cy="12"/>
            </a:xfrm>
            <a:custGeom>
              <a:avLst/>
              <a:gdLst>
                <a:gd name="T0" fmla="*/ 65 w 9"/>
                <a:gd name="T1" fmla="*/ 116 h 9"/>
                <a:gd name="T2" fmla="*/ 49 w 9"/>
                <a:gd name="T3" fmla="*/ 116 h 9"/>
                <a:gd name="T4" fmla="*/ 0 w 9"/>
                <a:gd name="T5" fmla="*/ 65 h 9"/>
                <a:gd name="T6" fmla="*/ 0 w 9"/>
                <a:gd name="T7" fmla="*/ 49 h 9"/>
                <a:gd name="T8" fmla="*/ 49 w 9"/>
                <a:gd name="T9" fmla="*/ 0 h 9"/>
                <a:gd name="T10" fmla="*/ 116 w 9"/>
                <a:gd name="T11" fmla="*/ 49 h 9"/>
                <a:gd name="T12" fmla="*/ 65 w 9"/>
                <a:gd name="T13" fmla="*/ 116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181" name="Freeform 164"/>
            <p:cNvSpPr>
              <a:spLocks noChangeArrowheads="1"/>
            </p:cNvSpPr>
            <p:nvPr/>
          </p:nvSpPr>
          <p:spPr bwMode="auto">
            <a:xfrm>
              <a:off x="5436" y="179"/>
              <a:ext cx="12" cy="12"/>
            </a:xfrm>
            <a:custGeom>
              <a:avLst/>
              <a:gdLst>
                <a:gd name="T0" fmla="*/ 120 w 8"/>
                <a:gd name="T1" fmla="*/ 116 h 9"/>
                <a:gd name="T2" fmla="*/ 120 w 8"/>
                <a:gd name="T3" fmla="*/ 116 h 9"/>
                <a:gd name="T4" fmla="*/ 0 w 8"/>
                <a:gd name="T5" fmla="*/ 65 h 9"/>
                <a:gd name="T6" fmla="*/ 0 w 8"/>
                <a:gd name="T7" fmla="*/ 49 h 9"/>
                <a:gd name="T8" fmla="*/ 120 w 8"/>
                <a:gd name="T9" fmla="*/ 0 h 9"/>
                <a:gd name="T10" fmla="*/ 230 w 8"/>
                <a:gd name="T11" fmla="*/ 49 h 9"/>
                <a:gd name="T12" fmla="*/ 120 w 8"/>
                <a:gd name="T13" fmla="*/ 116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182" name="Freeform 165"/>
            <p:cNvSpPr>
              <a:spLocks noChangeArrowheads="1"/>
            </p:cNvSpPr>
            <p:nvPr/>
          </p:nvSpPr>
          <p:spPr bwMode="auto">
            <a:xfrm>
              <a:off x="5415" y="166"/>
              <a:ext cx="12" cy="12"/>
            </a:xfrm>
            <a:custGeom>
              <a:avLst/>
              <a:gdLst>
                <a:gd name="T0" fmla="*/ 49 w 9"/>
                <a:gd name="T1" fmla="*/ 113 h 9"/>
                <a:gd name="T2" fmla="*/ 0 w 9"/>
                <a:gd name="T3" fmla="*/ 64 h 9"/>
                <a:gd name="T4" fmla="*/ 0 w 9"/>
                <a:gd name="T5" fmla="*/ 49 h 9"/>
                <a:gd name="T6" fmla="*/ 49 w 9"/>
                <a:gd name="T7" fmla="*/ 0 h 9"/>
                <a:gd name="T8" fmla="*/ 113 w 9"/>
                <a:gd name="T9" fmla="*/ 64 h 9"/>
                <a:gd name="T10" fmla="*/ 49 w 9"/>
                <a:gd name="T11" fmla="*/ 113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183" name="Freeform 166"/>
            <p:cNvSpPr>
              <a:spLocks noChangeArrowheads="1"/>
            </p:cNvSpPr>
            <p:nvPr/>
          </p:nvSpPr>
          <p:spPr bwMode="auto">
            <a:xfrm>
              <a:off x="5331" y="166"/>
              <a:ext cx="14" cy="12"/>
            </a:xfrm>
            <a:custGeom>
              <a:avLst/>
              <a:gdLst>
                <a:gd name="T0" fmla="*/ 182 w 9"/>
                <a:gd name="T1" fmla="*/ 113 h 9"/>
                <a:gd name="T2" fmla="*/ 0 w 9"/>
                <a:gd name="T3" fmla="*/ 64 h 9"/>
                <a:gd name="T4" fmla="*/ 0 w 9"/>
                <a:gd name="T5" fmla="*/ 49 h 9"/>
                <a:gd name="T6" fmla="*/ 182 w 9"/>
                <a:gd name="T7" fmla="*/ 0 h 9"/>
                <a:gd name="T8" fmla="*/ 327 w 9"/>
                <a:gd name="T9" fmla="*/ 64 h 9"/>
                <a:gd name="T10" fmla="*/ 182 w 9"/>
                <a:gd name="T11" fmla="*/ 113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184" name="Freeform 167"/>
            <p:cNvSpPr>
              <a:spLocks noChangeArrowheads="1"/>
            </p:cNvSpPr>
            <p:nvPr/>
          </p:nvSpPr>
          <p:spPr bwMode="auto">
            <a:xfrm>
              <a:off x="5600" y="179"/>
              <a:ext cx="12" cy="12"/>
            </a:xfrm>
            <a:custGeom>
              <a:avLst/>
              <a:gdLst>
                <a:gd name="T0" fmla="*/ 64 w 9"/>
                <a:gd name="T1" fmla="*/ 116 h 9"/>
                <a:gd name="T2" fmla="*/ 49 w 9"/>
                <a:gd name="T3" fmla="*/ 116 h 9"/>
                <a:gd name="T4" fmla="*/ 0 w 9"/>
                <a:gd name="T5" fmla="*/ 49 h 9"/>
                <a:gd name="T6" fmla="*/ 64 w 9"/>
                <a:gd name="T7" fmla="*/ 0 h 9"/>
                <a:gd name="T8" fmla="*/ 113 w 9"/>
                <a:gd name="T9" fmla="*/ 49 h 9"/>
                <a:gd name="T10" fmla="*/ 64 w 9"/>
                <a:gd name="T11" fmla="*/ 116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185" name="Freeform 168"/>
            <p:cNvSpPr>
              <a:spLocks noChangeArrowheads="1"/>
            </p:cNvSpPr>
            <p:nvPr/>
          </p:nvSpPr>
          <p:spPr bwMode="auto">
            <a:xfrm>
              <a:off x="5580" y="166"/>
              <a:ext cx="11" cy="12"/>
            </a:xfrm>
            <a:custGeom>
              <a:avLst/>
              <a:gdLst>
                <a:gd name="T0" fmla="*/ 69 w 8"/>
                <a:gd name="T1" fmla="*/ 113 h 9"/>
                <a:gd name="T2" fmla="*/ 0 w 8"/>
                <a:gd name="T3" fmla="*/ 64 h 9"/>
                <a:gd name="T4" fmla="*/ 0 w 8"/>
                <a:gd name="T5" fmla="*/ 49 h 9"/>
                <a:gd name="T6" fmla="*/ 69 w 8"/>
                <a:gd name="T7" fmla="*/ 0 h 9"/>
                <a:gd name="T8" fmla="*/ 131 w 8"/>
                <a:gd name="T9" fmla="*/ 64 h 9"/>
                <a:gd name="T10" fmla="*/ 69 w 8"/>
                <a:gd name="T11" fmla="*/ 113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5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186" name="Freeform 169"/>
            <p:cNvSpPr>
              <a:spLocks noChangeArrowheads="1"/>
            </p:cNvSpPr>
            <p:nvPr/>
          </p:nvSpPr>
          <p:spPr bwMode="auto">
            <a:xfrm>
              <a:off x="5558" y="179"/>
              <a:ext cx="12" cy="12"/>
            </a:xfrm>
            <a:custGeom>
              <a:avLst/>
              <a:gdLst>
                <a:gd name="T0" fmla="*/ 49 w 9"/>
                <a:gd name="T1" fmla="*/ 116 h 9"/>
                <a:gd name="T2" fmla="*/ 49 w 9"/>
                <a:gd name="T3" fmla="*/ 116 h 9"/>
                <a:gd name="T4" fmla="*/ 0 w 9"/>
                <a:gd name="T5" fmla="*/ 65 h 9"/>
                <a:gd name="T6" fmla="*/ 0 w 9"/>
                <a:gd name="T7" fmla="*/ 49 h 9"/>
                <a:gd name="T8" fmla="*/ 49 w 9"/>
                <a:gd name="T9" fmla="*/ 0 h 9"/>
                <a:gd name="T10" fmla="*/ 113 w 9"/>
                <a:gd name="T11" fmla="*/ 49 h 9"/>
                <a:gd name="T12" fmla="*/ 49 w 9"/>
                <a:gd name="T13" fmla="*/ 116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187" name="Freeform 170"/>
            <p:cNvSpPr>
              <a:spLocks noChangeArrowheads="1"/>
            </p:cNvSpPr>
            <p:nvPr/>
          </p:nvSpPr>
          <p:spPr bwMode="auto">
            <a:xfrm>
              <a:off x="5538" y="166"/>
              <a:ext cx="12" cy="12"/>
            </a:xfrm>
            <a:custGeom>
              <a:avLst/>
              <a:gdLst>
                <a:gd name="T0" fmla="*/ 64 w 9"/>
                <a:gd name="T1" fmla="*/ 113 h 9"/>
                <a:gd name="T2" fmla="*/ 0 w 9"/>
                <a:gd name="T3" fmla="*/ 64 h 9"/>
                <a:gd name="T4" fmla="*/ 0 w 9"/>
                <a:gd name="T5" fmla="*/ 49 h 9"/>
                <a:gd name="T6" fmla="*/ 64 w 9"/>
                <a:gd name="T7" fmla="*/ 0 h 9"/>
                <a:gd name="T8" fmla="*/ 113 w 9"/>
                <a:gd name="T9" fmla="*/ 64 h 9"/>
                <a:gd name="T10" fmla="*/ 64 w 9"/>
                <a:gd name="T11" fmla="*/ 113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188" name="Freeform 171"/>
            <p:cNvSpPr>
              <a:spLocks noChangeArrowheads="1"/>
            </p:cNvSpPr>
            <p:nvPr/>
          </p:nvSpPr>
          <p:spPr bwMode="auto">
            <a:xfrm>
              <a:off x="5518" y="179"/>
              <a:ext cx="12" cy="12"/>
            </a:xfrm>
            <a:custGeom>
              <a:avLst/>
              <a:gdLst>
                <a:gd name="T0" fmla="*/ 120 w 8"/>
                <a:gd name="T1" fmla="*/ 116 h 9"/>
                <a:gd name="T2" fmla="*/ 120 w 8"/>
                <a:gd name="T3" fmla="*/ 116 h 9"/>
                <a:gd name="T4" fmla="*/ 0 w 8"/>
                <a:gd name="T5" fmla="*/ 65 h 9"/>
                <a:gd name="T6" fmla="*/ 0 w 8"/>
                <a:gd name="T7" fmla="*/ 49 h 9"/>
                <a:gd name="T8" fmla="*/ 120 w 8"/>
                <a:gd name="T9" fmla="*/ 0 h 9"/>
                <a:gd name="T10" fmla="*/ 230 w 8"/>
                <a:gd name="T11" fmla="*/ 49 h 9"/>
                <a:gd name="T12" fmla="*/ 120 w 8"/>
                <a:gd name="T13" fmla="*/ 116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1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189" name="Freeform 172"/>
            <p:cNvSpPr>
              <a:spLocks noChangeArrowheads="1"/>
            </p:cNvSpPr>
            <p:nvPr/>
          </p:nvSpPr>
          <p:spPr bwMode="auto">
            <a:xfrm>
              <a:off x="5496" y="166"/>
              <a:ext cx="12" cy="12"/>
            </a:xfrm>
            <a:custGeom>
              <a:avLst/>
              <a:gdLst>
                <a:gd name="T0" fmla="*/ 49 w 9"/>
                <a:gd name="T1" fmla="*/ 113 h 9"/>
                <a:gd name="T2" fmla="*/ 0 w 9"/>
                <a:gd name="T3" fmla="*/ 64 h 9"/>
                <a:gd name="T4" fmla="*/ 0 w 9"/>
                <a:gd name="T5" fmla="*/ 49 h 9"/>
                <a:gd name="T6" fmla="*/ 49 w 9"/>
                <a:gd name="T7" fmla="*/ 0 h 9"/>
                <a:gd name="T8" fmla="*/ 113 w 9"/>
                <a:gd name="T9" fmla="*/ 64 h 9"/>
                <a:gd name="T10" fmla="*/ 49 w 9"/>
                <a:gd name="T11" fmla="*/ 113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190" name="Oval 173"/>
            <p:cNvSpPr>
              <a:spLocks noChangeArrowheads="1"/>
            </p:cNvSpPr>
            <p:nvPr/>
          </p:nvSpPr>
          <p:spPr bwMode="auto">
            <a:xfrm>
              <a:off x="5455" y="166"/>
              <a:ext cx="13" cy="12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US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191" name="Oval 174"/>
            <p:cNvSpPr>
              <a:spLocks noChangeArrowheads="1"/>
            </p:cNvSpPr>
            <p:nvPr/>
          </p:nvSpPr>
          <p:spPr bwMode="auto">
            <a:xfrm>
              <a:off x="5744" y="166"/>
              <a:ext cx="13" cy="12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US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192" name="Freeform 175"/>
            <p:cNvSpPr>
              <a:spLocks noChangeArrowheads="1"/>
            </p:cNvSpPr>
            <p:nvPr/>
          </p:nvSpPr>
          <p:spPr bwMode="auto">
            <a:xfrm>
              <a:off x="5723" y="179"/>
              <a:ext cx="12" cy="12"/>
            </a:xfrm>
            <a:custGeom>
              <a:avLst/>
              <a:gdLst>
                <a:gd name="T0" fmla="*/ 64 w 9"/>
                <a:gd name="T1" fmla="*/ 116 h 9"/>
                <a:gd name="T2" fmla="*/ 64 w 9"/>
                <a:gd name="T3" fmla="*/ 116 h 9"/>
                <a:gd name="T4" fmla="*/ 0 w 9"/>
                <a:gd name="T5" fmla="*/ 65 h 9"/>
                <a:gd name="T6" fmla="*/ 0 w 9"/>
                <a:gd name="T7" fmla="*/ 49 h 9"/>
                <a:gd name="T8" fmla="*/ 64 w 9"/>
                <a:gd name="T9" fmla="*/ 0 h 9"/>
                <a:gd name="T10" fmla="*/ 113 w 9"/>
                <a:gd name="T11" fmla="*/ 49 h 9"/>
                <a:gd name="T12" fmla="*/ 64 w 9"/>
                <a:gd name="T13" fmla="*/ 116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5" y="9"/>
                    <a:pt x="5" y="9"/>
                    <a:pt x="5" y="9"/>
                  </a:cubicBez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193" name="Freeform 176"/>
            <p:cNvSpPr>
              <a:spLocks noChangeArrowheads="1"/>
            </p:cNvSpPr>
            <p:nvPr/>
          </p:nvSpPr>
          <p:spPr bwMode="auto">
            <a:xfrm>
              <a:off x="5703" y="166"/>
              <a:ext cx="11" cy="12"/>
            </a:xfrm>
            <a:custGeom>
              <a:avLst/>
              <a:gdLst>
                <a:gd name="T0" fmla="*/ 69 w 8"/>
                <a:gd name="T1" fmla="*/ 113 h 9"/>
                <a:gd name="T2" fmla="*/ 0 w 8"/>
                <a:gd name="T3" fmla="*/ 64 h 9"/>
                <a:gd name="T4" fmla="*/ 0 w 8"/>
                <a:gd name="T5" fmla="*/ 49 h 9"/>
                <a:gd name="T6" fmla="*/ 69 w 8"/>
                <a:gd name="T7" fmla="*/ 0 h 9"/>
                <a:gd name="T8" fmla="*/ 131 w 8"/>
                <a:gd name="T9" fmla="*/ 64 h 9"/>
                <a:gd name="T10" fmla="*/ 69 w 8"/>
                <a:gd name="T11" fmla="*/ 113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5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194" name="Freeform 177"/>
            <p:cNvSpPr>
              <a:spLocks noChangeArrowheads="1"/>
            </p:cNvSpPr>
            <p:nvPr/>
          </p:nvSpPr>
          <p:spPr bwMode="auto">
            <a:xfrm>
              <a:off x="5682" y="179"/>
              <a:ext cx="12" cy="12"/>
            </a:xfrm>
            <a:custGeom>
              <a:avLst/>
              <a:gdLst>
                <a:gd name="T0" fmla="*/ 49 w 9"/>
                <a:gd name="T1" fmla="*/ 116 h 9"/>
                <a:gd name="T2" fmla="*/ 49 w 9"/>
                <a:gd name="T3" fmla="*/ 116 h 9"/>
                <a:gd name="T4" fmla="*/ 0 w 9"/>
                <a:gd name="T5" fmla="*/ 49 h 9"/>
                <a:gd name="T6" fmla="*/ 49 w 9"/>
                <a:gd name="T7" fmla="*/ 0 h 9"/>
                <a:gd name="T8" fmla="*/ 113 w 9"/>
                <a:gd name="T9" fmla="*/ 49 h 9"/>
                <a:gd name="T10" fmla="*/ 49 w 9"/>
                <a:gd name="T11" fmla="*/ 116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195" name="Freeform 178"/>
            <p:cNvSpPr>
              <a:spLocks noChangeArrowheads="1"/>
            </p:cNvSpPr>
            <p:nvPr/>
          </p:nvSpPr>
          <p:spPr bwMode="auto">
            <a:xfrm>
              <a:off x="5661" y="166"/>
              <a:ext cx="12" cy="12"/>
            </a:xfrm>
            <a:custGeom>
              <a:avLst/>
              <a:gdLst>
                <a:gd name="T0" fmla="*/ 64 w 9"/>
                <a:gd name="T1" fmla="*/ 113 h 9"/>
                <a:gd name="T2" fmla="*/ 0 w 9"/>
                <a:gd name="T3" fmla="*/ 64 h 9"/>
                <a:gd name="T4" fmla="*/ 0 w 9"/>
                <a:gd name="T5" fmla="*/ 49 h 9"/>
                <a:gd name="T6" fmla="*/ 64 w 9"/>
                <a:gd name="T7" fmla="*/ 0 h 9"/>
                <a:gd name="T8" fmla="*/ 113 w 9"/>
                <a:gd name="T9" fmla="*/ 64 h 9"/>
                <a:gd name="T10" fmla="*/ 64 w 9"/>
                <a:gd name="T11" fmla="*/ 113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196" name="Freeform 179"/>
            <p:cNvSpPr>
              <a:spLocks noChangeArrowheads="1"/>
            </p:cNvSpPr>
            <p:nvPr/>
          </p:nvSpPr>
          <p:spPr bwMode="auto">
            <a:xfrm>
              <a:off x="5640" y="179"/>
              <a:ext cx="12" cy="12"/>
            </a:xfrm>
            <a:custGeom>
              <a:avLst/>
              <a:gdLst>
                <a:gd name="T0" fmla="*/ 120 w 8"/>
                <a:gd name="T1" fmla="*/ 116 h 9"/>
                <a:gd name="T2" fmla="*/ 120 w 8"/>
                <a:gd name="T3" fmla="*/ 116 h 9"/>
                <a:gd name="T4" fmla="*/ 0 w 8"/>
                <a:gd name="T5" fmla="*/ 65 h 9"/>
                <a:gd name="T6" fmla="*/ 0 w 8"/>
                <a:gd name="T7" fmla="*/ 49 h 9"/>
                <a:gd name="T8" fmla="*/ 120 w 8"/>
                <a:gd name="T9" fmla="*/ 0 h 9"/>
                <a:gd name="T10" fmla="*/ 230 w 8"/>
                <a:gd name="T11" fmla="*/ 49 h 9"/>
                <a:gd name="T12" fmla="*/ 230 w 8"/>
                <a:gd name="T13" fmla="*/ 65 h 9"/>
                <a:gd name="T14" fmla="*/ 120 w 8"/>
                <a:gd name="T15" fmla="*/ 116 h 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197" name="Oval 180"/>
            <p:cNvSpPr>
              <a:spLocks noChangeArrowheads="1"/>
            </p:cNvSpPr>
            <p:nvPr/>
          </p:nvSpPr>
          <p:spPr bwMode="auto">
            <a:xfrm>
              <a:off x="5621" y="166"/>
              <a:ext cx="12" cy="12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US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198" name="Freeform 181"/>
            <p:cNvSpPr>
              <a:spLocks noChangeArrowheads="1"/>
            </p:cNvSpPr>
            <p:nvPr/>
          </p:nvSpPr>
          <p:spPr bwMode="auto">
            <a:xfrm>
              <a:off x="5393" y="179"/>
              <a:ext cx="13" cy="12"/>
            </a:xfrm>
            <a:custGeom>
              <a:avLst/>
              <a:gdLst>
                <a:gd name="T0" fmla="*/ 108 w 9"/>
                <a:gd name="T1" fmla="*/ 116 h 9"/>
                <a:gd name="T2" fmla="*/ 108 w 9"/>
                <a:gd name="T3" fmla="*/ 116 h 9"/>
                <a:gd name="T4" fmla="*/ 0 w 9"/>
                <a:gd name="T5" fmla="*/ 65 h 9"/>
                <a:gd name="T6" fmla="*/ 0 w 9"/>
                <a:gd name="T7" fmla="*/ 49 h 9"/>
                <a:gd name="T8" fmla="*/ 108 w 9"/>
                <a:gd name="T9" fmla="*/ 0 h 9"/>
                <a:gd name="T10" fmla="*/ 188 w 9"/>
                <a:gd name="T11" fmla="*/ 49 h 9"/>
                <a:gd name="T12" fmla="*/ 108 w 9"/>
                <a:gd name="T13" fmla="*/ 116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5" y="9"/>
                    <a:pt x="5" y="9"/>
                    <a:pt x="5" y="9"/>
                  </a:cubicBez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199" name="Freeform 182"/>
            <p:cNvSpPr>
              <a:spLocks noChangeArrowheads="1"/>
            </p:cNvSpPr>
            <p:nvPr/>
          </p:nvSpPr>
          <p:spPr bwMode="auto">
            <a:xfrm>
              <a:off x="5312" y="179"/>
              <a:ext cx="11" cy="12"/>
            </a:xfrm>
            <a:custGeom>
              <a:avLst/>
              <a:gdLst>
                <a:gd name="T0" fmla="*/ 69 w 8"/>
                <a:gd name="T1" fmla="*/ 116 h 9"/>
                <a:gd name="T2" fmla="*/ 69 w 8"/>
                <a:gd name="T3" fmla="*/ 116 h 9"/>
                <a:gd name="T4" fmla="*/ 0 w 8"/>
                <a:gd name="T5" fmla="*/ 65 h 9"/>
                <a:gd name="T6" fmla="*/ 0 w 8"/>
                <a:gd name="T7" fmla="*/ 49 h 9"/>
                <a:gd name="T8" fmla="*/ 69 w 8"/>
                <a:gd name="T9" fmla="*/ 0 h 9"/>
                <a:gd name="T10" fmla="*/ 131 w 8"/>
                <a:gd name="T11" fmla="*/ 49 h 9"/>
                <a:gd name="T12" fmla="*/ 69 w 8"/>
                <a:gd name="T13" fmla="*/ 116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200" name="Freeform 183"/>
            <p:cNvSpPr>
              <a:spLocks noChangeArrowheads="1"/>
            </p:cNvSpPr>
            <p:nvPr/>
          </p:nvSpPr>
          <p:spPr bwMode="auto">
            <a:xfrm>
              <a:off x="5250" y="166"/>
              <a:ext cx="11" cy="12"/>
            </a:xfrm>
            <a:custGeom>
              <a:avLst/>
              <a:gdLst>
                <a:gd name="T0" fmla="*/ 69 w 8"/>
                <a:gd name="T1" fmla="*/ 113 h 9"/>
                <a:gd name="T2" fmla="*/ 0 w 8"/>
                <a:gd name="T3" fmla="*/ 64 h 9"/>
                <a:gd name="T4" fmla="*/ 0 w 8"/>
                <a:gd name="T5" fmla="*/ 49 h 9"/>
                <a:gd name="T6" fmla="*/ 69 w 8"/>
                <a:gd name="T7" fmla="*/ 0 h 9"/>
                <a:gd name="T8" fmla="*/ 131 w 8"/>
                <a:gd name="T9" fmla="*/ 64 h 9"/>
                <a:gd name="T10" fmla="*/ 69 w 8"/>
                <a:gd name="T11" fmla="*/ 113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5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201" name="Freeform 184"/>
            <p:cNvSpPr>
              <a:spLocks noChangeArrowheads="1"/>
            </p:cNvSpPr>
            <p:nvPr/>
          </p:nvSpPr>
          <p:spPr bwMode="auto">
            <a:xfrm>
              <a:off x="5374" y="166"/>
              <a:ext cx="11" cy="12"/>
            </a:xfrm>
            <a:custGeom>
              <a:avLst/>
              <a:gdLst>
                <a:gd name="T0" fmla="*/ 69 w 8"/>
                <a:gd name="T1" fmla="*/ 113 h 9"/>
                <a:gd name="T2" fmla="*/ 0 w 8"/>
                <a:gd name="T3" fmla="*/ 64 h 9"/>
                <a:gd name="T4" fmla="*/ 0 w 8"/>
                <a:gd name="T5" fmla="*/ 49 h 9"/>
                <a:gd name="T6" fmla="*/ 69 w 8"/>
                <a:gd name="T7" fmla="*/ 0 h 9"/>
                <a:gd name="T8" fmla="*/ 131 w 8"/>
                <a:gd name="T9" fmla="*/ 64 h 9"/>
                <a:gd name="T10" fmla="*/ 69 w 8"/>
                <a:gd name="T11" fmla="*/ 113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5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202" name="Freeform 185"/>
            <p:cNvSpPr>
              <a:spLocks noChangeArrowheads="1"/>
            </p:cNvSpPr>
            <p:nvPr/>
          </p:nvSpPr>
          <p:spPr bwMode="auto">
            <a:xfrm>
              <a:off x="5291" y="166"/>
              <a:ext cx="13" cy="12"/>
            </a:xfrm>
            <a:custGeom>
              <a:avLst/>
              <a:gdLst>
                <a:gd name="T0" fmla="*/ 81 w 9"/>
                <a:gd name="T1" fmla="*/ 113 h 9"/>
                <a:gd name="T2" fmla="*/ 0 w 9"/>
                <a:gd name="T3" fmla="*/ 64 h 9"/>
                <a:gd name="T4" fmla="*/ 0 w 9"/>
                <a:gd name="T5" fmla="*/ 49 h 9"/>
                <a:gd name="T6" fmla="*/ 81 w 9"/>
                <a:gd name="T7" fmla="*/ 0 h 9"/>
                <a:gd name="T8" fmla="*/ 188 w 9"/>
                <a:gd name="T9" fmla="*/ 64 h 9"/>
                <a:gd name="T10" fmla="*/ 81 w 9"/>
                <a:gd name="T11" fmla="*/ 113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203" name="Freeform 186"/>
            <p:cNvSpPr>
              <a:spLocks noChangeArrowheads="1"/>
            </p:cNvSpPr>
            <p:nvPr/>
          </p:nvSpPr>
          <p:spPr bwMode="auto">
            <a:xfrm>
              <a:off x="5229" y="179"/>
              <a:ext cx="13" cy="12"/>
            </a:xfrm>
            <a:custGeom>
              <a:avLst/>
              <a:gdLst>
                <a:gd name="T0" fmla="*/ 81 w 9"/>
                <a:gd name="T1" fmla="*/ 116 h 9"/>
                <a:gd name="T2" fmla="*/ 81 w 9"/>
                <a:gd name="T3" fmla="*/ 116 h 9"/>
                <a:gd name="T4" fmla="*/ 0 w 9"/>
                <a:gd name="T5" fmla="*/ 49 h 9"/>
                <a:gd name="T6" fmla="*/ 81 w 9"/>
                <a:gd name="T7" fmla="*/ 0 h 9"/>
                <a:gd name="T8" fmla="*/ 188 w 9"/>
                <a:gd name="T9" fmla="*/ 49 h 9"/>
                <a:gd name="T10" fmla="*/ 81 w 9"/>
                <a:gd name="T11" fmla="*/ 116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204" name="Freeform 187"/>
            <p:cNvSpPr>
              <a:spLocks noChangeArrowheads="1"/>
            </p:cNvSpPr>
            <p:nvPr/>
          </p:nvSpPr>
          <p:spPr bwMode="auto">
            <a:xfrm>
              <a:off x="5270" y="179"/>
              <a:ext cx="12" cy="12"/>
            </a:xfrm>
            <a:custGeom>
              <a:avLst/>
              <a:gdLst>
                <a:gd name="T0" fmla="*/ 65 w 9"/>
                <a:gd name="T1" fmla="*/ 116 h 9"/>
                <a:gd name="T2" fmla="*/ 49 w 9"/>
                <a:gd name="T3" fmla="*/ 116 h 9"/>
                <a:gd name="T4" fmla="*/ 0 w 9"/>
                <a:gd name="T5" fmla="*/ 65 h 9"/>
                <a:gd name="T6" fmla="*/ 0 w 9"/>
                <a:gd name="T7" fmla="*/ 49 h 9"/>
                <a:gd name="T8" fmla="*/ 65 w 9"/>
                <a:gd name="T9" fmla="*/ 0 h 9"/>
                <a:gd name="T10" fmla="*/ 116 w 9"/>
                <a:gd name="T11" fmla="*/ 49 h 9"/>
                <a:gd name="T12" fmla="*/ 65 w 9"/>
                <a:gd name="T13" fmla="*/ 116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205" name="Freeform 188"/>
            <p:cNvSpPr>
              <a:spLocks noChangeArrowheads="1"/>
            </p:cNvSpPr>
            <p:nvPr/>
          </p:nvSpPr>
          <p:spPr bwMode="auto">
            <a:xfrm>
              <a:off x="5476" y="201"/>
              <a:ext cx="12" cy="12"/>
            </a:xfrm>
            <a:custGeom>
              <a:avLst/>
              <a:gdLst>
                <a:gd name="T0" fmla="*/ 49 w 9"/>
                <a:gd name="T1" fmla="*/ 113 h 9"/>
                <a:gd name="T2" fmla="*/ 0 w 9"/>
                <a:gd name="T3" fmla="*/ 49 h 9"/>
                <a:gd name="T4" fmla="*/ 0 w 9"/>
                <a:gd name="T5" fmla="*/ 49 h 9"/>
                <a:gd name="T6" fmla="*/ 49 w 9"/>
                <a:gd name="T7" fmla="*/ 0 h 9"/>
                <a:gd name="T8" fmla="*/ 65 w 9"/>
                <a:gd name="T9" fmla="*/ 0 h 9"/>
                <a:gd name="T10" fmla="*/ 116 w 9"/>
                <a:gd name="T11" fmla="*/ 49 h 9"/>
                <a:gd name="T12" fmla="*/ 49 w 9"/>
                <a:gd name="T13" fmla="*/ 113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2" y="9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206" name="Freeform 189"/>
            <p:cNvSpPr>
              <a:spLocks noChangeArrowheads="1"/>
            </p:cNvSpPr>
            <p:nvPr/>
          </p:nvSpPr>
          <p:spPr bwMode="auto">
            <a:xfrm>
              <a:off x="5436" y="201"/>
              <a:ext cx="12" cy="12"/>
            </a:xfrm>
            <a:custGeom>
              <a:avLst/>
              <a:gdLst>
                <a:gd name="T0" fmla="*/ 120 w 8"/>
                <a:gd name="T1" fmla="*/ 113 h 9"/>
                <a:gd name="T2" fmla="*/ 0 w 8"/>
                <a:gd name="T3" fmla="*/ 49 h 9"/>
                <a:gd name="T4" fmla="*/ 0 w 8"/>
                <a:gd name="T5" fmla="*/ 49 h 9"/>
                <a:gd name="T6" fmla="*/ 120 w 8"/>
                <a:gd name="T7" fmla="*/ 0 h 9"/>
                <a:gd name="T8" fmla="*/ 120 w 8"/>
                <a:gd name="T9" fmla="*/ 0 h 9"/>
                <a:gd name="T10" fmla="*/ 230 w 8"/>
                <a:gd name="T11" fmla="*/ 49 h 9"/>
                <a:gd name="T12" fmla="*/ 120 w 8"/>
                <a:gd name="T13" fmla="*/ 113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2" y="9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7" y="0"/>
                    <a:pt x="8" y="2"/>
                    <a:pt x="8" y="4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207" name="Freeform 190"/>
            <p:cNvSpPr>
              <a:spLocks noChangeArrowheads="1"/>
            </p:cNvSpPr>
            <p:nvPr/>
          </p:nvSpPr>
          <p:spPr bwMode="auto">
            <a:xfrm>
              <a:off x="5415" y="185"/>
              <a:ext cx="12" cy="12"/>
            </a:xfrm>
            <a:custGeom>
              <a:avLst/>
              <a:gdLst>
                <a:gd name="T0" fmla="*/ 49 w 9"/>
                <a:gd name="T1" fmla="*/ 113 h 9"/>
                <a:gd name="T2" fmla="*/ 0 w 9"/>
                <a:gd name="T3" fmla="*/ 64 h 9"/>
                <a:gd name="T4" fmla="*/ 0 w 9"/>
                <a:gd name="T5" fmla="*/ 49 h 9"/>
                <a:gd name="T6" fmla="*/ 49 w 9"/>
                <a:gd name="T7" fmla="*/ 0 h 9"/>
                <a:gd name="T8" fmla="*/ 113 w 9"/>
                <a:gd name="T9" fmla="*/ 49 h 9"/>
                <a:gd name="T10" fmla="*/ 49 w 9"/>
                <a:gd name="T11" fmla="*/ 113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208" name="Freeform 191"/>
            <p:cNvSpPr>
              <a:spLocks noChangeArrowheads="1"/>
            </p:cNvSpPr>
            <p:nvPr/>
          </p:nvSpPr>
          <p:spPr bwMode="auto">
            <a:xfrm>
              <a:off x="5600" y="201"/>
              <a:ext cx="12" cy="12"/>
            </a:xfrm>
            <a:custGeom>
              <a:avLst/>
              <a:gdLst>
                <a:gd name="T0" fmla="*/ 64 w 9"/>
                <a:gd name="T1" fmla="*/ 113 h 9"/>
                <a:gd name="T2" fmla="*/ 0 w 9"/>
                <a:gd name="T3" fmla="*/ 49 h 9"/>
                <a:gd name="T4" fmla="*/ 49 w 9"/>
                <a:gd name="T5" fmla="*/ 0 h 9"/>
                <a:gd name="T6" fmla="*/ 64 w 9"/>
                <a:gd name="T7" fmla="*/ 0 h 9"/>
                <a:gd name="T8" fmla="*/ 113 w 9"/>
                <a:gd name="T9" fmla="*/ 49 h 9"/>
                <a:gd name="T10" fmla="*/ 64 w 9"/>
                <a:gd name="T11" fmla="*/ 113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2" y="9"/>
                    <a:pt x="0" y="7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209" name="Freeform 192"/>
            <p:cNvSpPr>
              <a:spLocks noChangeArrowheads="1"/>
            </p:cNvSpPr>
            <p:nvPr/>
          </p:nvSpPr>
          <p:spPr bwMode="auto">
            <a:xfrm>
              <a:off x="5580" y="185"/>
              <a:ext cx="11" cy="12"/>
            </a:xfrm>
            <a:custGeom>
              <a:avLst/>
              <a:gdLst>
                <a:gd name="T0" fmla="*/ 69 w 8"/>
                <a:gd name="T1" fmla="*/ 113 h 9"/>
                <a:gd name="T2" fmla="*/ 0 w 8"/>
                <a:gd name="T3" fmla="*/ 64 h 9"/>
                <a:gd name="T4" fmla="*/ 0 w 8"/>
                <a:gd name="T5" fmla="*/ 49 h 9"/>
                <a:gd name="T6" fmla="*/ 69 w 8"/>
                <a:gd name="T7" fmla="*/ 0 h 9"/>
                <a:gd name="T8" fmla="*/ 131 w 8"/>
                <a:gd name="T9" fmla="*/ 49 h 9"/>
                <a:gd name="T10" fmla="*/ 69 w 8"/>
                <a:gd name="T11" fmla="*/ 113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210" name="Freeform 193"/>
            <p:cNvSpPr>
              <a:spLocks noChangeArrowheads="1"/>
            </p:cNvSpPr>
            <p:nvPr/>
          </p:nvSpPr>
          <p:spPr bwMode="auto">
            <a:xfrm>
              <a:off x="5558" y="201"/>
              <a:ext cx="12" cy="12"/>
            </a:xfrm>
            <a:custGeom>
              <a:avLst/>
              <a:gdLst>
                <a:gd name="T0" fmla="*/ 49 w 9"/>
                <a:gd name="T1" fmla="*/ 113 h 9"/>
                <a:gd name="T2" fmla="*/ 0 w 9"/>
                <a:gd name="T3" fmla="*/ 49 h 9"/>
                <a:gd name="T4" fmla="*/ 0 w 9"/>
                <a:gd name="T5" fmla="*/ 49 h 9"/>
                <a:gd name="T6" fmla="*/ 49 w 9"/>
                <a:gd name="T7" fmla="*/ 0 h 9"/>
                <a:gd name="T8" fmla="*/ 49 w 9"/>
                <a:gd name="T9" fmla="*/ 0 h 9"/>
                <a:gd name="T10" fmla="*/ 113 w 9"/>
                <a:gd name="T11" fmla="*/ 49 h 9"/>
                <a:gd name="T12" fmla="*/ 49 w 9"/>
                <a:gd name="T13" fmla="*/ 113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2" y="9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211" name="Freeform 194"/>
            <p:cNvSpPr>
              <a:spLocks noChangeArrowheads="1"/>
            </p:cNvSpPr>
            <p:nvPr/>
          </p:nvSpPr>
          <p:spPr bwMode="auto">
            <a:xfrm>
              <a:off x="5538" y="185"/>
              <a:ext cx="12" cy="12"/>
            </a:xfrm>
            <a:custGeom>
              <a:avLst/>
              <a:gdLst>
                <a:gd name="T0" fmla="*/ 64 w 9"/>
                <a:gd name="T1" fmla="*/ 113 h 9"/>
                <a:gd name="T2" fmla="*/ 0 w 9"/>
                <a:gd name="T3" fmla="*/ 64 h 9"/>
                <a:gd name="T4" fmla="*/ 0 w 9"/>
                <a:gd name="T5" fmla="*/ 49 h 9"/>
                <a:gd name="T6" fmla="*/ 64 w 9"/>
                <a:gd name="T7" fmla="*/ 0 h 9"/>
                <a:gd name="T8" fmla="*/ 113 w 9"/>
                <a:gd name="T9" fmla="*/ 49 h 9"/>
                <a:gd name="T10" fmla="*/ 64 w 9"/>
                <a:gd name="T11" fmla="*/ 113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212" name="Freeform 195"/>
            <p:cNvSpPr>
              <a:spLocks noChangeArrowheads="1"/>
            </p:cNvSpPr>
            <p:nvPr/>
          </p:nvSpPr>
          <p:spPr bwMode="auto">
            <a:xfrm>
              <a:off x="5518" y="201"/>
              <a:ext cx="12" cy="12"/>
            </a:xfrm>
            <a:custGeom>
              <a:avLst/>
              <a:gdLst>
                <a:gd name="T0" fmla="*/ 120 w 8"/>
                <a:gd name="T1" fmla="*/ 113 h 9"/>
                <a:gd name="T2" fmla="*/ 0 w 8"/>
                <a:gd name="T3" fmla="*/ 49 h 9"/>
                <a:gd name="T4" fmla="*/ 0 w 8"/>
                <a:gd name="T5" fmla="*/ 49 h 9"/>
                <a:gd name="T6" fmla="*/ 120 w 8"/>
                <a:gd name="T7" fmla="*/ 0 h 9"/>
                <a:gd name="T8" fmla="*/ 120 w 8"/>
                <a:gd name="T9" fmla="*/ 0 h 9"/>
                <a:gd name="T10" fmla="*/ 230 w 8"/>
                <a:gd name="T11" fmla="*/ 49 h 9"/>
                <a:gd name="T12" fmla="*/ 120 w 8"/>
                <a:gd name="T13" fmla="*/ 113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2" y="9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213" name="Freeform 196"/>
            <p:cNvSpPr>
              <a:spLocks noChangeArrowheads="1"/>
            </p:cNvSpPr>
            <p:nvPr/>
          </p:nvSpPr>
          <p:spPr bwMode="auto">
            <a:xfrm>
              <a:off x="5496" y="185"/>
              <a:ext cx="12" cy="12"/>
            </a:xfrm>
            <a:custGeom>
              <a:avLst/>
              <a:gdLst>
                <a:gd name="T0" fmla="*/ 49 w 9"/>
                <a:gd name="T1" fmla="*/ 113 h 9"/>
                <a:gd name="T2" fmla="*/ 0 w 9"/>
                <a:gd name="T3" fmla="*/ 64 h 9"/>
                <a:gd name="T4" fmla="*/ 0 w 9"/>
                <a:gd name="T5" fmla="*/ 49 h 9"/>
                <a:gd name="T6" fmla="*/ 49 w 9"/>
                <a:gd name="T7" fmla="*/ 0 h 9"/>
                <a:gd name="T8" fmla="*/ 113 w 9"/>
                <a:gd name="T9" fmla="*/ 49 h 9"/>
                <a:gd name="T10" fmla="*/ 49 w 9"/>
                <a:gd name="T11" fmla="*/ 113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214" name="Oval 197"/>
            <p:cNvSpPr>
              <a:spLocks noChangeArrowheads="1"/>
            </p:cNvSpPr>
            <p:nvPr/>
          </p:nvSpPr>
          <p:spPr bwMode="auto">
            <a:xfrm>
              <a:off x="5455" y="185"/>
              <a:ext cx="13" cy="12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US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215" name="Oval 198"/>
            <p:cNvSpPr>
              <a:spLocks noChangeArrowheads="1"/>
            </p:cNvSpPr>
            <p:nvPr/>
          </p:nvSpPr>
          <p:spPr bwMode="auto">
            <a:xfrm>
              <a:off x="5744" y="185"/>
              <a:ext cx="13" cy="12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US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216" name="Freeform 199"/>
            <p:cNvSpPr>
              <a:spLocks noChangeArrowheads="1"/>
            </p:cNvSpPr>
            <p:nvPr/>
          </p:nvSpPr>
          <p:spPr bwMode="auto">
            <a:xfrm>
              <a:off x="5723" y="201"/>
              <a:ext cx="12" cy="12"/>
            </a:xfrm>
            <a:custGeom>
              <a:avLst/>
              <a:gdLst>
                <a:gd name="T0" fmla="*/ 64 w 9"/>
                <a:gd name="T1" fmla="*/ 113 h 9"/>
                <a:gd name="T2" fmla="*/ 0 w 9"/>
                <a:gd name="T3" fmla="*/ 49 h 9"/>
                <a:gd name="T4" fmla="*/ 0 w 9"/>
                <a:gd name="T5" fmla="*/ 49 h 9"/>
                <a:gd name="T6" fmla="*/ 64 w 9"/>
                <a:gd name="T7" fmla="*/ 0 h 9"/>
                <a:gd name="T8" fmla="*/ 64 w 9"/>
                <a:gd name="T9" fmla="*/ 0 h 9"/>
                <a:gd name="T10" fmla="*/ 113 w 9"/>
                <a:gd name="T11" fmla="*/ 49 h 9"/>
                <a:gd name="T12" fmla="*/ 64 w 9"/>
                <a:gd name="T13" fmla="*/ 113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2" y="9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217" name="Freeform 200"/>
            <p:cNvSpPr>
              <a:spLocks noChangeArrowheads="1"/>
            </p:cNvSpPr>
            <p:nvPr/>
          </p:nvSpPr>
          <p:spPr bwMode="auto">
            <a:xfrm>
              <a:off x="5703" y="185"/>
              <a:ext cx="11" cy="12"/>
            </a:xfrm>
            <a:custGeom>
              <a:avLst/>
              <a:gdLst>
                <a:gd name="T0" fmla="*/ 69 w 8"/>
                <a:gd name="T1" fmla="*/ 113 h 9"/>
                <a:gd name="T2" fmla="*/ 0 w 8"/>
                <a:gd name="T3" fmla="*/ 64 h 9"/>
                <a:gd name="T4" fmla="*/ 0 w 8"/>
                <a:gd name="T5" fmla="*/ 49 h 9"/>
                <a:gd name="T6" fmla="*/ 69 w 8"/>
                <a:gd name="T7" fmla="*/ 0 h 9"/>
                <a:gd name="T8" fmla="*/ 131 w 8"/>
                <a:gd name="T9" fmla="*/ 49 h 9"/>
                <a:gd name="T10" fmla="*/ 69 w 8"/>
                <a:gd name="T11" fmla="*/ 113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218" name="Freeform 201"/>
            <p:cNvSpPr>
              <a:spLocks noChangeArrowheads="1"/>
            </p:cNvSpPr>
            <p:nvPr/>
          </p:nvSpPr>
          <p:spPr bwMode="auto">
            <a:xfrm>
              <a:off x="5682" y="201"/>
              <a:ext cx="12" cy="12"/>
            </a:xfrm>
            <a:custGeom>
              <a:avLst/>
              <a:gdLst>
                <a:gd name="T0" fmla="*/ 49 w 9"/>
                <a:gd name="T1" fmla="*/ 113 h 9"/>
                <a:gd name="T2" fmla="*/ 0 w 9"/>
                <a:gd name="T3" fmla="*/ 49 h 9"/>
                <a:gd name="T4" fmla="*/ 49 w 9"/>
                <a:gd name="T5" fmla="*/ 0 h 9"/>
                <a:gd name="T6" fmla="*/ 49 w 9"/>
                <a:gd name="T7" fmla="*/ 0 h 9"/>
                <a:gd name="T8" fmla="*/ 113 w 9"/>
                <a:gd name="T9" fmla="*/ 49 h 9"/>
                <a:gd name="T10" fmla="*/ 49 w 9"/>
                <a:gd name="T11" fmla="*/ 113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2" y="9"/>
                    <a:pt x="0" y="7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219" name="Freeform 202"/>
            <p:cNvSpPr>
              <a:spLocks noChangeArrowheads="1"/>
            </p:cNvSpPr>
            <p:nvPr/>
          </p:nvSpPr>
          <p:spPr bwMode="auto">
            <a:xfrm>
              <a:off x="5661" y="185"/>
              <a:ext cx="12" cy="12"/>
            </a:xfrm>
            <a:custGeom>
              <a:avLst/>
              <a:gdLst>
                <a:gd name="T0" fmla="*/ 64 w 9"/>
                <a:gd name="T1" fmla="*/ 113 h 9"/>
                <a:gd name="T2" fmla="*/ 0 w 9"/>
                <a:gd name="T3" fmla="*/ 64 h 9"/>
                <a:gd name="T4" fmla="*/ 0 w 9"/>
                <a:gd name="T5" fmla="*/ 49 h 9"/>
                <a:gd name="T6" fmla="*/ 64 w 9"/>
                <a:gd name="T7" fmla="*/ 0 h 9"/>
                <a:gd name="T8" fmla="*/ 113 w 9"/>
                <a:gd name="T9" fmla="*/ 49 h 9"/>
                <a:gd name="T10" fmla="*/ 64 w 9"/>
                <a:gd name="T11" fmla="*/ 113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220" name="Freeform 203"/>
            <p:cNvSpPr>
              <a:spLocks noChangeArrowheads="1"/>
            </p:cNvSpPr>
            <p:nvPr/>
          </p:nvSpPr>
          <p:spPr bwMode="auto">
            <a:xfrm>
              <a:off x="5640" y="201"/>
              <a:ext cx="12" cy="12"/>
            </a:xfrm>
            <a:custGeom>
              <a:avLst/>
              <a:gdLst>
                <a:gd name="T0" fmla="*/ 120 w 8"/>
                <a:gd name="T1" fmla="*/ 113 h 9"/>
                <a:gd name="T2" fmla="*/ 0 w 8"/>
                <a:gd name="T3" fmla="*/ 49 h 9"/>
                <a:gd name="T4" fmla="*/ 0 w 8"/>
                <a:gd name="T5" fmla="*/ 49 h 9"/>
                <a:gd name="T6" fmla="*/ 120 w 8"/>
                <a:gd name="T7" fmla="*/ 0 h 9"/>
                <a:gd name="T8" fmla="*/ 120 w 8"/>
                <a:gd name="T9" fmla="*/ 0 h 9"/>
                <a:gd name="T10" fmla="*/ 230 w 8"/>
                <a:gd name="T11" fmla="*/ 49 h 9"/>
                <a:gd name="T12" fmla="*/ 230 w 8"/>
                <a:gd name="T13" fmla="*/ 49 h 9"/>
                <a:gd name="T14" fmla="*/ 120 w 8"/>
                <a:gd name="T15" fmla="*/ 113 h 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2" y="9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221" name="Oval 204"/>
            <p:cNvSpPr>
              <a:spLocks noChangeArrowheads="1"/>
            </p:cNvSpPr>
            <p:nvPr/>
          </p:nvSpPr>
          <p:spPr bwMode="auto">
            <a:xfrm>
              <a:off x="5621" y="185"/>
              <a:ext cx="12" cy="12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US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222" name="Freeform 205"/>
            <p:cNvSpPr>
              <a:spLocks noChangeArrowheads="1"/>
            </p:cNvSpPr>
            <p:nvPr/>
          </p:nvSpPr>
          <p:spPr bwMode="auto">
            <a:xfrm>
              <a:off x="5393" y="201"/>
              <a:ext cx="13" cy="12"/>
            </a:xfrm>
            <a:custGeom>
              <a:avLst/>
              <a:gdLst>
                <a:gd name="T0" fmla="*/ 108 w 9"/>
                <a:gd name="T1" fmla="*/ 113 h 9"/>
                <a:gd name="T2" fmla="*/ 0 w 9"/>
                <a:gd name="T3" fmla="*/ 49 h 9"/>
                <a:gd name="T4" fmla="*/ 0 w 9"/>
                <a:gd name="T5" fmla="*/ 49 h 9"/>
                <a:gd name="T6" fmla="*/ 108 w 9"/>
                <a:gd name="T7" fmla="*/ 0 h 9"/>
                <a:gd name="T8" fmla="*/ 108 w 9"/>
                <a:gd name="T9" fmla="*/ 0 h 9"/>
                <a:gd name="T10" fmla="*/ 188 w 9"/>
                <a:gd name="T11" fmla="*/ 49 h 9"/>
                <a:gd name="T12" fmla="*/ 108 w 9"/>
                <a:gd name="T13" fmla="*/ 113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2" y="9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223" name="Freeform 206"/>
            <p:cNvSpPr>
              <a:spLocks noChangeArrowheads="1"/>
            </p:cNvSpPr>
            <p:nvPr/>
          </p:nvSpPr>
          <p:spPr bwMode="auto">
            <a:xfrm>
              <a:off x="5312" y="201"/>
              <a:ext cx="11" cy="12"/>
            </a:xfrm>
            <a:custGeom>
              <a:avLst/>
              <a:gdLst>
                <a:gd name="T0" fmla="*/ 69 w 8"/>
                <a:gd name="T1" fmla="*/ 113 h 9"/>
                <a:gd name="T2" fmla="*/ 0 w 8"/>
                <a:gd name="T3" fmla="*/ 49 h 9"/>
                <a:gd name="T4" fmla="*/ 0 w 8"/>
                <a:gd name="T5" fmla="*/ 49 h 9"/>
                <a:gd name="T6" fmla="*/ 69 w 8"/>
                <a:gd name="T7" fmla="*/ 0 h 9"/>
                <a:gd name="T8" fmla="*/ 69 w 8"/>
                <a:gd name="T9" fmla="*/ 0 h 9"/>
                <a:gd name="T10" fmla="*/ 131 w 8"/>
                <a:gd name="T11" fmla="*/ 49 h 9"/>
                <a:gd name="T12" fmla="*/ 69 w 8"/>
                <a:gd name="T13" fmla="*/ 113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2" y="9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224" name="Freeform 207"/>
            <p:cNvSpPr>
              <a:spLocks noChangeArrowheads="1"/>
            </p:cNvSpPr>
            <p:nvPr/>
          </p:nvSpPr>
          <p:spPr bwMode="auto">
            <a:xfrm>
              <a:off x="5250" y="185"/>
              <a:ext cx="11" cy="12"/>
            </a:xfrm>
            <a:custGeom>
              <a:avLst/>
              <a:gdLst>
                <a:gd name="T0" fmla="*/ 69 w 8"/>
                <a:gd name="T1" fmla="*/ 113 h 9"/>
                <a:gd name="T2" fmla="*/ 0 w 8"/>
                <a:gd name="T3" fmla="*/ 64 h 9"/>
                <a:gd name="T4" fmla="*/ 0 w 8"/>
                <a:gd name="T5" fmla="*/ 49 h 9"/>
                <a:gd name="T6" fmla="*/ 69 w 8"/>
                <a:gd name="T7" fmla="*/ 0 h 9"/>
                <a:gd name="T8" fmla="*/ 131 w 8"/>
                <a:gd name="T9" fmla="*/ 49 h 9"/>
                <a:gd name="T10" fmla="*/ 69 w 8"/>
                <a:gd name="T11" fmla="*/ 113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225" name="Freeform 208"/>
            <p:cNvSpPr>
              <a:spLocks noChangeArrowheads="1"/>
            </p:cNvSpPr>
            <p:nvPr/>
          </p:nvSpPr>
          <p:spPr bwMode="auto">
            <a:xfrm>
              <a:off x="5374" y="185"/>
              <a:ext cx="11" cy="12"/>
            </a:xfrm>
            <a:custGeom>
              <a:avLst/>
              <a:gdLst>
                <a:gd name="T0" fmla="*/ 69 w 8"/>
                <a:gd name="T1" fmla="*/ 113 h 9"/>
                <a:gd name="T2" fmla="*/ 0 w 8"/>
                <a:gd name="T3" fmla="*/ 64 h 9"/>
                <a:gd name="T4" fmla="*/ 0 w 8"/>
                <a:gd name="T5" fmla="*/ 49 h 9"/>
                <a:gd name="T6" fmla="*/ 69 w 8"/>
                <a:gd name="T7" fmla="*/ 0 h 9"/>
                <a:gd name="T8" fmla="*/ 131 w 8"/>
                <a:gd name="T9" fmla="*/ 49 h 9"/>
                <a:gd name="T10" fmla="*/ 69 w 8"/>
                <a:gd name="T11" fmla="*/ 113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226" name="Freeform 209"/>
            <p:cNvSpPr>
              <a:spLocks noChangeArrowheads="1"/>
            </p:cNvSpPr>
            <p:nvPr/>
          </p:nvSpPr>
          <p:spPr bwMode="auto">
            <a:xfrm>
              <a:off x="5291" y="185"/>
              <a:ext cx="13" cy="12"/>
            </a:xfrm>
            <a:custGeom>
              <a:avLst/>
              <a:gdLst>
                <a:gd name="T0" fmla="*/ 81 w 9"/>
                <a:gd name="T1" fmla="*/ 113 h 9"/>
                <a:gd name="T2" fmla="*/ 0 w 9"/>
                <a:gd name="T3" fmla="*/ 64 h 9"/>
                <a:gd name="T4" fmla="*/ 0 w 9"/>
                <a:gd name="T5" fmla="*/ 49 h 9"/>
                <a:gd name="T6" fmla="*/ 81 w 9"/>
                <a:gd name="T7" fmla="*/ 0 h 9"/>
                <a:gd name="T8" fmla="*/ 188 w 9"/>
                <a:gd name="T9" fmla="*/ 49 h 9"/>
                <a:gd name="T10" fmla="*/ 81 w 9"/>
                <a:gd name="T11" fmla="*/ 113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227" name="Freeform 210"/>
            <p:cNvSpPr>
              <a:spLocks noChangeArrowheads="1"/>
            </p:cNvSpPr>
            <p:nvPr/>
          </p:nvSpPr>
          <p:spPr bwMode="auto">
            <a:xfrm>
              <a:off x="5229" y="201"/>
              <a:ext cx="13" cy="12"/>
            </a:xfrm>
            <a:custGeom>
              <a:avLst/>
              <a:gdLst>
                <a:gd name="T0" fmla="*/ 81 w 9"/>
                <a:gd name="T1" fmla="*/ 113 h 9"/>
                <a:gd name="T2" fmla="*/ 0 w 9"/>
                <a:gd name="T3" fmla="*/ 49 h 9"/>
                <a:gd name="T4" fmla="*/ 81 w 9"/>
                <a:gd name="T5" fmla="*/ 0 h 9"/>
                <a:gd name="T6" fmla="*/ 81 w 9"/>
                <a:gd name="T7" fmla="*/ 0 h 9"/>
                <a:gd name="T8" fmla="*/ 188 w 9"/>
                <a:gd name="T9" fmla="*/ 49 h 9"/>
                <a:gd name="T10" fmla="*/ 81 w 9"/>
                <a:gd name="T11" fmla="*/ 113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2" y="9"/>
                    <a:pt x="0" y="7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228" name="Freeform 211"/>
            <p:cNvSpPr>
              <a:spLocks noChangeArrowheads="1"/>
            </p:cNvSpPr>
            <p:nvPr/>
          </p:nvSpPr>
          <p:spPr bwMode="auto">
            <a:xfrm>
              <a:off x="5270" y="201"/>
              <a:ext cx="12" cy="12"/>
            </a:xfrm>
            <a:custGeom>
              <a:avLst/>
              <a:gdLst>
                <a:gd name="T0" fmla="*/ 65 w 9"/>
                <a:gd name="T1" fmla="*/ 113 h 9"/>
                <a:gd name="T2" fmla="*/ 0 w 9"/>
                <a:gd name="T3" fmla="*/ 49 h 9"/>
                <a:gd name="T4" fmla="*/ 0 w 9"/>
                <a:gd name="T5" fmla="*/ 49 h 9"/>
                <a:gd name="T6" fmla="*/ 49 w 9"/>
                <a:gd name="T7" fmla="*/ 0 h 9"/>
                <a:gd name="T8" fmla="*/ 65 w 9"/>
                <a:gd name="T9" fmla="*/ 0 h 9"/>
                <a:gd name="T10" fmla="*/ 116 w 9"/>
                <a:gd name="T11" fmla="*/ 49 h 9"/>
                <a:gd name="T12" fmla="*/ 65 w 9"/>
                <a:gd name="T13" fmla="*/ 113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2" y="9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229" name="Freeform 212"/>
            <p:cNvSpPr>
              <a:spLocks noChangeArrowheads="1"/>
            </p:cNvSpPr>
            <p:nvPr/>
          </p:nvSpPr>
          <p:spPr bwMode="auto">
            <a:xfrm>
              <a:off x="5208" y="185"/>
              <a:ext cx="12" cy="12"/>
            </a:xfrm>
            <a:custGeom>
              <a:avLst/>
              <a:gdLst>
                <a:gd name="T0" fmla="*/ 65 w 9"/>
                <a:gd name="T1" fmla="*/ 113 h 9"/>
                <a:gd name="T2" fmla="*/ 0 w 9"/>
                <a:gd name="T3" fmla="*/ 64 h 9"/>
                <a:gd name="T4" fmla="*/ 0 w 9"/>
                <a:gd name="T5" fmla="*/ 49 h 9"/>
                <a:gd name="T6" fmla="*/ 65 w 9"/>
                <a:gd name="T7" fmla="*/ 0 h 9"/>
                <a:gd name="T8" fmla="*/ 116 w 9"/>
                <a:gd name="T9" fmla="*/ 49 h 9"/>
                <a:gd name="T10" fmla="*/ 65 w 9"/>
                <a:gd name="T11" fmla="*/ 113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230" name="Freeform 213"/>
            <p:cNvSpPr>
              <a:spLocks noChangeArrowheads="1"/>
            </p:cNvSpPr>
            <p:nvPr/>
          </p:nvSpPr>
          <p:spPr bwMode="auto">
            <a:xfrm>
              <a:off x="5600" y="0"/>
              <a:ext cx="12" cy="5"/>
            </a:xfrm>
            <a:custGeom>
              <a:avLst/>
              <a:gdLst>
                <a:gd name="T0" fmla="*/ 64 w 9"/>
                <a:gd name="T1" fmla="*/ 11 h 5"/>
                <a:gd name="T2" fmla="*/ 49 w 9"/>
                <a:gd name="T3" fmla="*/ 11 h 5"/>
                <a:gd name="T4" fmla="*/ 0 w 9"/>
                <a:gd name="T5" fmla="*/ 0 h 5"/>
                <a:gd name="T6" fmla="*/ 0 w 9"/>
                <a:gd name="T7" fmla="*/ 0 h 5"/>
                <a:gd name="T8" fmla="*/ 113 w 9"/>
                <a:gd name="T9" fmla="*/ 0 h 5"/>
                <a:gd name="T10" fmla="*/ 113 w 9"/>
                <a:gd name="T11" fmla="*/ 0 h 5"/>
                <a:gd name="T12" fmla="*/ 64 w 9"/>
                <a:gd name="T13" fmla="*/ 11 h 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5">
                  <a:moveTo>
                    <a:pt x="5" y="5"/>
                  </a:moveTo>
                  <a:cubicBezTo>
                    <a:pt x="4" y="5"/>
                    <a:pt x="4" y="5"/>
                    <a:pt x="4" y="5"/>
                  </a:cubicBezTo>
                  <a:cubicBezTo>
                    <a:pt x="2" y="4"/>
                    <a:pt x="0" y="3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3"/>
                    <a:pt x="7" y="4"/>
                    <a:pt x="5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231" name="Freeform 214"/>
            <p:cNvSpPr>
              <a:spLocks noChangeArrowheads="1"/>
            </p:cNvSpPr>
            <p:nvPr/>
          </p:nvSpPr>
          <p:spPr bwMode="auto">
            <a:xfrm>
              <a:off x="5600" y="0"/>
              <a:ext cx="12" cy="0"/>
            </a:xfrm>
            <a:custGeom>
              <a:avLst/>
              <a:gdLst>
                <a:gd name="T0" fmla="*/ 113 w 9"/>
                <a:gd name="T1" fmla="*/ 0 w 9"/>
                <a:gd name="T2" fmla="*/ 0 w 9"/>
                <a:gd name="T3" fmla="*/ 113 w 9"/>
                <a:gd name="T4" fmla="*/ 113 w 9"/>
                <a:gd name="T5" fmla="*/ 0 60000 65536"/>
                <a:gd name="T6" fmla="*/ 0 60000 65536"/>
                <a:gd name="T7" fmla="*/ 0 60000 65536"/>
                <a:gd name="T8" fmla="*/ 0 60000 65536"/>
                <a:gd name="T9" fmla="*/ 0 60000 65536"/>
              </a:gdLst>
              <a:ahLst/>
              <a:cxnLst>
                <a:cxn ang="T5">
                  <a:pos x="T0" y="0"/>
                </a:cxn>
                <a:cxn ang="T6">
                  <a:pos x="T1" y="0"/>
                </a:cxn>
                <a:cxn ang="T7">
                  <a:pos x="T2" y="0"/>
                </a:cxn>
                <a:cxn ang="T8">
                  <a:pos x="T3" y="0"/>
                </a:cxn>
                <a:cxn ang="T9">
                  <a:pos x="T4" y="0"/>
                </a:cxn>
              </a:cxnLst>
              <a:rect l="0" t="0" r="r" b="b"/>
              <a:pathLst>
                <a:path w="9">
                  <a:moveTo>
                    <a:pt x="9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232" name="Freeform 215"/>
            <p:cNvSpPr>
              <a:spLocks noChangeArrowheads="1"/>
            </p:cNvSpPr>
            <p:nvPr/>
          </p:nvSpPr>
          <p:spPr bwMode="auto">
            <a:xfrm>
              <a:off x="5723" y="0"/>
              <a:ext cx="12" cy="5"/>
            </a:xfrm>
            <a:custGeom>
              <a:avLst/>
              <a:gdLst>
                <a:gd name="T0" fmla="*/ 64 w 9"/>
                <a:gd name="T1" fmla="*/ 11 h 5"/>
                <a:gd name="T2" fmla="*/ 64 w 9"/>
                <a:gd name="T3" fmla="*/ 11 h 5"/>
                <a:gd name="T4" fmla="*/ 0 w 9"/>
                <a:gd name="T5" fmla="*/ 0 h 5"/>
                <a:gd name="T6" fmla="*/ 0 w 9"/>
                <a:gd name="T7" fmla="*/ 0 h 5"/>
                <a:gd name="T8" fmla="*/ 0 w 9"/>
                <a:gd name="T9" fmla="*/ 0 h 5"/>
                <a:gd name="T10" fmla="*/ 113 w 9"/>
                <a:gd name="T11" fmla="*/ 0 h 5"/>
                <a:gd name="T12" fmla="*/ 113 w 9"/>
                <a:gd name="T13" fmla="*/ 0 h 5"/>
                <a:gd name="T14" fmla="*/ 64 w 9"/>
                <a:gd name="T15" fmla="*/ 11 h 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9" h="5">
                  <a:moveTo>
                    <a:pt x="5" y="5"/>
                  </a:moveTo>
                  <a:cubicBezTo>
                    <a:pt x="5" y="5"/>
                    <a:pt x="5" y="5"/>
                    <a:pt x="5" y="5"/>
                  </a:cubicBezTo>
                  <a:cubicBezTo>
                    <a:pt x="2" y="4"/>
                    <a:pt x="0" y="3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3"/>
                    <a:pt x="7" y="4"/>
                    <a:pt x="5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233" name="Freeform 216"/>
            <p:cNvSpPr>
              <a:spLocks noChangeArrowheads="1"/>
            </p:cNvSpPr>
            <p:nvPr/>
          </p:nvSpPr>
          <p:spPr bwMode="auto">
            <a:xfrm>
              <a:off x="5723" y="0"/>
              <a:ext cx="12" cy="0"/>
            </a:xfrm>
            <a:custGeom>
              <a:avLst/>
              <a:gdLst>
                <a:gd name="T0" fmla="*/ 113 w 9"/>
                <a:gd name="T1" fmla="*/ 0 w 9"/>
                <a:gd name="T2" fmla="*/ 0 w 9"/>
                <a:gd name="T3" fmla="*/ 113 w 9"/>
                <a:gd name="T4" fmla="*/ 113 w 9"/>
                <a:gd name="T5" fmla="*/ 0 60000 65536"/>
                <a:gd name="T6" fmla="*/ 0 60000 65536"/>
                <a:gd name="T7" fmla="*/ 0 60000 65536"/>
                <a:gd name="T8" fmla="*/ 0 60000 65536"/>
                <a:gd name="T9" fmla="*/ 0 60000 65536"/>
              </a:gdLst>
              <a:ahLst/>
              <a:cxnLst>
                <a:cxn ang="T5">
                  <a:pos x="T0" y="0"/>
                </a:cxn>
                <a:cxn ang="T6">
                  <a:pos x="T1" y="0"/>
                </a:cxn>
                <a:cxn ang="T7">
                  <a:pos x="T2" y="0"/>
                </a:cxn>
                <a:cxn ang="T8">
                  <a:pos x="T3" y="0"/>
                </a:cxn>
                <a:cxn ang="T9">
                  <a:pos x="T4" y="0"/>
                </a:cxn>
              </a:cxnLst>
              <a:rect l="0" t="0" r="r" b="b"/>
              <a:pathLst>
                <a:path w="9">
                  <a:moveTo>
                    <a:pt x="9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234" name="Freeform 217"/>
            <p:cNvSpPr>
              <a:spLocks noChangeArrowheads="1"/>
            </p:cNvSpPr>
            <p:nvPr/>
          </p:nvSpPr>
          <p:spPr bwMode="auto">
            <a:xfrm>
              <a:off x="5682" y="0"/>
              <a:ext cx="12" cy="5"/>
            </a:xfrm>
            <a:custGeom>
              <a:avLst/>
              <a:gdLst>
                <a:gd name="T0" fmla="*/ 64 w 9"/>
                <a:gd name="T1" fmla="*/ 11 h 5"/>
                <a:gd name="T2" fmla="*/ 49 w 9"/>
                <a:gd name="T3" fmla="*/ 11 h 5"/>
                <a:gd name="T4" fmla="*/ 0 w 9"/>
                <a:gd name="T5" fmla="*/ 0 h 5"/>
                <a:gd name="T6" fmla="*/ 0 w 9"/>
                <a:gd name="T7" fmla="*/ 0 h 5"/>
                <a:gd name="T8" fmla="*/ 113 w 9"/>
                <a:gd name="T9" fmla="*/ 0 h 5"/>
                <a:gd name="T10" fmla="*/ 113 w 9"/>
                <a:gd name="T11" fmla="*/ 0 h 5"/>
                <a:gd name="T12" fmla="*/ 64 w 9"/>
                <a:gd name="T13" fmla="*/ 11 h 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5">
                  <a:moveTo>
                    <a:pt x="5" y="5"/>
                  </a:moveTo>
                  <a:cubicBezTo>
                    <a:pt x="4" y="5"/>
                    <a:pt x="4" y="5"/>
                    <a:pt x="4" y="5"/>
                  </a:cubicBezTo>
                  <a:cubicBezTo>
                    <a:pt x="2" y="4"/>
                    <a:pt x="0" y="3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3"/>
                    <a:pt x="7" y="4"/>
                    <a:pt x="5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235" name="Freeform 218"/>
            <p:cNvSpPr>
              <a:spLocks noChangeArrowheads="1"/>
            </p:cNvSpPr>
            <p:nvPr/>
          </p:nvSpPr>
          <p:spPr bwMode="auto">
            <a:xfrm>
              <a:off x="5682" y="0"/>
              <a:ext cx="12" cy="0"/>
            </a:xfrm>
            <a:custGeom>
              <a:avLst/>
              <a:gdLst>
                <a:gd name="T0" fmla="*/ 113 w 9"/>
                <a:gd name="T1" fmla="*/ 0 w 9"/>
                <a:gd name="T2" fmla="*/ 0 w 9"/>
                <a:gd name="T3" fmla="*/ 113 w 9"/>
                <a:gd name="T4" fmla="*/ 113 w 9"/>
                <a:gd name="T5" fmla="*/ 0 60000 65536"/>
                <a:gd name="T6" fmla="*/ 0 60000 65536"/>
                <a:gd name="T7" fmla="*/ 0 60000 65536"/>
                <a:gd name="T8" fmla="*/ 0 60000 65536"/>
                <a:gd name="T9" fmla="*/ 0 60000 65536"/>
              </a:gdLst>
              <a:ahLst/>
              <a:cxnLst>
                <a:cxn ang="T5">
                  <a:pos x="T0" y="0"/>
                </a:cxn>
                <a:cxn ang="T6">
                  <a:pos x="T1" y="0"/>
                </a:cxn>
                <a:cxn ang="T7">
                  <a:pos x="T2" y="0"/>
                </a:cxn>
                <a:cxn ang="T8">
                  <a:pos x="T3" y="0"/>
                </a:cxn>
                <a:cxn ang="T9">
                  <a:pos x="T4" y="0"/>
                </a:cxn>
              </a:cxnLst>
              <a:rect l="0" t="0" r="r" b="b"/>
              <a:pathLst>
                <a:path w="9">
                  <a:moveTo>
                    <a:pt x="9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236" name="Freeform 219"/>
            <p:cNvSpPr>
              <a:spLocks noChangeArrowheads="1"/>
            </p:cNvSpPr>
            <p:nvPr/>
          </p:nvSpPr>
          <p:spPr bwMode="auto">
            <a:xfrm>
              <a:off x="5640" y="0"/>
              <a:ext cx="12" cy="5"/>
            </a:xfrm>
            <a:custGeom>
              <a:avLst/>
              <a:gdLst>
                <a:gd name="T0" fmla="*/ 120 w 8"/>
                <a:gd name="T1" fmla="*/ 11 h 5"/>
                <a:gd name="T2" fmla="*/ 120 w 8"/>
                <a:gd name="T3" fmla="*/ 11 h 5"/>
                <a:gd name="T4" fmla="*/ 0 w 8"/>
                <a:gd name="T5" fmla="*/ 0 h 5"/>
                <a:gd name="T6" fmla="*/ 0 w 8"/>
                <a:gd name="T7" fmla="*/ 0 h 5"/>
                <a:gd name="T8" fmla="*/ 0 w 8"/>
                <a:gd name="T9" fmla="*/ 0 h 5"/>
                <a:gd name="T10" fmla="*/ 230 w 8"/>
                <a:gd name="T11" fmla="*/ 0 h 5"/>
                <a:gd name="T12" fmla="*/ 230 w 8"/>
                <a:gd name="T13" fmla="*/ 0 h 5"/>
                <a:gd name="T14" fmla="*/ 230 w 8"/>
                <a:gd name="T15" fmla="*/ 0 h 5"/>
                <a:gd name="T16" fmla="*/ 120 w 8"/>
                <a:gd name="T17" fmla="*/ 11 h 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8" h="5">
                  <a:moveTo>
                    <a:pt x="4" y="5"/>
                  </a:moveTo>
                  <a:cubicBezTo>
                    <a:pt x="4" y="5"/>
                    <a:pt x="4" y="5"/>
                    <a:pt x="4" y="5"/>
                  </a:cubicBezTo>
                  <a:cubicBezTo>
                    <a:pt x="2" y="4"/>
                    <a:pt x="0" y="3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3"/>
                    <a:pt x="6" y="4"/>
                    <a:pt x="4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237" name="Freeform 220"/>
            <p:cNvSpPr>
              <a:spLocks noChangeArrowheads="1"/>
            </p:cNvSpPr>
            <p:nvPr/>
          </p:nvSpPr>
          <p:spPr bwMode="auto">
            <a:xfrm>
              <a:off x="5640" y="0"/>
              <a:ext cx="12" cy="0"/>
            </a:xfrm>
            <a:custGeom>
              <a:avLst/>
              <a:gdLst>
                <a:gd name="T0" fmla="*/ 230 w 8"/>
                <a:gd name="T1" fmla="*/ 0 w 8"/>
                <a:gd name="T2" fmla="*/ 0 w 8"/>
                <a:gd name="T3" fmla="*/ 230 w 8"/>
                <a:gd name="T4" fmla="*/ 230 w 8"/>
                <a:gd name="T5" fmla="*/ 0 60000 65536"/>
                <a:gd name="T6" fmla="*/ 0 60000 65536"/>
                <a:gd name="T7" fmla="*/ 0 60000 65536"/>
                <a:gd name="T8" fmla="*/ 0 60000 65536"/>
                <a:gd name="T9" fmla="*/ 0 60000 65536"/>
              </a:gdLst>
              <a:ahLst/>
              <a:cxnLst>
                <a:cxn ang="T5">
                  <a:pos x="T0" y="0"/>
                </a:cxn>
                <a:cxn ang="T6">
                  <a:pos x="T1" y="0"/>
                </a:cxn>
                <a:cxn ang="T7">
                  <a:pos x="T2" y="0"/>
                </a:cxn>
                <a:cxn ang="T8">
                  <a:pos x="T3" y="0"/>
                </a:cxn>
                <a:cxn ang="T9">
                  <a:pos x="T4" y="0"/>
                </a:cxn>
              </a:cxnLst>
              <a:rect l="0" t="0" r="r" b="b"/>
              <a:pathLst>
                <a:path w="8">
                  <a:moveTo>
                    <a:pt x="8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238" name="Freeform 221"/>
            <p:cNvSpPr>
              <a:spLocks noChangeArrowheads="1"/>
            </p:cNvSpPr>
            <p:nvPr/>
          </p:nvSpPr>
          <p:spPr bwMode="auto">
            <a:xfrm>
              <a:off x="5476" y="221"/>
              <a:ext cx="12" cy="12"/>
            </a:xfrm>
            <a:custGeom>
              <a:avLst/>
              <a:gdLst>
                <a:gd name="T0" fmla="*/ 49 w 9"/>
                <a:gd name="T1" fmla="*/ 230 h 8"/>
                <a:gd name="T2" fmla="*/ 0 w 9"/>
                <a:gd name="T3" fmla="*/ 120 h 8"/>
                <a:gd name="T4" fmla="*/ 0 w 9"/>
                <a:gd name="T5" fmla="*/ 120 h 8"/>
                <a:gd name="T6" fmla="*/ 49 w 9"/>
                <a:gd name="T7" fmla="*/ 0 h 8"/>
                <a:gd name="T8" fmla="*/ 116 w 9"/>
                <a:gd name="T9" fmla="*/ 120 h 8"/>
                <a:gd name="T10" fmla="*/ 49 w 9"/>
                <a:gd name="T11" fmla="*/ 230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8">
                  <a:moveTo>
                    <a:pt x="4" y="8"/>
                  </a:moveTo>
                  <a:cubicBezTo>
                    <a:pt x="2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6"/>
                    <a:pt x="7" y="8"/>
                    <a:pt x="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239" name="Freeform 222"/>
            <p:cNvSpPr>
              <a:spLocks noChangeArrowheads="1"/>
            </p:cNvSpPr>
            <p:nvPr/>
          </p:nvSpPr>
          <p:spPr bwMode="auto">
            <a:xfrm>
              <a:off x="5415" y="207"/>
              <a:ext cx="12" cy="13"/>
            </a:xfrm>
            <a:custGeom>
              <a:avLst/>
              <a:gdLst>
                <a:gd name="T0" fmla="*/ 49 w 9"/>
                <a:gd name="T1" fmla="*/ 188 h 9"/>
                <a:gd name="T2" fmla="*/ 0 w 9"/>
                <a:gd name="T3" fmla="*/ 81 h 9"/>
                <a:gd name="T4" fmla="*/ 0 w 9"/>
                <a:gd name="T5" fmla="*/ 81 h 9"/>
                <a:gd name="T6" fmla="*/ 49 w 9"/>
                <a:gd name="T7" fmla="*/ 0 h 9"/>
                <a:gd name="T8" fmla="*/ 64 w 9"/>
                <a:gd name="T9" fmla="*/ 0 h 9"/>
                <a:gd name="T10" fmla="*/ 113 w 9"/>
                <a:gd name="T11" fmla="*/ 81 h 9"/>
                <a:gd name="T12" fmla="*/ 49 w 9"/>
                <a:gd name="T13" fmla="*/ 188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2" y="9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240" name="Oval 223"/>
            <p:cNvSpPr>
              <a:spLocks noChangeArrowheads="1"/>
            </p:cNvSpPr>
            <p:nvPr/>
          </p:nvSpPr>
          <p:spPr bwMode="auto">
            <a:xfrm>
              <a:off x="5600" y="221"/>
              <a:ext cx="12" cy="12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US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241" name="Freeform 224"/>
            <p:cNvSpPr>
              <a:spLocks noChangeArrowheads="1"/>
            </p:cNvSpPr>
            <p:nvPr/>
          </p:nvSpPr>
          <p:spPr bwMode="auto">
            <a:xfrm>
              <a:off x="5580" y="207"/>
              <a:ext cx="11" cy="13"/>
            </a:xfrm>
            <a:custGeom>
              <a:avLst/>
              <a:gdLst>
                <a:gd name="T0" fmla="*/ 69 w 8"/>
                <a:gd name="T1" fmla="*/ 188 h 9"/>
                <a:gd name="T2" fmla="*/ 0 w 8"/>
                <a:gd name="T3" fmla="*/ 81 h 9"/>
                <a:gd name="T4" fmla="*/ 0 w 8"/>
                <a:gd name="T5" fmla="*/ 81 h 9"/>
                <a:gd name="T6" fmla="*/ 69 w 8"/>
                <a:gd name="T7" fmla="*/ 0 h 9"/>
                <a:gd name="T8" fmla="*/ 69 w 8"/>
                <a:gd name="T9" fmla="*/ 0 h 9"/>
                <a:gd name="T10" fmla="*/ 131 w 8"/>
                <a:gd name="T11" fmla="*/ 81 h 9"/>
                <a:gd name="T12" fmla="*/ 69 w 8"/>
                <a:gd name="T13" fmla="*/ 188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2" y="9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242" name="Freeform 225"/>
            <p:cNvSpPr>
              <a:spLocks noChangeArrowheads="1"/>
            </p:cNvSpPr>
            <p:nvPr/>
          </p:nvSpPr>
          <p:spPr bwMode="auto">
            <a:xfrm>
              <a:off x="5558" y="221"/>
              <a:ext cx="12" cy="12"/>
            </a:xfrm>
            <a:custGeom>
              <a:avLst/>
              <a:gdLst>
                <a:gd name="T0" fmla="*/ 49 w 9"/>
                <a:gd name="T1" fmla="*/ 230 h 8"/>
                <a:gd name="T2" fmla="*/ 0 w 9"/>
                <a:gd name="T3" fmla="*/ 120 h 8"/>
                <a:gd name="T4" fmla="*/ 0 w 9"/>
                <a:gd name="T5" fmla="*/ 120 h 8"/>
                <a:gd name="T6" fmla="*/ 49 w 9"/>
                <a:gd name="T7" fmla="*/ 0 h 8"/>
                <a:gd name="T8" fmla="*/ 113 w 9"/>
                <a:gd name="T9" fmla="*/ 120 h 8"/>
                <a:gd name="T10" fmla="*/ 49 w 9"/>
                <a:gd name="T11" fmla="*/ 230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8">
                  <a:moveTo>
                    <a:pt x="4" y="8"/>
                  </a:moveTo>
                  <a:cubicBezTo>
                    <a:pt x="2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6"/>
                    <a:pt x="7" y="8"/>
                    <a:pt x="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243" name="Freeform 226"/>
            <p:cNvSpPr>
              <a:spLocks noChangeArrowheads="1"/>
            </p:cNvSpPr>
            <p:nvPr/>
          </p:nvSpPr>
          <p:spPr bwMode="auto">
            <a:xfrm>
              <a:off x="5538" y="207"/>
              <a:ext cx="12" cy="13"/>
            </a:xfrm>
            <a:custGeom>
              <a:avLst/>
              <a:gdLst>
                <a:gd name="T0" fmla="*/ 64 w 9"/>
                <a:gd name="T1" fmla="*/ 188 h 9"/>
                <a:gd name="T2" fmla="*/ 0 w 9"/>
                <a:gd name="T3" fmla="*/ 81 h 9"/>
                <a:gd name="T4" fmla="*/ 0 w 9"/>
                <a:gd name="T5" fmla="*/ 81 h 9"/>
                <a:gd name="T6" fmla="*/ 49 w 9"/>
                <a:gd name="T7" fmla="*/ 0 h 9"/>
                <a:gd name="T8" fmla="*/ 64 w 9"/>
                <a:gd name="T9" fmla="*/ 0 h 9"/>
                <a:gd name="T10" fmla="*/ 113 w 9"/>
                <a:gd name="T11" fmla="*/ 81 h 9"/>
                <a:gd name="T12" fmla="*/ 64 w 9"/>
                <a:gd name="T13" fmla="*/ 188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2" y="9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244" name="Freeform 227"/>
            <p:cNvSpPr>
              <a:spLocks noChangeArrowheads="1"/>
            </p:cNvSpPr>
            <p:nvPr/>
          </p:nvSpPr>
          <p:spPr bwMode="auto">
            <a:xfrm>
              <a:off x="5518" y="221"/>
              <a:ext cx="12" cy="12"/>
            </a:xfrm>
            <a:custGeom>
              <a:avLst/>
              <a:gdLst>
                <a:gd name="T0" fmla="*/ 120 w 8"/>
                <a:gd name="T1" fmla="*/ 230 h 8"/>
                <a:gd name="T2" fmla="*/ 0 w 8"/>
                <a:gd name="T3" fmla="*/ 120 h 8"/>
                <a:gd name="T4" fmla="*/ 0 w 8"/>
                <a:gd name="T5" fmla="*/ 120 h 8"/>
                <a:gd name="T6" fmla="*/ 120 w 8"/>
                <a:gd name="T7" fmla="*/ 0 h 8"/>
                <a:gd name="T8" fmla="*/ 230 w 8"/>
                <a:gd name="T9" fmla="*/ 120 h 8"/>
                <a:gd name="T10" fmla="*/ 120 w 8"/>
                <a:gd name="T11" fmla="*/ 230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" h="8">
                  <a:moveTo>
                    <a:pt x="4" y="8"/>
                  </a:moveTo>
                  <a:cubicBezTo>
                    <a:pt x="2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6"/>
                    <a:pt x="6" y="8"/>
                    <a:pt x="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245" name="Freeform 228"/>
            <p:cNvSpPr>
              <a:spLocks noChangeArrowheads="1"/>
            </p:cNvSpPr>
            <p:nvPr/>
          </p:nvSpPr>
          <p:spPr bwMode="auto">
            <a:xfrm>
              <a:off x="5496" y="207"/>
              <a:ext cx="12" cy="13"/>
            </a:xfrm>
            <a:custGeom>
              <a:avLst/>
              <a:gdLst>
                <a:gd name="T0" fmla="*/ 49 w 9"/>
                <a:gd name="T1" fmla="*/ 188 h 9"/>
                <a:gd name="T2" fmla="*/ 0 w 9"/>
                <a:gd name="T3" fmla="*/ 81 h 9"/>
                <a:gd name="T4" fmla="*/ 0 w 9"/>
                <a:gd name="T5" fmla="*/ 81 h 9"/>
                <a:gd name="T6" fmla="*/ 49 w 9"/>
                <a:gd name="T7" fmla="*/ 0 h 9"/>
                <a:gd name="T8" fmla="*/ 49 w 9"/>
                <a:gd name="T9" fmla="*/ 0 h 9"/>
                <a:gd name="T10" fmla="*/ 113 w 9"/>
                <a:gd name="T11" fmla="*/ 81 h 9"/>
                <a:gd name="T12" fmla="*/ 49 w 9"/>
                <a:gd name="T13" fmla="*/ 188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2" y="9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246" name="Freeform 229"/>
            <p:cNvSpPr>
              <a:spLocks noChangeArrowheads="1"/>
            </p:cNvSpPr>
            <p:nvPr/>
          </p:nvSpPr>
          <p:spPr bwMode="auto">
            <a:xfrm>
              <a:off x="5455" y="207"/>
              <a:ext cx="13" cy="13"/>
            </a:xfrm>
            <a:custGeom>
              <a:avLst/>
              <a:gdLst>
                <a:gd name="T0" fmla="*/ 108 w 9"/>
                <a:gd name="T1" fmla="*/ 188 h 9"/>
                <a:gd name="T2" fmla="*/ 0 w 9"/>
                <a:gd name="T3" fmla="*/ 81 h 9"/>
                <a:gd name="T4" fmla="*/ 108 w 9"/>
                <a:gd name="T5" fmla="*/ 0 h 9"/>
                <a:gd name="T6" fmla="*/ 108 w 9"/>
                <a:gd name="T7" fmla="*/ 0 h 9"/>
                <a:gd name="T8" fmla="*/ 188 w 9"/>
                <a:gd name="T9" fmla="*/ 81 h 9"/>
                <a:gd name="T10" fmla="*/ 108 w 9"/>
                <a:gd name="T11" fmla="*/ 188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2" y="9"/>
                    <a:pt x="0" y="7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247" name="Freeform 230"/>
            <p:cNvSpPr>
              <a:spLocks noChangeArrowheads="1"/>
            </p:cNvSpPr>
            <p:nvPr/>
          </p:nvSpPr>
          <p:spPr bwMode="auto">
            <a:xfrm>
              <a:off x="5744" y="207"/>
              <a:ext cx="13" cy="13"/>
            </a:xfrm>
            <a:custGeom>
              <a:avLst/>
              <a:gdLst>
                <a:gd name="T0" fmla="*/ 81 w 9"/>
                <a:gd name="T1" fmla="*/ 188 h 9"/>
                <a:gd name="T2" fmla="*/ 0 w 9"/>
                <a:gd name="T3" fmla="*/ 81 h 9"/>
                <a:gd name="T4" fmla="*/ 81 w 9"/>
                <a:gd name="T5" fmla="*/ 0 h 9"/>
                <a:gd name="T6" fmla="*/ 108 w 9"/>
                <a:gd name="T7" fmla="*/ 0 h 9"/>
                <a:gd name="T8" fmla="*/ 188 w 9"/>
                <a:gd name="T9" fmla="*/ 81 h 9"/>
                <a:gd name="T10" fmla="*/ 81 w 9"/>
                <a:gd name="T11" fmla="*/ 188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2" y="9"/>
                    <a:pt x="0" y="7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248" name="Freeform 231"/>
            <p:cNvSpPr>
              <a:spLocks noChangeArrowheads="1"/>
            </p:cNvSpPr>
            <p:nvPr/>
          </p:nvSpPr>
          <p:spPr bwMode="auto">
            <a:xfrm>
              <a:off x="5723" y="221"/>
              <a:ext cx="12" cy="12"/>
            </a:xfrm>
            <a:custGeom>
              <a:avLst/>
              <a:gdLst>
                <a:gd name="T0" fmla="*/ 64 w 9"/>
                <a:gd name="T1" fmla="*/ 230 h 8"/>
                <a:gd name="T2" fmla="*/ 0 w 9"/>
                <a:gd name="T3" fmla="*/ 120 h 8"/>
                <a:gd name="T4" fmla="*/ 0 w 9"/>
                <a:gd name="T5" fmla="*/ 120 h 8"/>
                <a:gd name="T6" fmla="*/ 64 w 9"/>
                <a:gd name="T7" fmla="*/ 0 h 8"/>
                <a:gd name="T8" fmla="*/ 113 w 9"/>
                <a:gd name="T9" fmla="*/ 120 h 8"/>
                <a:gd name="T10" fmla="*/ 64 w 9"/>
                <a:gd name="T11" fmla="*/ 230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8">
                  <a:moveTo>
                    <a:pt x="5" y="8"/>
                  </a:moveTo>
                  <a:cubicBezTo>
                    <a:pt x="2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6"/>
                    <a:pt x="7" y="8"/>
                    <a:pt x="5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249" name="Freeform 232"/>
            <p:cNvSpPr>
              <a:spLocks noChangeArrowheads="1"/>
            </p:cNvSpPr>
            <p:nvPr/>
          </p:nvSpPr>
          <p:spPr bwMode="auto">
            <a:xfrm>
              <a:off x="5703" y="207"/>
              <a:ext cx="11" cy="13"/>
            </a:xfrm>
            <a:custGeom>
              <a:avLst/>
              <a:gdLst>
                <a:gd name="T0" fmla="*/ 69 w 8"/>
                <a:gd name="T1" fmla="*/ 188 h 9"/>
                <a:gd name="T2" fmla="*/ 0 w 8"/>
                <a:gd name="T3" fmla="*/ 81 h 9"/>
                <a:gd name="T4" fmla="*/ 0 w 8"/>
                <a:gd name="T5" fmla="*/ 81 h 9"/>
                <a:gd name="T6" fmla="*/ 69 w 8"/>
                <a:gd name="T7" fmla="*/ 0 h 9"/>
                <a:gd name="T8" fmla="*/ 69 w 8"/>
                <a:gd name="T9" fmla="*/ 0 h 9"/>
                <a:gd name="T10" fmla="*/ 131 w 8"/>
                <a:gd name="T11" fmla="*/ 81 h 9"/>
                <a:gd name="T12" fmla="*/ 69 w 8"/>
                <a:gd name="T13" fmla="*/ 188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2" y="9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7" y="0"/>
                    <a:pt x="8" y="2"/>
                    <a:pt x="8" y="4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250" name="Oval 233"/>
            <p:cNvSpPr>
              <a:spLocks noChangeArrowheads="1"/>
            </p:cNvSpPr>
            <p:nvPr/>
          </p:nvSpPr>
          <p:spPr bwMode="auto">
            <a:xfrm>
              <a:off x="5682" y="221"/>
              <a:ext cx="12" cy="12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US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251" name="Freeform 234"/>
            <p:cNvSpPr>
              <a:spLocks noChangeArrowheads="1"/>
            </p:cNvSpPr>
            <p:nvPr/>
          </p:nvSpPr>
          <p:spPr bwMode="auto">
            <a:xfrm>
              <a:off x="5661" y="207"/>
              <a:ext cx="12" cy="13"/>
            </a:xfrm>
            <a:custGeom>
              <a:avLst/>
              <a:gdLst>
                <a:gd name="T0" fmla="*/ 64 w 9"/>
                <a:gd name="T1" fmla="*/ 188 h 9"/>
                <a:gd name="T2" fmla="*/ 0 w 9"/>
                <a:gd name="T3" fmla="*/ 81 h 9"/>
                <a:gd name="T4" fmla="*/ 0 w 9"/>
                <a:gd name="T5" fmla="*/ 81 h 9"/>
                <a:gd name="T6" fmla="*/ 64 w 9"/>
                <a:gd name="T7" fmla="*/ 0 h 9"/>
                <a:gd name="T8" fmla="*/ 64 w 9"/>
                <a:gd name="T9" fmla="*/ 0 h 9"/>
                <a:gd name="T10" fmla="*/ 113 w 9"/>
                <a:gd name="T11" fmla="*/ 81 h 9"/>
                <a:gd name="T12" fmla="*/ 64 w 9"/>
                <a:gd name="T13" fmla="*/ 188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2" y="9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252" name="Freeform 235"/>
            <p:cNvSpPr>
              <a:spLocks noChangeArrowheads="1"/>
            </p:cNvSpPr>
            <p:nvPr/>
          </p:nvSpPr>
          <p:spPr bwMode="auto">
            <a:xfrm>
              <a:off x="5640" y="221"/>
              <a:ext cx="12" cy="12"/>
            </a:xfrm>
            <a:custGeom>
              <a:avLst/>
              <a:gdLst>
                <a:gd name="T0" fmla="*/ 120 w 8"/>
                <a:gd name="T1" fmla="*/ 230 h 8"/>
                <a:gd name="T2" fmla="*/ 0 w 8"/>
                <a:gd name="T3" fmla="*/ 120 h 8"/>
                <a:gd name="T4" fmla="*/ 0 w 8"/>
                <a:gd name="T5" fmla="*/ 120 h 8"/>
                <a:gd name="T6" fmla="*/ 120 w 8"/>
                <a:gd name="T7" fmla="*/ 0 h 8"/>
                <a:gd name="T8" fmla="*/ 230 w 8"/>
                <a:gd name="T9" fmla="*/ 120 h 8"/>
                <a:gd name="T10" fmla="*/ 230 w 8"/>
                <a:gd name="T11" fmla="*/ 120 h 8"/>
                <a:gd name="T12" fmla="*/ 120 w 8"/>
                <a:gd name="T13" fmla="*/ 230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" h="8">
                  <a:moveTo>
                    <a:pt x="4" y="8"/>
                  </a:moveTo>
                  <a:cubicBezTo>
                    <a:pt x="2" y="8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6" y="8"/>
                    <a:pt x="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253" name="Freeform 236"/>
            <p:cNvSpPr>
              <a:spLocks noChangeArrowheads="1"/>
            </p:cNvSpPr>
            <p:nvPr/>
          </p:nvSpPr>
          <p:spPr bwMode="auto">
            <a:xfrm>
              <a:off x="5621" y="207"/>
              <a:ext cx="12" cy="13"/>
            </a:xfrm>
            <a:custGeom>
              <a:avLst/>
              <a:gdLst>
                <a:gd name="T0" fmla="*/ 49 w 9"/>
                <a:gd name="T1" fmla="*/ 188 h 9"/>
                <a:gd name="T2" fmla="*/ 0 w 9"/>
                <a:gd name="T3" fmla="*/ 81 h 9"/>
                <a:gd name="T4" fmla="*/ 49 w 9"/>
                <a:gd name="T5" fmla="*/ 0 h 9"/>
                <a:gd name="T6" fmla="*/ 49 w 9"/>
                <a:gd name="T7" fmla="*/ 0 h 9"/>
                <a:gd name="T8" fmla="*/ 113 w 9"/>
                <a:gd name="T9" fmla="*/ 81 h 9"/>
                <a:gd name="T10" fmla="*/ 49 w 9"/>
                <a:gd name="T11" fmla="*/ 188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2" y="9"/>
                    <a:pt x="0" y="7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254" name="Freeform 237"/>
            <p:cNvSpPr>
              <a:spLocks noChangeArrowheads="1"/>
            </p:cNvSpPr>
            <p:nvPr/>
          </p:nvSpPr>
          <p:spPr bwMode="auto">
            <a:xfrm>
              <a:off x="5312" y="221"/>
              <a:ext cx="11" cy="12"/>
            </a:xfrm>
            <a:custGeom>
              <a:avLst/>
              <a:gdLst>
                <a:gd name="T0" fmla="*/ 69 w 8"/>
                <a:gd name="T1" fmla="*/ 230 h 8"/>
                <a:gd name="T2" fmla="*/ 0 w 8"/>
                <a:gd name="T3" fmla="*/ 120 h 8"/>
                <a:gd name="T4" fmla="*/ 0 w 8"/>
                <a:gd name="T5" fmla="*/ 120 h 8"/>
                <a:gd name="T6" fmla="*/ 69 w 8"/>
                <a:gd name="T7" fmla="*/ 0 h 8"/>
                <a:gd name="T8" fmla="*/ 131 w 8"/>
                <a:gd name="T9" fmla="*/ 120 h 8"/>
                <a:gd name="T10" fmla="*/ 69 w 8"/>
                <a:gd name="T11" fmla="*/ 230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" h="8">
                  <a:moveTo>
                    <a:pt x="4" y="8"/>
                  </a:moveTo>
                  <a:cubicBezTo>
                    <a:pt x="2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6"/>
                    <a:pt x="6" y="8"/>
                    <a:pt x="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255" name="Freeform 238"/>
            <p:cNvSpPr>
              <a:spLocks noChangeArrowheads="1"/>
            </p:cNvSpPr>
            <p:nvPr/>
          </p:nvSpPr>
          <p:spPr bwMode="auto">
            <a:xfrm>
              <a:off x="5250" y="207"/>
              <a:ext cx="11" cy="13"/>
            </a:xfrm>
            <a:custGeom>
              <a:avLst/>
              <a:gdLst>
                <a:gd name="T0" fmla="*/ 69 w 8"/>
                <a:gd name="T1" fmla="*/ 188 h 9"/>
                <a:gd name="T2" fmla="*/ 0 w 8"/>
                <a:gd name="T3" fmla="*/ 81 h 9"/>
                <a:gd name="T4" fmla="*/ 0 w 8"/>
                <a:gd name="T5" fmla="*/ 81 h 9"/>
                <a:gd name="T6" fmla="*/ 69 w 8"/>
                <a:gd name="T7" fmla="*/ 0 h 9"/>
                <a:gd name="T8" fmla="*/ 69 w 8"/>
                <a:gd name="T9" fmla="*/ 0 h 9"/>
                <a:gd name="T10" fmla="*/ 131 w 8"/>
                <a:gd name="T11" fmla="*/ 81 h 9"/>
                <a:gd name="T12" fmla="*/ 69 w 8"/>
                <a:gd name="T13" fmla="*/ 188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2" y="9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256" name="Freeform 239"/>
            <p:cNvSpPr>
              <a:spLocks noChangeArrowheads="1"/>
            </p:cNvSpPr>
            <p:nvPr/>
          </p:nvSpPr>
          <p:spPr bwMode="auto">
            <a:xfrm>
              <a:off x="5374" y="207"/>
              <a:ext cx="11" cy="13"/>
            </a:xfrm>
            <a:custGeom>
              <a:avLst/>
              <a:gdLst>
                <a:gd name="T0" fmla="*/ 69 w 8"/>
                <a:gd name="T1" fmla="*/ 188 h 9"/>
                <a:gd name="T2" fmla="*/ 0 w 8"/>
                <a:gd name="T3" fmla="*/ 81 h 9"/>
                <a:gd name="T4" fmla="*/ 0 w 8"/>
                <a:gd name="T5" fmla="*/ 81 h 9"/>
                <a:gd name="T6" fmla="*/ 69 w 8"/>
                <a:gd name="T7" fmla="*/ 0 h 9"/>
                <a:gd name="T8" fmla="*/ 69 w 8"/>
                <a:gd name="T9" fmla="*/ 0 h 9"/>
                <a:gd name="T10" fmla="*/ 131 w 8"/>
                <a:gd name="T11" fmla="*/ 81 h 9"/>
                <a:gd name="T12" fmla="*/ 69 w 8"/>
                <a:gd name="T13" fmla="*/ 188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2" y="9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257" name="Freeform 240"/>
            <p:cNvSpPr>
              <a:spLocks noChangeArrowheads="1"/>
            </p:cNvSpPr>
            <p:nvPr/>
          </p:nvSpPr>
          <p:spPr bwMode="auto">
            <a:xfrm>
              <a:off x="5291" y="207"/>
              <a:ext cx="13" cy="13"/>
            </a:xfrm>
            <a:custGeom>
              <a:avLst/>
              <a:gdLst>
                <a:gd name="T0" fmla="*/ 81 w 9"/>
                <a:gd name="T1" fmla="*/ 188 h 9"/>
                <a:gd name="T2" fmla="*/ 0 w 9"/>
                <a:gd name="T3" fmla="*/ 81 h 9"/>
                <a:gd name="T4" fmla="*/ 0 w 9"/>
                <a:gd name="T5" fmla="*/ 81 h 9"/>
                <a:gd name="T6" fmla="*/ 81 w 9"/>
                <a:gd name="T7" fmla="*/ 0 h 9"/>
                <a:gd name="T8" fmla="*/ 81 w 9"/>
                <a:gd name="T9" fmla="*/ 0 h 9"/>
                <a:gd name="T10" fmla="*/ 188 w 9"/>
                <a:gd name="T11" fmla="*/ 81 h 9"/>
                <a:gd name="T12" fmla="*/ 81 w 9"/>
                <a:gd name="T13" fmla="*/ 188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2" y="9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258" name="Oval 241"/>
            <p:cNvSpPr>
              <a:spLocks noChangeArrowheads="1"/>
            </p:cNvSpPr>
            <p:nvPr/>
          </p:nvSpPr>
          <p:spPr bwMode="auto">
            <a:xfrm>
              <a:off x="5229" y="221"/>
              <a:ext cx="13" cy="12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US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259" name="Freeform 242"/>
            <p:cNvSpPr>
              <a:spLocks noChangeArrowheads="1"/>
            </p:cNvSpPr>
            <p:nvPr/>
          </p:nvSpPr>
          <p:spPr bwMode="auto">
            <a:xfrm>
              <a:off x="5270" y="221"/>
              <a:ext cx="12" cy="12"/>
            </a:xfrm>
            <a:custGeom>
              <a:avLst/>
              <a:gdLst>
                <a:gd name="T0" fmla="*/ 65 w 9"/>
                <a:gd name="T1" fmla="*/ 230 h 8"/>
                <a:gd name="T2" fmla="*/ 0 w 9"/>
                <a:gd name="T3" fmla="*/ 120 h 8"/>
                <a:gd name="T4" fmla="*/ 0 w 9"/>
                <a:gd name="T5" fmla="*/ 120 h 8"/>
                <a:gd name="T6" fmla="*/ 65 w 9"/>
                <a:gd name="T7" fmla="*/ 0 h 8"/>
                <a:gd name="T8" fmla="*/ 116 w 9"/>
                <a:gd name="T9" fmla="*/ 120 h 8"/>
                <a:gd name="T10" fmla="*/ 65 w 9"/>
                <a:gd name="T11" fmla="*/ 230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8">
                  <a:moveTo>
                    <a:pt x="5" y="8"/>
                  </a:moveTo>
                  <a:cubicBezTo>
                    <a:pt x="2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6"/>
                    <a:pt x="7" y="8"/>
                    <a:pt x="5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260" name="Freeform 243"/>
            <p:cNvSpPr>
              <a:spLocks noChangeArrowheads="1"/>
            </p:cNvSpPr>
            <p:nvPr/>
          </p:nvSpPr>
          <p:spPr bwMode="auto">
            <a:xfrm>
              <a:off x="5208" y="207"/>
              <a:ext cx="12" cy="13"/>
            </a:xfrm>
            <a:custGeom>
              <a:avLst/>
              <a:gdLst>
                <a:gd name="T0" fmla="*/ 65 w 9"/>
                <a:gd name="T1" fmla="*/ 188 h 9"/>
                <a:gd name="T2" fmla="*/ 0 w 9"/>
                <a:gd name="T3" fmla="*/ 81 h 9"/>
                <a:gd name="T4" fmla="*/ 0 w 9"/>
                <a:gd name="T5" fmla="*/ 81 h 9"/>
                <a:gd name="T6" fmla="*/ 49 w 9"/>
                <a:gd name="T7" fmla="*/ 0 h 9"/>
                <a:gd name="T8" fmla="*/ 65 w 9"/>
                <a:gd name="T9" fmla="*/ 0 h 9"/>
                <a:gd name="T10" fmla="*/ 116 w 9"/>
                <a:gd name="T11" fmla="*/ 81 h 9"/>
                <a:gd name="T12" fmla="*/ 65 w 9"/>
                <a:gd name="T13" fmla="*/ 188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2" y="9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261" name="Freeform 244"/>
            <p:cNvSpPr>
              <a:spLocks noChangeArrowheads="1"/>
            </p:cNvSpPr>
            <p:nvPr/>
          </p:nvSpPr>
          <p:spPr bwMode="auto">
            <a:xfrm>
              <a:off x="5476" y="242"/>
              <a:ext cx="12" cy="11"/>
            </a:xfrm>
            <a:custGeom>
              <a:avLst/>
              <a:gdLst>
                <a:gd name="T0" fmla="*/ 65 w 9"/>
                <a:gd name="T1" fmla="*/ 131 h 8"/>
                <a:gd name="T2" fmla="*/ 49 w 9"/>
                <a:gd name="T3" fmla="*/ 131 h 8"/>
                <a:gd name="T4" fmla="*/ 0 w 9"/>
                <a:gd name="T5" fmla="*/ 69 h 8"/>
                <a:gd name="T6" fmla="*/ 0 w 9"/>
                <a:gd name="T7" fmla="*/ 69 h 8"/>
                <a:gd name="T8" fmla="*/ 49 w 9"/>
                <a:gd name="T9" fmla="*/ 0 h 8"/>
                <a:gd name="T10" fmla="*/ 116 w 9"/>
                <a:gd name="T11" fmla="*/ 69 h 8"/>
                <a:gd name="T12" fmla="*/ 65 w 9"/>
                <a:gd name="T13" fmla="*/ 131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8">
                  <a:moveTo>
                    <a:pt x="5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7" y="0"/>
                    <a:pt x="9" y="1"/>
                    <a:pt x="9" y="4"/>
                  </a:cubicBezTo>
                  <a:cubicBezTo>
                    <a:pt x="9" y="6"/>
                    <a:pt x="7" y="8"/>
                    <a:pt x="5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262" name="Freeform 245"/>
            <p:cNvSpPr>
              <a:spLocks noChangeArrowheads="1"/>
            </p:cNvSpPr>
            <p:nvPr/>
          </p:nvSpPr>
          <p:spPr bwMode="auto">
            <a:xfrm>
              <a:off x="5436" y="242"/>
              <a:ext cx="12" cy="11"/>
            </a:xfrm>
            <a:custGeom>
              <a:avLst/>
              <a:gdLst>
                <a:gd name="T0" fmla="*/ 120 w 8"/>
                <a:gd name="T1" fmla="*/ 131 h 8"/>
                <a:gd name="T2" fmla="*/ 120 w 8"/>
                <a:gd name="T3" fmla="*/ 131 h 8"/>
                <a:gd name="T4" fmla="*/ 0 w 8"/>
                <a:gd name="T5" fmla="*/ 69 h 8"/>
                <a:gd name="T6" fmla="*/ 0 w 8"/>
                <a:gd name="T7" fmla="*/ 69 h 8"/>
                <a:gd name="T8" fmla="*/ 120 w 8"/>
                <a:gd name="T9" fmla="*/ 0 h 8"/>
                <a:gd name="T10" fmla="*/ 230 w 8"/>
                <a:gd name="T11" fmla="*/ 69 h 8"/>
                <a:gd name="T12" fmla="*/ 120 w 8"/>
                <a:gd name="T13" fmla="*/ 131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" h="8">
                  <a:moveTo>
                    <a:pt x="4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6" y="0"/>
                    <a:pt x="8" y="1"/>
                    <a:pt x="8" y="4"/>
                  </a:cubicBezTo>
                  <a:cubicBezTo>
                    <a:pt x="8" y="6"/>
                    <a:pt x="7" y="8"/>
                    <a:pt x="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263" name="Freeform 246"/>
            <p:cNvSpPr>
              <a:spLocks noChangeArrowheads="1"/>
            </p:cNvSpPr>
            <p:nvPr/>
          </p:nvSpPr>
          <p:spPr bwMode="auto">
            <a:xfrm>
              <a:off x="5331" y="229"/>
              <a:ext cx="14" cy="9"/>
            </a:xfrm>
            <a:custGeom>
              <a:avLst/>
              <a:gdLst>
                <a:gd name="T0" fmla="*/ 182 w 9"/>
                <a:gd name="T1" fmla="*/ 34 h 8"/>
                <a:gd name="T2" fmla="*/ 0 w 9"/>
                <a:gd name="T3" fmla="*/ 18 h 8"/>
                <a:gd name="T4" fmla="*/ 0 w 9"/>
                <a:gd name="T5" fmla="*/ 18 h 8"/>
                <a:gd name="T6" fmla="*/ 182 w 9"/>
                <a:gd name="T7" fmla="*/ 0 h 8"/>
                <a:gd name="T8" fmla="*/ 327 w 9"/>
                <a:gd name="T9" fmla="*/ 18 h 8"/>
                <a:gd name="T10" fmla="*/ 182 w 9"/>
                <a:gd name="T11" fmla="*/ 34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8">
                  <a:moveTo>
                    <a:pt x="5" y="8"/>
                  </a:moveTo>
                  <a:cubicBezTo>
                    <a:pt x="2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6"/>
                    <a:pt x="7" y="8"/>
                    <a:pt x="5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264" name="Freeform 247"/>
            <p:cNvSpPr>
              <a:spLocks noChangeArrowheads="1"/>
            </p:cNvSpPr>
            <p:nvPr/>
          </p:nvSpPr>
          <p:spPr bwMode="auto">
            <a:xfrm>
              <a:off x="5600" y="242"/>
              <a:ext cx="12" cy="11"/>
            </a:xfrm>
            <a:custGeom>
              <a:avLst/>
              <a:gdLst>
                <a:gd name="T0" fmla="*/ 64 w 9"/>
                <a:gd name="T1" fmla="*/ 131 h 8"/>
                <a:gd name="T2" fmla="*/ 49 w 9"/>
                <a:gd name="T3" fmla="*/ 131 h 8"/>
                <a:gd name="T4" fmla="*/ 0 w 9"/>
                <a:gd name="T5" fmla="*/ 69 h 8"/>
                <a:gd name="T6" fmla="*/ 64 w 9"/>
                <a:gd name="T7" fmla="*/ 0 h 8"/>
                <a:gd name="T8" fmla="*/ 113 w 9"/>
                <a:gd name="T9" fmla="*/ 69 h 8"/>
                <a:gd name="T10" fmla="*/ 64 w 9"/>
                <a:gd name="T11" fmla="*/ 131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8">
                  <a:moveTo>
                    <a:pt x="5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1"/>
                    <a:pt x="2" y="0"/>
                    <a:pt x="5" y="0"/>
                  </a:cubicBezTo>
                  <a:cubicBezTo>
                    <a:pt x="7" y="0"/>
                    <a:pt x="9" y="1"/>
                    <a:pt x="9" y="4"/>
                  </a:cubicBezTo>
                  <a:cubicBezTo>
                    <a:pt x="9" y="6"/>
                    <a:pt x="7" y="8"/>
                    <a:pt x="5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265" name="Freeform 248"/>
            <p:cNvSpPr>
              <a:spLocks noChangeArrowheads="1"/>
            </p:cNvSpPr>
            <p:nvPr/>
          </p:nvSpPr>
          <p:spPr bwMode="auto">
            <a:xfrm>
              <a:off x="5580" y="229"/>
              <a:ext cx="11" cy="9"/>
            </a:xfrm>
            <a:custGeom>
              <a:avLst/>
              <a:gdLst>
                <a:gd name="T0" fmla="*/ 69 w 8"/>
                <a:gd name="T1" fmla="*/ 34 h 8"/>
                <a:gd name="T2" fmla="*/ 0 w 8"/>
                <a:gd name="T3" fmla="*/ 18 h 8"/>
                <a:gd name="T4" fmla="*/ 0 w 8"/>
                <a:gd name="T5" fmla="*/ 18 h 8"/>
                <a:gd name="T6" fmla="*/ 69 w 8"/>
                <a:gd name="T7" fmla="*/ 0 h 8"/>
                <a:gd name="T8" fmla="*/ 131 w 8"/>
                <a:gd name="T9" fmla="*/ 18 h 8"/>
                <a:gd name="T10" fmla="*/ 69 w 8"/>
                <a:gd name="T11" fmla="*/ 34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" h="8">
                  <a:moveTo>
                    <a:pt x="4" y="8"/>
                  </a:moveTo>
                  <a:cubicBezTo>
                    <a:pt x="2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6"/>
                    <a:pt x="6" y="8"/>
                    <a:pt x="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266" name="Freeform 249"/>
            <p:cNvSpPr>
              <a:spLocks noChangeArrowheads="1"/>
            </p:cNvSpPr>
            <p:nvPr/>
          </p:nvSpPr>
          <p:spPr bwMode="auto">
            <a:xfrm>
              <a:off x="5558" y="242"/>
              <a:ext cx="12" cy="11"/>
            </a:xfrm>
            <a:custGeom>
              <a:avLst/>
              <a:gdLst>
                <a:gd name="T0" fmla="*/ 49 w 9"/>
                <a:gd name="T1" fmla="*/ 131 h 8"/>
                <a:gd name="T2" fmla="*/ 49 w 9"/>
                <a:gd name="T3" fmla="*/ 131 h 8"/>
                <a:gd name="T4" fmla="*/ 0 w 9"/>
                <a:gd name="T5" fmla="*/ 69 h 8"/>
                <a:gd name="T6" fmla="*/ 0 w 9"/>
                <a:gd name="T7" fmla="*/ 69 h 8"/>
                <a:gd name="T8" fmla="*/ 49 w 9"/>
                <a:gd name="T9" fmla="*/ 0 h 8"/>
                <a:gd name="T10" fmla="*/ 113 w 9"/>
                <a:gd name="T11" fmla="*/ 69 h 8"/>
                <a:gd name="T12" fmla="*/ 49 w 9"/>
                <a:gd name="T13" fmla="*/ 131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8">
                  <a:moveTo>
                    <a:pt x="4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7" y="0"/>
                    <a:pt x="9" y="1"/>
                    <a:pt x="9" y="4"/>
                  </a:cubicBezTo>
                  <a:cubicBezTo>
                    <a:pt x="9" y="6"/>
                    <a:pt x="7" y="8"/>
                    <a:pt x="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267" name="Freeform 250"/>
            <p:cNvSpPr>
              <a:spLocks noChangeArrowheads="1"/>
            </p:cNvSpPr>
            <p:nvPr/>
          </p:nvSpPr>
          <p:spPr bwMode="auto">
            <a:xfrm>
              <a:off x="5538" y="229"/>
              <a:ext cx="12" cy="9"/>
            </a:xfrm>
            <a:custGeom>
              <a:avLst/>
              <a:gdLst>
                <a:gd name="T0" fmla="*/ 64 w 9"/>
                <a:gd name="T1" fmla="*/ 34 h 8"/>
                <a:gd name="T2" fmla="*/ 0 w 9"/>
                <a:gd name="T3" fmla="*/ 18 h 8"/>
                <a:gd name="T4" fmla="*/ 0 w 9"/>
                <a:gd name="T5" fmla="*/ 18 h 8"/>
                <a:gd name="T6" fmla="*/ 64 w 9"/>
                <a:gd name="T7" fmla="*/ 0 h 8"/>
                <a:gd name="T8" fmla="*/ 113 w 9"/>
                <a:gd name="T9" fmla="*/ 18 h 8"/>
                <a:gd name="T10" fmla="*/ 64 w 9"/>
                <a:gd name="T11" fmla="*/ 34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8">
                  <a:moveTo>
                    <a:pt x="5" y="8"/>
                  </a:moveTo>
                  <a:cubicBezTo>
                    <a:pt x="2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6"/>
                    <a:pt x="7" y="8"/>
                    <a:pt x="5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268" name="Freeform 251"/>
            <p:cNvSpPr>
              <a:spLocks noChangeArrowheads="1"/>
            </p:cNvSpPr>
            <p:nvPr/>
          </p:nvSpPr>
          <p:spPr bwMode="auto">
            <a:xfrm>
              <a:off x="5518" y="242"/>
              <a:ext cx="12" cy="11"/>
            </a:xfrm>
            <a:custGeom>
              <a:avLst/>
              <a:gdLst>
                <a:gd name="T0" fmla="*/ 120 w 8"/>
                <a:gd name="T1" fmla="*/ 131 h 8"/>
                <a:gd name="T2" fmla="*/ 120 w 8"/>
                <a:gd name="T3" fmla="*/ 131 h 8"/>
                <a:gd name="T4" fmla="*/ 0 w 8"/>
                <a:gd name="T5" fmla="*/ 69 h 8"/>
                <a:gd name="T6" fmla="*/ 0 w 8"/>
                <a:gd name="T7" fmla="*/ 69 h 8"/>
                <a:gd name="T8" fmla="*/ 120 w 8"/>
                <a:gd name="T9" fmla="*/ 0 h 8"/>
                <a:gd name="T10" fmla="*/ 230 w 8"/>
                <a:gd name="T11" fmla="*/ 69 h 8"/>
                <a:gd name="T12" fmla="*/ 120 w 8"/>
                <a:gd name="T13" fmla="*/ 131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" h="8">
                  <a:moveTo>
                    <a:pt x="4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1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6" y="0"/>
                    <a:pt x="8" y="1"/>
                    <a:pt x="8" y="4"/>
                  </a:cubicBezTo>
                  <a:cubicBezTo>
                    <a:pt x="8" y="6"/>
                    <a:pt x="6" y="8"/>
                    <a:pt x="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269" name="Freeform 252"/>
            <p:cNvSpPr>
              <a:spLocks noChangeArrowheads="1"/>
            </p:cNvSpPr>
            <p:nvPr/>
          </p:nvSpPr>
          <p:spPr bwMode="auto">
            <a:xfrm>
              <a:off x="5496" y="229"/>
              <a:ext cx="12" cy="9"/>
            </a:xfrm>
            <a:custGeom>
              <a:avLst/>
              <a:gdLst>
                <a:gd name="T0" fmla="*/ 49 w 9"/>
                <a:gd name="T1" fmla="*/ 34 h 8"/>
                <a:gd name="T2" fmla="*/ 0 w 9"/>
                <a:gd name="T3" fmla="*/ 18 h 8"/>
                <a:gd name="T4" fmla="*/ 0 w 9"/>
                <a:gd name="T5" fmla="*/ 18 h 8"/>
                <a:gd name="T6" fmla="*/ 49 w 9"/>
                <a:gd name="T7" fmla="*/ 0 h 8"/>
                <a:gd name="T8" fmla="*/ 113 w 9"/>
                <a:gd name="T9" fmla="*/ 18 h 8"/>
                <a:gd name="T10" fmla="*/ 49 w 9"/>
                <a:gd name="T11" fmla="*/ 34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8">
                  <a:moveTo>
                    <a:pt x="4" y="8"/>
                  </a:moveTo>
                  <a:cubicBezTo>
                    <a:pt x="2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6"/>
                    <a:pt x="7" y="8"/>
                    <a:pt x="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270" name="Oval 253"/>
            <p:cNvSpPr>
              <a:spLocks noChangeArrowheads="1"/>
            </p:cNvSpPr>
            <p:nvPr/>
          </p:nvSpPr>
          <p:spPr bwMode="auto">
            <a:xfrm>
              <a:off x="5455" y="229"/>
              <a:ext cx="13" cy="9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US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271" name="Oval 254"/>
            <p:cNvSpPr>
              <a:spLocks noChangeArrowheads="1"/>
            </p:cNvSpPr>
            <p:nvPr/>
          </p:nvSpPr>
          <p:spPr bwMode="auto">
            <a:xfrm>
              <a:off x="5744" y="229"/>
              <a:ext cx="13" cy="9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US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272" name="Freeform 255"/>
            <p:cNvSpPr>
              <a:spLocks noChangeArrowheads="1"/>
            </p:cNvSpPr>
            <p:nvPr/>
          </p:nvSpPr>
          <p:spPr bwMode="auto">
            <a:xfrm>
              <a:off x="5723" y="242"/>
              <a:ext cx="12" cy="11"/>
            </a:xfrm>
            <a:custGeom>
              <a:avLst/>
              <a:gdLst>
                <a:gd name="T0" fmla="*/ 64 w 9"/>
                <a:gd name="T1" fmla="*/ 131 h 8"/>
                <a:gd name="T2" fmla="*/ 64 w 9"/>
                <a:gd name="T3" fmla="*/ 131 h 8"/>
                <a:gd name="T4" fmla="*/ 0 w 9"/>
                <a:gd name="T5" fmla="*/ 69 h 8"/>
                <a:gd name="T6" fmla="*/ 0 w 9"/>
                <a:gd name="T7" fmla="*/ 69 h 8"/>
                <a:gd name="T8" fmla="*/ 64 w 9"/>
                <a:gd name="T9" fmla="*/ 0 h 8"/>
                <a:gd name="T10" fmla="*/ 113 w 9"/>
                <a:gd name="T11" fmla="*/ 69 h 8"/>
                <a:gd name="T12" fmla="*/ 64 w 9"/>
                <a:gd name="T13" fmla="*/ 131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8">
                  <a:moveTo>
                    <a:pt x="5" y="8"/>
                  </a:moveTo>
                  <a:cubicBezTo>
                    <a:pt x="5" y="8"/>
                    <a:pt x="5" y="8"/>
                    <a:pt x="5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"/>
                    <a:pt x="2" y="0"/>
                    <a:pt x="5" y="0"/>
                  </a:cubicBezTo>
                  <a:cubicBezTo>
                    <a:pt x="7" y="0"/>
                    <a:pt x="9" y="1"/>
                    <a:pt x="9" y="4"/>
                  </a:cubicBezTo>
                  <a:cubicBezTo>
                    <a:pt x="9" y="6"/>
                    <a:pt x="7" y="8"/>
                    <a:pt x="5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273" name="Freeform 256"/>
            <p:cNvSpPr>
              <a:spLocks noChangeArrowheads="1"/>
            </p:cNvSpPr>
            <p:nvPr/>
          </p:nvSpPr>
          <p:spPr bwMode="auto">
            <a:xfrm>
              <a:off x="5703" y="229"/>
              <a:ext cx="11" cy="9"/>
            </a:xfrm>
            <a:custGeom>
              <a:avLst/>
              <a:gdLst>
                <a:gd name="T0" fmla="*/ 69 w 8"/>
                <a:gd name="T1" fmla="*/ 34 h 8"/>
                <a:gd name="T2" fmla="*/ 0 w 8"/>
                <a:gd name="T3" fmla="*/ 18 h 8"/>
                <a:gd name="T4" fmla="*/ 0 w 8"/>
                <a:gd name="T5" fmla="*/ 18 h 8"/>
                <a:gd name="T6" fmla="*/ 69 w 8"/>
                <a:gd name="T7" fmla="*/ 0 h 8"/>
                <a:gd name="T8" fmla="*/ 131 w 8"/>
                <a:gd name="T9" fmla="*/ 18 h 8"/>
                <a:gd name="T10" fmla="*/ 69 w 8"/>
                <a:gd name="T11" fmla="*/ 34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" h="8">
                  <a:moveTo>
                    <a:pt x="4" y="8"/>
                  </a:moveTo>
                  <a:cubicBezTo>
                    <a:pt x="2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6"/>
                    <a:pt x="6" y="8"/>
                    <a:pt x="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274" name="Freeform 257"/>
            <p:cNvSpPr>
              <a:spLocks noChangeArrowheads="1"/>
            </p:cNvSpPr>
            <p:nvPr/>
          </p:nvSpPr>
          <p:spPr bwMode="auto">
            <a:xfrm>
              <a:off x="5682" y="242"/>
              <a:ext cx="12" cy="11"/>
            </a:xfrm>
            <a:custGeom>
              <a:avLst/>
              <a:gdLst>
                <a:gd name="T0" fmla="*/ 49 w 9"/>
                <a:gd name="T1" fmla="*/ 131 h 8"/>
                <a:gd name="T2" fmla="*/ 49 w 9"/>
                <a:gd name="T3" fmla="*/ 131 h 8"/>
                <a:gd name="T4" fmla="*/ 0 w 9"/>
                <a:gd name="T5" fmla="*/ 69 h 8"/>
                <a:gd name="T6" fmla="*/ 49 w 9"/>
                <a:gd name="T7" fmla="*/ 0 h 8"/>
                <a:gd name="T8" fmla="*/ 113 w 9"/>
                <a:gd name="T9" fmla="*/ 69 h 8"/>
                <a:gd name="T10" fmla="*/ 49 w 9"/>
                <a:gd name="T11" fmla="*/ 131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8">
                  <a:moveTo>
                    <a:pt x="4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7" y="0"/>
                    <a:pt x="9" y="1"/>
                    <a:pt x="9" y="4"/>
                  </a:cubicBezTo>
                  <a:cubicBezTo>
                    <a:pt x="9" y="6"/>
                    <a:pt x="7" y="8"/>
                    <a:pt x="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275" name="Freeform 258"/>
            <p:cNvSpPr>
              <a:spLocks noChangeArrowheads="1"/>
            </p:cNvSpPr>
            <p:nvPr/>
          </p:nvSpPr>
          <p:spPr bwMode="auto">
            <a:xfrm>
              <a:off x="5661" y="229"/>
              <a:ext cx="12" cy="9"/>
            </a:xfrm>
            <a:custGeom>
              <a:avLst/>
              <a:gdLst>
                <a:gd name="T0" fmla="*/ 64 w 9"/>
                <a:gd name="T1" fmla="*/ 34 h 8"/>
                <a:gd name="T2" fmla="*/ 0 w 9"/>
                <a:gd name="T3" fmla="*/ 18 h 8"/>
                <a:gd name="T4" fmla="*/ 0 w 9"/>
                <a:gd name="T5" fmla="*/ 18 h 8"/>
                <a:gd name="T6" fmla="*/ 64 w 9"/>
                <a:gd name="T7" fmla="*/ 0 h 8"/>
                <a:gd name="T8" fmla="*/ 113 w 9"/>
                <a:gd name="T9" fmla="*/ 18 h 8"/>
                <a:gd name="T10" fmla="*/ 64 w 9"/>
                <a:gd name="T11" fmla="*/ 34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8">
                  <a:moveTo>
                    <a:pt x="5" y="8"/>
                  </a:moveTo>
                  <a:cubicBezTo>
                    <a:pt x="2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6"/>
                    <a:pt x="7" y="8"/>
                    <a:pt x="5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276" name="Freeform 259"/>
            <p:cNvSpPr>
              <a:spLocks noChangeArrowheads="1"/>
            </p:cNvSpPr>
            <p:nvPr/>
          </p:nvSpPr>
          <p:spPr bwMode="auto">
            <a:xfrm>
              <a:off x="5640" y="242"/>
              <a:ext cx="12" cy="11"/>
            </a:xfrm>
            <a:custGeom>
              <a:avLst/>
              <a:gdLst>
                <a:gd name="T0" fmla="*/ 120 w 8"/>
                <a:gd name="T1" fmla="*/ 131 h 8"/>
                <a:gd name="T2" fmla="*/ 120 w 8"/>
                <a:gd name="T3" fmla="*/ 131 h 8"/>
                <a:gd name="T4" fmla="*/ 0 w 8"/>
                <a:gd name="T5" fmla="*/ 69 h 8"/>
                <a:gd name="T6" fmla="*/ 0 w 8"/>
                <a:gd name="T7" fmla="*/ 69 h 8"/>
                <a:gd name="T8" fmla="*/ 120 w 8"/>
                <a:gd name="T9" fmla="*/ 0 h 8"/>
                <a:gd name="T10" fmla="*/ 230 w 8"/>
                <a:gd name="T11" fmla="*/ 69 h 8"/>
                <a:gd name="T12" fmla="*/ 230 w 8"/>
                <a:gd name="T13" fmla="*/ 69 h 8"/>
                <a:gd name="T14" fmla="*/ 120 w 8"/>
                <a:gd name="T15" fmla="*/ 131 h 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8" h="8">
                  <a:moveTo>
                    <a:pt x="4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6" y="0"/>
                    <a:pt x="8" y="1"/>
                    <a:pt x="8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6" y="8"/>
                    <a:pt x="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277" name="Oval 260"/>
            <p:cNvSpPr>
              <a:spLocks noChangeArrowheads="1"/>
            </p:cNvSpPr>
            <p:nvPr/>
          </p:nvSpPr>
          <p:spPr bwMode="auto">
            <a:xfrm>
              <a:off x="5621" y="229"/>
              <a:ext cx="12" cy="9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US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278" name="Freeform 261"/>
            <p:cNvSpPr>
              <a:spLocks noChangeArrowheads="1"/>
            </p:cNvSpPr>
            <p:nvPr/>
          </p:nvSpPr>
          <p:spPr bwMode="auto">
            <a:xfrm>
              <a:off x="5312" y="242"/>
              <a:ext cx="11" cy="11"/>
            </a:xfrm>
            <a:custGeom>
              <a:avLst/>
              <a:gdLst>
                <a:gd name="T0" fmla="*/ 69 w 8"/>
                <a:gd name="T1" fmla="*/ 131 h 8"/>
                <a:gd name="T2" fmla="*/ 69 w 8"/>
                <a:gd name="T3" fmla="*/ 131 h 8"/>
                <a:gd name="T4" fmla="*/ 0 w 8"/>
                <a:gd name="T5" fmla="*/ 69 h 8"/>
                <a:gd name="T6" fmla="*/ 0 w 8"/>
                <a:gd name="T7" fmla="*/ 69 h 8"/>
                <a:gd name="T8" fmla="*/ 69 w 8"/>
                <a:gd name="T9" fmla="*/ 0 h 8"/>
                <a:gd name="T10" fmla="*/ 131 w 8"/>
                <a:gd name="T11" fmla="*/ 69 h 8"/>
                <a:gd name="T12" fmla="*/ 69 w 8"/>
                <a:gd name="T13" fmla="*/ 131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" h="8">
                  <a:moveTo>
                    <a:pt x="4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6" y="0"/>
                    <a:pt x="8" y="1"/>
                    <a:pt x="8" y="4"/>
                  </a:cubicBezTo>
                  <a:cubicBezTo>
                    <a:pt x="8" y="6"/>
                    <a:pt x="6" y="8"/>
                    <a:pt x="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279" name="Freeform 262"/>
            <p:cNvSpPr>
              <a:spLocks noChangeArrowheads="1"/>
            </p:cNvSpPr>
            <p:nvPr/>
          </p:nvSpPr>
          <p:spPr bwMode="auto">
            <a:xfrm>
              <a:off x="5250" y="229"/>
              <a:ext cx="11" cy="9"/>
            </a:xfrm>
            <a:custGeom>
              <a:avLst/>
              <a:gdLst>
                <a:gd name="T0" fmla="*/ 69 w 8"/>
                <a:gd name="T1" fmla="*/ 34 h 8"/>
                <a:gd name="T2" fmla="*/ 0 w 8"/>
                <a:gd name="T3" fmla="*/ 18 h 8"/>
                <a:gd name="T4" fmla="*/ 0 w 8"/>
                <a:gd name="T5" fmla="*/ 18 h 8"/>
                <a:gd name="T6" fmla="*/ 69 w 8"/>
                <a:gd name="T7" fmla="*/ 0 h 8"/>
                <a:gd name="T8" fmla="*/ 131 w 8"/>
                <a:gd name="T9" fmla="*/ 18 h 8"/>
                <a:gd name="T10" fmla="*/ 69 w 8"/>
                <a:gd name="T11" fmla="*/ 34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" h="8">
                  <a:moveTo>
                    <a:pt x="4" y="8"/>
                  </a:moveTo>
                  <a:cubicBezTo>
                    <a:pt x="2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6"/>
                    <a:pt x="6" y="8"/>
                    <a:pt x="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280" name="Freeform 263"/>
            <p:cNvSpPr>
              <a:spLocks noChangeArrowheads="1"/>
            </p:cNvSpPr>
            <p:nvPr/>
          </p:nvSpPr>
          <p:spPr bwMode="auto">
            <a:xfrm>
              <a:off x="5291" y="229"/>
              <a:ext cx="13" cy="9"/>
            </a:xfrm>
            <a:custGeom>
              <a:avLst/>
              <a:gdLst>
                <a:gd name="T0" fmla="*/ 81 w 9"/>
                <a:gd name="T1" fmla="*/ 34 h 8"/>
                <a:gd name="T2" fmla="*/ 0 w 9"/>
                <a:gd name="T3" fmla="*/ 18 h 8"/>
                <a:gd name="T4" fmla="*/ 0 w 9"/>
                <a:gd name="T5" fmla="*/ 18 h 8"/>
                <a:gd name="T6" fmla="*/ 81 w 9"/>
                <a:gd name="T7" fmla="*/ 0 h 8"/>
                <a:gd name="T8" fmla="*/ 188 w 9"/>
                <a:gd name="T9" fmla="*/ 18 h 8"/>
                <a:gd name="T10" fmla="*/ 81 w 9"/>
                <a:gd name="T11" fmla="*/ 34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8">
                  <a:moveTo>
                    <a:pt x="4" y="8"/>
                  </a:moveTo>
                  <a:cubicBezTo>
                    <a:pt x="2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6"/>
                    <a:pt x="7" y="8"/>
                    <a:pt x="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281" name="Freeform 264"/>
            <p:cNvSpPr>
              <a:spLocks noChangeArrowheads="1"/>
            </p:cNvSpPr>
            <p:nvPr/>
          </p:nvSpPr>
          <p:spPr bwMode="auto">
            <a:xfrm>
              <a:off x="5229" y="242"/>
              <a:ext cx="13" cy="11"/>
            </a:xfrm>
            <a:custGeom>
              <a:avLst/>
              <a:gdLst>
                <a:gd name="T0" fmla="*/ 81 w 9"/>
                <a:gd name="T1" fmla="*/ 131 h 8"/>
                <a:gd name="T2" fmla="*/ 81 w 9"/>
                <a:gd name="T3" fmla="*/ 131 h 8"/>
                <a:gd name="T4" fmla="*/ 0 w 9"/>
                <a:gd name="T5" fmla="*/ 69 h 8"/>
                <a:gd name="T6" fmla="*/ 81 w 9"/>
                <a:gd name="T7" fmla="*/ 0 h 8"/>
                <a:gd name="T8" fmla="*/ 188 w 9"/>
                <a:gd name="T9" fmla="*/ 69 h 8"/>
                <a:gd name="T10" fmla="*/ 81 w 9"/>
                <a:gd name="T11" fmla="*/ 131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8">
                  <a:moveTo>
                    <a:pt x="4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7" y="0"/>
                    <a:pt x="9" y="1"/>
                    <a:pt x="9" y="4"/>
                  </a:cubicBezTo>
                  <a:cubicBezTo>
                    <a:pt x="9" y="6"/>
                    <a:pt x="7" y="8"/>
                    <a:pt x="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282" name="Freeform 265"/>
            <p:cNvSpPr>
              <a:spLocks noChangeArrowheads="1"/>
            </p:cNvSpPr>
            <p:nvPr/>
          </p:nvSpPr>
          <p:spPr bwMode="auto">
            <a:xfrm>
              <a:off x="5085" y="229"/>
              <a:ext cx="13" cy="9"/>
            </a:xfrm>
            <a:custGeom>
              <a:avLst/>
              <a:gdLst>
                <a:gd name="T0" fmla="*/ 81 w 9"/>
                <a:gd name="T1" fmla="*/ 34 h 8"/>
                <a:gd name="T2" fmla="*/ 0 w 9"/>
                <a:gd name="T3" fmla="*/ 18 h 8"/>
                <a:gd name="T4" fmla="*/ 0 w 9"/>
                <a:gd name="T5" fmla="*/ 18 h 8"/>
                <a:gd name="T6" fmla="*/ 81 w 9"/>
                <a:gd name="T7" fmla="*/ 0 h 8"/>
                <a:gd name="T8" fmla="*/ 188 w 9"/>
                <a:gd name="T9" fmla="*/ 18 h 8"/>
                <a:gd name="T10" fmla="*/ 81 w 9"/>
                <a:gd name="T11" fmla="*/ 34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8">
                  <a:moveTo>
                    <a:pt x="4" y="8"/>
                  </a:moveTo>
                  <a:cubicBezTo>
                    <a:pt x="2" y="8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6"/>
                    <a:pt x="7" y="8"/>
                    <a:pt x="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283" name="Freeform 266"/>
            <p:cNvSpPr>
              <a:spLocks noChangeArrowheads="1"/>
            </p:cNvSpPr>
            <p:nvPr/>
          </p:nvSpPr>
          <p:spPr bwMode="auto">
            <a:xfrm>
              <a:off x="5270" y="242"/>
              <a:ext cx="12" cy="11"/>
            </a:xfrm>
            <a:custGeom>
              <a:avLst/>
              <a:gdLst>
                <a:gd name="T0" fmla="*/ 65 w 9"/>
                <a:gd name="T1" fmla="*/ 131 h 8"/>
                <a:gd name="T2" fmla="*/ 49 w 9"/>
                <a:gd name="T3" fmla="*/ 131 h 8"/>
                <a:gd name="T4" fmla="*/ 0 w 9"/>
                <a:gd name="T5" fmla="*/ 69 h 8"/>
                <a:gd name="T6" fmla="*/ 0 w 9"/>
                <a:gd name="T7" fmla="*/ 69 h 8"/>
                <a:gd name="T8" fmla="*/ 65 w 9"/>
                <a:gd name="T9" fmla="*/ 0 h 8"/>
                <a:gd name="T10" fmla="*/ 116 w 9"/>
                <a:gd name="T11" fmla="*/ 69 h 8"/>
                <a:gd name="T12" fmla="*/ 65 w 9"/>
                <a:gd name="T13" fmla="*/ 131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8">
                  <a:moveTo>
                    <a:pt x="5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"/>
                    <a:pt x="2" y="0"/>
                    <a:pt x="5" y="0"/>
                  </a:cubicBezTo>
                  <a:cubicBezTo>
                    <a:pt x="7" y="0"/>
                    <a:pt x="9" y="1"/>
                    <a:pt x="9" y="4"/>
                  </a:cubicBezTo>
                  <a:cubicBezTo>
                    <a:pt x="9" y="6"/>
                    <a:pt x="7" y="8"/>
                    <a:pt x="5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284" name="Freeform 267"/>
            <p:cNvSpPr>
              <a:spLocks noChangeArrowheads="1"/>
            </p:cNvSpPr>
            <p:nvPr/>
          </p:nvSpPr>
          <p:spPr bwMode="auto">
            <a:xfrm>
              <a:off x="5208" y="229"/>
              <a:ext cx="12" cy="9"/>
            </a:xfrm>
            <a:custGeom>
              <a:avLst/>
              <a:gdLst>
                <a:gd name="T0" fmla="*/ 65 w 9"/>
                <a:gd name="T1" fmla="*/ 34 h 8"/>
                <a:gd name="T2" fmla="*/ 0 w 9"/>
                <a:gd name="T3" fmla="*/ 18 h 8"/>
                <a:gd name="T4" fmla="*/ 0 w 9"/>
                <a:gd name="T5" fmla="*/ 18 h 8"/>
                <a:gd name="T6" fmla="*/ 65 w 9"/>
                <a:gd name="T7" fmla="*/ 0 h 8"/>
                <a:gd name="T8" fmla="*/ 116 w 9"/>
                <a:gd name="T9" fmla="*/ 18 h 8"/>
                <a:gd name="T10" fmla="*/ 65 w 9"/>
                <a:gd name="T11" fmla="*/ 34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8">
                  <a:moveTo>
                    <a:pt x="5" y="8"/>
                  </a:moveTo>
                  <a:cubicBezTo>
                    <a:pt x="2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6"/>
                    <a:pt x="7" y="8"/>
                    <a:pt x="5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285" name="Freeform 268"/>
            <p:cNvSpPr>
              <a:spLocks noChangeArrowheads="1"/>
            </p:cNvSpPr>
            <p:nvPr/>
          </p:nvSpPr>
          <p:spPr bwMode="auto">
            <a:xfrm>
              <a:off x="5063" y="242"/>
              <a:ext cx="14" cy="11"/>
            </a:xfrm>
            <a:custGeom>
              <a:avLst/>
              <a:gdLst>
                <a:gd name="T0" fmla="*/ 182 w 9"/>
                <a:gd name="T1" fmla="*/ 131 h 8"/>
                <a:gd name="T2" fmla="*/ 182 w 9"/>
                <a:gd name="T3" fmla="*/ 131 h 8"/>
                <a:gd name="T4" fmla="*/ 0 w 9"/>
                <a:gd name="T5" fmla="*/ 69 h 8"/>
                <a:gd name="T6" fmla="*/ 0 w 9"/>
                <a:gd name="T7" fmla="*/ 69 h 8"/>
                <a:gd name="T8" fmla="*/ 182 w 9"/>
                <a:gd name="T9" fmla="*/ 0 h 8"/>
                <a:gd name="T10" fmla="*/ 327 w 9"/>
                <a:gd name="T11" fmla="*/ 69 h 8"/>
                <a:gd name="T12" fmla="*/ 182 w 9"/>
                <a:gd name="T13" fmla="*/ 131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8">
                  <a:moveTo>
                    <a:pt x="5" y="8"/>
                  </a:moveTo>
                  <a:cubicBezTo>
                    <a:pt x="5" y="8"/>
                    <a:pt x="5" y="8"/>
                    <a:pt x="5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"/>
                    <a:pt x="2" y="0"/>
                    <a:pt x="5" y="0"/>
                  </a:cubicBezTo>
                  <a:cubicBezTo>
                    <a:pt x="7" y="0"/>
                    <a:pt x="9" y="1"/>
                    <a:pt x="9" y="4"/>
                  </a:cubicBezTo>
                  <a:cubicBezTo>
                    <a:pt x="9" y="6"/>
                    <a:pt x="7" y="8"/>
                    <a:pt x="5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286" name="Freeform 269"/>
            <p:cNvSpPr>
              <a:spLocks noChangeArrowheads="1"/>
            </p:cNvSpPr>
            <p:nvPr/>
          </p:nvSpPr>
          <p:spPr bwMode="auto">
            <a:xfrm>
              <a:off x="5476" y="262"/>
              <a:ext cx="12" cy="12"/>
            </a:xfrm>
            <a:custGeom>
              <a:avLst/>
              <a:gdLst>
                <a:gd name="T0" fmla="*/ 49 w 9"/>
                <a:gd name="T1" fmla="*/ 113 h 9"/>
                <a:gd name="T2" fmla="*/ 0 w 9"/>
                <a:gd name="T3" fmla="*/ 64 h 9"/>
                <a:gd name="T4" fmla="*/ 0 w 9"/>
                <a:gd name="T5" fmla="*/ 64 h 9"/>
                <a:gd name="T6" fmla="*/ 49 w 9"/>
                <a:gd name="T7" fmla="*/ 0 h 9"/>
                <a:gd name="T8" fmla="*/ 65 w 9"/>
                <a:gd name="T9" fmla="*/ 0 h 9"/>
                <a:gd name="T10" fmla="*/ 116 w 9"/>
                <a:gd name="T11" fmla="*/ 64 h 9"/>
                <a:gd name="T12" fmla="*/ 49 w 9"/>
                <a:gd name="T13" fmla="*/ 113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287" name="Freeform 270"/>
            <p:cNvSpPr>
              <a:spLocks noChangeArrowheads="1"/>
            </p:cNvSpPr>
            <p:nvPr/>
          </p:nvSpPr>
          <p:spPr bwMode="auto">
            <a:xfrm>
              <a:off x="5436" y="262"/>
              <a:ext cx="12" cy="12"/>
            </a:xfrm>
            <a:custGeom>
              <a:avLst/>
              <a:gdLst>
                <a:gd name="T0" fmla="*/ 120 w 8"/>
                <a:gd name="T1" fmla="*/ 113 h 9"/>
                <a:gd name="T2" fmla="*/ 0 w 8"/>
                <a:gd name="T3" fmla="*/ 64 h 9"/>
                <a:gd name="T4" fmla="*/ 0 w 8"/>
                <a:gd name="T5" fmla="*/ 64 h 9"/>
                <a:gd name="T6" fmla="*/ 120 w 8"/>
                <a:gd name="T7" fmla="*/ 0 h 9"/>
                <a:gd name="T8" fmla="*/ 120 w 8"/>
                <a:gd name="T9" fmla="*/ 0 h 9"/>
                <a:gd name="T10" fmla="*/ 230 w 8"/>
                <a:gd name="T11" fmla="*/ 64 h 9"/>
                <a:gd name="T12" fmla="*/ 120 w 8"/>
                <a:gd name="T13" fmla="*/ 113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7" y="0"/>
                    <a:pt x="8" y="2"/>
                    <a:pt x="8" y="5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288" name="Freeform 271"/>
            <p:cNvSpPr>
              <a:spLocks noChangeArrowheads="1"/>
            </p:cNvSpPr>
            <p:nvPr/>
          </p:nvSpPr>
          <p:spPr bwMode="auto">
            <a:xfrm>
              <a:off x="5415" y="248"/>
              <a:ext cx="12" cy="12"/>
            </a:xfrm>
            <a:custGeom>
              <a:avLst/>
              <a:gdLst>
                <a:gd name="T0" fmla="*/ 49 w 9"/>
                <a:gd name="T1" fmla="*/ 116 h 9"/>
                <a:gd name="T2" fmla="*/ 0 w 9"/>
                <a:gd name="T3" fmla="*/ 65 h 9"/>
                <a:gd name="T4" fmla="*/ 0 w 9"/>
                <a:gd name="T5" fmla="*/ 65 h 9"/>
                <a:gd name="T6" fmla="*/ 49 w 9"/>
                <a:gd name="T7" fmla="*/ 0 h 9"/>
                <a:gd name="T8" fmla="*/ 113 w 9"/>
                <a:gd name="T9" fmla="*/ 65 h 9"/>
                <a:gd name="T10" fmla="*/ 49 w 9"/>
                <a:gd name="T11" fmla="*/ 116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289" name="Freeform 272"/>
            <p:cNvSpPr>
              <a:spLocks noChangeArrowheads="1"/>
            </p:cNvSpPr>
            <p:nvPr/>
          </p:nvSpPr>
          <p:spPr bwMode="auto">
            <a:xfrm>
              <a:off x="5600" y="262"/>
              <a:ext cx="12" cy="12"/>
            </a:xfrm>
            <a:custGeom>
              <a:avLst/>
              <a:gdLst>
                <a:gd name="T0" fmla="*/ 64 w 9"/>
                <a:gd name="T1" fmla="*/ 113 h 9"/>
                <a:gd name="T2" fmla="*/ 0 w 9"/>
                <a:gd name="T3" fmla="*/ 64 h 9"/>
                <a:gd name="T4" fmla="*/ 49 w 9"/>
                <a:gd name="T5" fmla="*/ 0 h 9"/>
                <a:gd name="T6" fmla="*/ 64 w 9"/>
                <a:gd name="T7" fmla="*/ 0 h 9"/>
                <a:gd name="T8" fmla="*/ 113 w 9"/>
                <a:gd name="T9" fmla="*/ 64 h 9"/>
                <a:gd name="T10" fmla="*/ 64 w 9"/>
                <a:gd name="T11" fmla="*/ 113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290" name="Freeform 273"/>
            <p:cNvSpPr>
              <a:spLocks noChangeArrowheads="1"/>
            </p:cNvSpPr>
            <p:nvPr/>
          </p:nvSpPr>
          <p:spPr bwMode="auto">
            <a:xfrm>
              <a:off x="5580" y="248"/>
              <a:ext cx="11" cy="12"/>
            </a:xfrm>
            <a:custGeom>
              <a:avLst/>
              <a:gdLst>
                <a:gd name="T0" fmla="*/ 69 w 8"/>
                <a:gd name="T1" fmla="*/ 116 h 9"/>
                <a:gd name="T2" fmla="*/ 0 w 8"/>
                <a:gd name="T3" fmla="*/ 65 h 9"/>
                <a:gd name="T4" fmla="*/ 0 w 8"/>
                <a:gd name="T5" fmla="*/ 65 h 9"/>
                <a:gd name="T6" fmla="*/ 69 w 8"/>
                <a:gd name="T7" fmla="*/ 0 h 9"/>
                <a:gd name="T8" fmla="*/ 131 w 8"/>
                <a:gd name="T9" fmla="*/ 65 h 9"/>
                <a:gd name="T10" fmla="*/ 69 w 8"/>
                <a:gd name="T11" fmla="*/ 116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5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291" name="Freeform 274"/>
            <p:cNvSpPr>
              <a:spLocks noChangeArrowheads="1"/>
            </p:cNvSpPr>
            <p:nvPr/>
          </p:nvSpPr>
          <p:spPr bwMode="auto">
            <a:xfrm>
              <a:off x="5558" y="262"/>
              <a:ext cx="12" cy="12"/>
            </a:xfrm>
            <a:custGeom>
              <a:avLst/>
              <a:gdLst>
                <a:gd name="T0" fmla="*/ 49 w 9"/>
                <a:gd name="T1" fmla="*/ 113 h 9"/>
                <a:gd name="T2" fmla="*/ 0 w 9"/>
                <a:gd name="T3" fmla="*/ 64 h 9"/>
                <a:gd name="T4" fmla="*/ 0 w 9"/>
                <a:gd name="T5" fmla="*/ 64 h 9"/>
                <a:gd name="T6" fmla="*/ 49 w 9"/>
                <a:gd name="T7" fmla="*/ 0 h 9"/>
                <a:gd name="T8" fmla="*/ 49 w 9"/>
                <a:gd name="T9" fmla="*/ 0 h 9"/>
                <a:gd name="T10" fmla="*/ 113 w 9"/>
                <a:gd name="T11" fmla="*/ 64 h 9"/>
                <a:gd name="T12" fmla="*/ 49 w 9"/>
                <a:gd name="T13" fmla="*/ 113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292" name="Freeform 275"/>
            <p:cNvSpPr>
              <a:spLocks noChangeArrowheads="1"/>
            </p:cNvSpPr>
            <p:nvPr/>
          </p:nvSpPr>
          <p:spPr bwMode="auto">
            <a:xfrm>
              <a:off x="5538" y="248"/>
              <a:ext cx="12" cy="12"/>
            </a:xfrm>
            <a:custGeom>
              <a:avLst/>
              <a:gdLst>
                <a:gd name="T0" fmla="*/ 64 w 9"/>
                <a:gd name="T1" fmla="*/ 116 h 9"/>
                <a:gd name="T2" fmla="*/ 0 w 9"/>
                <a:gd name="T3" fmla="*/ 65 h 9"/>
                <a:gd name="T4" fmla="*/ 0 w 9"/>
                <a:gd name="T5" fmla="*/ 65 h 9"/>
                <a:gd name="T6" fmla="*/ 64 w 9"/>
                <a:gd name="T7" fmla="*/ 0 h 9"/>
                <a:gd name="T8" fmla="*/ 113 w 9"/>
                <a:gd name="T9" fmla="*/ 65 h 9"/>
                <a:gd name="T10" fmla="*/ 64 w 9"/>
                <a:gd name="T11" fmla="*/ 116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293" name="Freeform 276"/>
            <p:cNvSpPr>
              <a:spLocks noChangeArrowheads="1"/>
            </p:cNvSpPr>
            <p:nvPr/>
          </p:nvSpPr>
          <p:spPr bwMode="auto">
            <a:xfrm>
              <a:off x="5518" y="262"/>
              <a:ext cx="12" cy="12"/>
            </a:xfrm>
            <a:custGeom>
              <a:avLst/>
              <a:gdLst>
                <a:gd name="T0" fmla="*/ 120 w 8"/>
                <a:gd name="T1" fmla="*/ 113 h 9"/>
                <a:gd name="T2" fmla="*/ 0 w 8"/>
                <a:gd name="T3" fmla="*/ 64 h 9"/>
                <a:gd name="T4" fmla="*/ 0 w 8"/>
                <a:gd name="T5" fmla="*/ 64 h 9"/>
                <a:gd name="T6" fmla="*/ 120 w 8"/>
                <a:gd name="T7" fmla="*/ 0 h 9"/>
                <a:gd name="T8" fmla="*/ 120 w 8"/>
                <a:gd name="T9" fmla="*/ 0 h 9"/>
                <a:gd name="T10" fmla="*/ 230 w 8"/>
                <a:gd name="T11" fmla="*/ 64 h 9"/>
                <a:gd name="T12" fmla="*/ 120 w 8"/>
                <a:gd name="T13" fmla="*/ 113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1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6" y="0"/>
                    <a:pt x="8" y="2"/>
                    <a:pt x="8" y="5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294" name="Freeform 277"/>
            <p:cNvSpPr>
              <a:spLocks noChangeArrowheads="1"/>
            </p:cNvSpPr>
            <p:nvPr/>
          </p:nvSpPr>
          <p:spPr bwMode="auto">
            <a:xfrm>
              <a:off x="5496" y="248"/>
              <a:ext cx="12" cy="12"/>
            </a:xfrm>
            <a:custGeom>
              <a:avLst/>
              <a:gdLst>
                <a:gd name="T0" fmla="*/ 49 w 9"/>
                <a:gd name="T1" fmla="*/ 116 h 9"/>
                <a:gd name="T2" fmla="*/ 0 w 9"/>
                <a:gd name="T3" fmla="*/ 65 h 9"/>
                <a:gd name="T4" fmla="*/ 0 w 9"/>
                <a:gd name="T5" fmla="*/ 65 h 9"/>
                <a:gd name="T6" fmla="*/ 49 w 9"/>
                <a:gd name="T7" fmla="*/ 0 h 9"/>
                <a:gd name="T8" fmla="*/ 113 w 9"/>
                <a:gd name="T9" fmla="*/ 65 h 9"/>
                <a:gd name="T10" fmla="*/ 49 w 9"/>
                <a:gd name="T11" fmla="*/ 116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295" name="Oval 278"/>
            <p:cNvSpPr>
              <a:spLocks noChangeArrowheads="1"/>
            </p:cNvSpPr>
            <p:nvPr/>
          </p:nvSpPr>
          <p:spPr bwMode="auto">
            <a:xfrm>
              <a:off x="5455" y="248"/>
              <a:ext cx="13" cy="12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US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296" name="Oval 279"/>
            <p:cNvSpPr>
              <a:spLocks noChangeArrowheads="1"/>
            </p:cNvSpPr>
            <p:nvPr/>
          </p:nvSpPr>
          <p:spPr bwMode="auto">
            <a:xfrm>
              <a:off x="5744" y="248"/>
              <a:ext cx="13" cy="12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US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297" name="Freeform 280"/>
            <p:cNvSpPr>
              <a:spLocks noChangeArrowheads="1"/>
            </p:cNvSpPr>
            <p:nvPr/>
          </p:nvSpPr>
          <p:spPr bwMode="auto">
            <a:xfrm>
              <a:off x="5723" y="262"/>
              <a:ext cx="12" cy="12"/>
            </a:xfrm>
            <a:custGeom>
              <a:avLst/>
              <a:gdLst>
                <a:gd name="T0" fmla="*/ 64 w 9"/>
                <a:gd name="T1" fmla="*/ 113 h 9"/>
                <a:gd name="T2" fmla="*/ 0 w 9"/>
                <a:gd name="T3" fmla="*/ 64 h 9"/>
                <a:gd name="T4" fmla="*/ 0 w 9"/>
                <a:gd name="T5" fmla="*/ 64 h 9"/>
                <a:gd name="T6" fmla="*/ 64 w 9"/>
                <a:gd name="T7" fmla="*/ 0 h 9"/>
                <a:gd name="T8" fmla="*/ 64 w 9"/>
                <a:gd name="T9" fmla="*/ 0 h 9"/>
                <a:gd name="T10" fmla="*/ 113 w 9"/>
                <a:gd name="T11" fmla="*/ 64 h 9"/>
                <a:gd name="T12" fmla="*/ 64 w 9"/>
                <a:gd name="T13" fmla="*/ 113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298" name="Freeform 281"/>
            <p:cNvSpPr>
              <a:spLocks noChangeArrowheads="1"/>
            </p:cNvSpPr>
            <p:nvPr/>
          </p:nvSpPr>
          <p:spPr bwMode="auto">
            <a:xfrm>
              <a:off x="5703" y="248"/>
              <a:ext cx="11" cy="12"/>
            </a:xfrm>
            <a:custGeom>
              <a:avLst/>
              <a:gdLst>
                <a:gd name="T0" fmla="*/ 69 w 8"/>
                <a:gd name="T1" fmla="*/ 116 h 9"/>
                <a:gd name="T2" fmla="*/ 0 w 8"/>
                <a:gd name="T3" fmla="*/ 65 h 9"/>
                <a:gd name="T4" fmla="*/ 0 w 8"/>
                <a:gd name="T5" fmla="*/ 65 h 9"/>
                <a:gd name="T6" fmla="*/ 69 w 8"/>
                <a:gd name="T7" fmla="*/ 0 h 9"/>
                <a:gd name="T8" fmla="*/ 131 w 8"/>
                <a:gd name="T9" fmla="*/ 65 h 9"/>
                <a:gd name="T10" fmla="*/ 69 w 8"/>
                <a:gd name="T11" fmla="*/ 116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5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299" name="Freeform 282"/>
            <p:cNvSpPr>
              <a:spLocks noChangeArrowheads="1"/>
            </p:cNvSpPr>
            <p:nvPr/>
          </p:nvSpPr>
          <p:spPr bwMode="auto">
            <a:xfrm>
              <a:off x="5682" y="262"/>
              <a:ext cx="12" cy="12"/>
            </a:xfrm>
            <a:custGeom>
              <a:avLst/>
              <a:gdLst>
                <a:gd name="T0" fmla="*/ 49 w 9"/>
                <a:gd name="T1" fmla="*/ 113 h 9"/>
                <a:gd name="T2" fmla="*/ 0 w 9"/>
                <a:gd name="T3" fmla="*/ 64 h 9"/>
                <a:gd name="T4" fmla="*/ 49 w 9"/>
                <a:gd name="T5" fmla="*/ 0 h 9"/>
                <a:gd name="T6" fmla="*/ 49 w 9"/>
                <a:gd name="T7" fmla="*/ 0 h 9"/>
                <a:gd name="T8" fmla="*/ 113 w 9"/>
                <a:gd name="T9" fmla="*/ 64 h 9"/>
                <a:gd name="T10" fmla="*/ 49 w 9"/>
                <a:gd name="T11" fmla="*/ 113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300" name="Freeform 283"/>
            <p:cNvSpPr>
              <a:spLocks noChangeArrowheads="1"/>
            </p:cNvSpPr>
            <p:nvPr/>
          </p:nvSpPr>
          <p:spPr bwMode="auto">
            <a:xfrm>
              <a:off x="5661" y="248"/>
              <a:ext cx="12" cy="12"/>
            </a:xfrm>
            <a:custGeom>
              <a:avLst/>
              <a:gdLst>
                <a:gd name="T0" fmla="*/ 64 w 9"/>
                <a:gd name="T1" fmla="*/ 116 h 9"/>
                <a:gd name="T2" fmla="*/ 0 w 9"/>
                <a:gd name="T3" fmla="*/ 65 h 9"/>
                <a:gd name="T4" fmla="*/ 0 w 9"/>
                <a:gd name="T5" fmla="*/ 65 h 9"/>
                <a:gd name="T6" fmla="*/ 64 w 9"/>
                <a:gd name="T7" fmla="*/ 0 h 9"/>
                <a:gd name="T8" fmla="*/ 113 w 9"/>
                <a:gd name="T9" fmla="*/ 65 h 9"/>
                <a:gd name="T10" fmla="*/ 64 w 9"/>
                <a:gd name="T11" fmla="*/ 116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301" name="Freeform 284"/>
            <p:cNvSpPr>
              <a:spLocks noChangeArrowheads="1"/>
            </p:cNvSpPr>
            <p:nvPr/>
          </p:nvSpPr>
          <p:spPr bwMode="auto">
            <a:xfrm>
              <a:off x="5640" y="262"/>
              <a:ext cx="12" cy="12"/>
            </a:xfrm>
            <a:custGeom>
              <a:avLst/>
              <a:gdLst>
                <a:gd name="T0" fmla="*/ 120 w 8"/>
                <a:gd name="T1" fmla="*/ 113 h 9"/>
                <a:gd name="T2" fmla="*/ 0 w 8"/>
                <a:gd name="T3" fmla="*/ 64 h 9"/>
                <a:gd name="T4" fmla="*/ 0 w 8"/>
                <a:gd name="T5" fmla="*/ 49 h 9"/>
                <a:gd name="T6" fmla="*/ 120 w 8"/>
                <a:gd name="T7" fmla="*/ 0 h 9"/>
                <a:gd name="T8" fmla="*/ 120 w 8"/>
                <a:gd name="T9" fmla="*/ 0 h 9"/>
                <a:gd name="T10" fmla="*/ 230 w 8"/>
                <a:gd name="T11" fmla="*/ 64 h 9"/>
                <a:gd name="T12" fmla="*/ 230 w 8"/>
                <a:gd name="T13" fmla="*/ 64 h 9"/>
                <a:gd name="T14" fmla="*/ 120 w 8"/>
                <a:gd name="T15" fmla="*/ 113 h 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6" y="0"/>
                    <a:pt x="8" y="2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302" name="Oval 285"/>
            <p:cNvSpPr>
              <a:spLocks noChangeArrowheads="1"/>
            </p:cNvSpPr>
            <p:nvPr/>
          </p:nvSpPr>
          <p:spPr bwMode="auto">
            <a:xfrm>
              <a:off x="5621" y="248"/>
              <a:ext cx="12" cy="12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US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303" name="Freeform 286"/>
            <p:cNvSpPr>
              <a:spLocks noChangeArrowheads="1"/>
            </p:cNvSpPr>
            <p:nvPr/>
          </p:nvSpPr>
          <p:spPr bwMode="auto">
            <a:xfrm>
              <a:off x="5393" y="262"/>
              <a:ext cx="13" cy="12"/>
            </a:xfrm>
            <a:custGeom>
              <a:avLst/>
              <a:gdLst>
                <a:gd name="T0" fmla="*/ 108 w 9"/>
                <a:gd name="T1" fmla="*/ 113 h 9"/>
                <a:gd name="T2" fmla="*/ 0 w 9"/>
                <a:gd name="T3" fmla="*/ 64 h 9"/>
                <a:gd name="T4" fmla="*/ 0 w 9"/>
                <a:gd name="T5" fmla="*/ 64 h 9"/>
                <a:gd name="T6" fmla="*/ 108 w 9"/>
                <a:gd name="T7" fmla="*/ 0 h 9"/>
                <a:gd name="T8" fmla="*/ 108 w 9"/>
                <a:gd name="T9" fmla="*/ 0 h 9"/>
                <a:gd name="T10" fmla="*/ 188 w 9"/>
                <a:gd name="T11" fmla="*/ 64 h 9"/>
                <a:gd name="T12" fmla="*/ 108 w 9"/>
                <a:gd name="T13" fmla="*/ 113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304" name="Freeform 287"/>
            <p:cNvSpPr>
              <a:spLocks noChangeArrowheads="1"/>
            </p:cNvSpPr>
            <p:nvPr/>
          </p:nvSpPr>
          <p:spPr bwMode="auto">
            <a:xfrm>
              <a:off x="5312" y="262"/>
              <a:ext cx="11" cy="12"/>
            </a:xfrm>
            <a:custGeom>
              <a:avLst/>
              <a:gdLst>
                <a:gd name="T0" fmla="*/ 69 w 8"/>
                <a:gd name="T1" fmla="*/ 113 h 9"/>
                <a:gd name="T2" fmla="*/ 0 w 8"/>
                <a:gd name="T3" fmla="*/ 64 h 9"/>
                <a:gd name="T4" fmla="*/ 0 w 8"/>
                <a:gd name="T5" fmla="*/ 64 h 9"/>
                <a:gd name="T6" fmla="*/ 69 w 8"/>
                <a:gd name="T7" fmla="*/ 0 h 9"/>
                <a:gd name="T8" fmla="*/ 69 w 8"/>
                <a:gd name="T9" fmla="*/ 0 h 9"/>
                <a:gd name="T10" fmla="*/ 131 w 8"/>
                <a:gd name="T11" fmla="*/ 64 h 9"/>
                <a:gd name="T12" fmla="*/ 69 w 8"/>
                <a:gd name="T13" fmla="*/ 113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6" y="0"/>
                    <a:pt x="8" y="2"/>
                    <a:pt x="8" y="5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305" name="Freeform 288"/>
            <p:cNvSpPr>
              <a:spLocks noChangeArrowheads="1"/>
            </p:cNvSpPr>
            <p:nvPr/>
          </p:nvSpPr>
          <p:spPr bwMode="auto">
            <a:xfrm>
              <a:off x="5291" y="248"/>
              <a:ext cx="13" cy="12"/>
            </a:xfrm>
            <a:custGeom>
              <a:avLst/>
              <a:gdLst>
                <a:gd name="T0" fmla="*/ 81 w 9"/>
                <a:gd name="T1" fmla="*/ 116 h 9"/>
                <a:gd name="T2" fmla="*/ 0 w 9"/>
                <a:gd name="T3" fmla="*/ 65 h 9"/>
                <a:gd name="T4" fmla="*/ 0 w 9"/>
                <a:gd name="T5" fmla="*/ 65 h 9"/>
                <a:gd name="T6" fmla="*/ 81 w 9"/>
                <a:gd name="T7" fmla="*/ 0 h 9"/>
                <a:gd name="T8" fmla="*/ 188 w 9"/>
                <a:gd name="T9" fmla="*/ 65 h 9"/>
                <a:gd name="T10" fmla="*/ 81 w 9"/>
                <a:gd name="T11" fmla="*/ 116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306" name="Freeform 289"/>
            <p:cNvSpPr>
              <a:spLocks noChangeArrowheads="1"/>
            </p:cNvSpPr>
            <p:nvPr/>
          </p:nvSpPr>
          <p:spPr bwMode="auto">
            <a:xfrm>
              <a:off x="5085" y="248"/>
              <a:ext cx="13" cy="12"/>
            </a:xfrm>
            <a:custGeom>
              <a:avLst/>
              <a:gdLst>
                <a:gd name="T0" fmla="*/ 81 w 9"/>
                <a:gd name="T1" fmla="*/ 116 h 9"/>
                <a:gd name="T2" fmla="*/ 0 w 9"/>
                <a:gd name="T3" fmla="*/ 65 h 9"/>
                <a:gd name="T4" fmla="*/ 0 w 9"/>
                <a:gd name="T5" fmla="*/ 65 h 9"/>
                <a:gd name="T6" fmla="*/ 81 w 9"/>
                <a:gd name="T7" fmla="*/ 0 h 9"/>
                <a:gd name="T8" fmla="*/ 188 w 9"/>
                <a:gd name="T9" fmla="*/ 65 h 9"/>
                <a:gd name="T10" fmla="*/ 81 w 9"/>
                <a:gd name="T11" fmla="*/ 116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307" name="Freeform 290"/>
            <p:cNvSpPr>
              <a:spLocks noChangeArrowheads="1"/>
            </p:cNvSpPr>
            <p:nvPr/>
          </p:nvSpPr>
          <p:spPr bwMode="auto">
            <a:xfrm>
              <a:off x="5270" y="262"/>
              <a:ext cx="12" cy="12"/>
            </a:xfrm>
            <a:custGeom>
              <a:avLst/>
              <a:gdLst>
                <a:gd name="T0" fmla="*/ 65 w 9"/>
                <a:gd name="T1" fmla="*/ 113 h 9"/>
                <a:gd name="T2" fmla="*/ 0 w 9"/>
                <a:gd name="T3" fmla="*/ 64 h 9"/>
                <a:gd name="T4" fmla="*/ 0 w 9"/>
                <a:gd name="T5" fmla="*/ 64 h 9"/>
                <a:gd name="T6" fmla="*/ 49 w 9"/>
                <a:gd name="T7" fmla="*/ 0 h 9"/>
                <a:gd name="T8" fmla="*/ 65 w 9"/>
                <a:gd name="T9" fmla="*/ 0 h 9"/>
                <a:gd name="T10" fmla="*/ 116 w 9"/>
                <a:gd name="T11" fmla="*/ 64 h 9"/>
                <a:gd name="T12" fmla="*/ 65 w 9"/>
                <a:gd name="T13" fmla="*/ 113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308" name="Freeform 291"/>
            <p:cNvSpPr>
              <a:spLocks noChangeArrowheads="1"/>
            </p:cNvSpPr>
            <p:nvPr/>
          </p:nvSpPr>
          <p:spPr bwMode="auto">
            <a:xfrm>
              <a:off x="5208" y="248"/>
              <a:ext cx="12" cy="12"/>
            </a:xfrm>
            <a:custGeom>
              <a:avLst/>
              <a:gdLst>
                <a:gd name="T0" fmla="*/ 65 w 9"/>
                <a:gd name="T1" fmla="*/ 116 h 9"/>
                <a:gd name="T2" fmla="*/ 0 w 9"/>
                <a:gd name="T3" fmla="*/ 65 h 9"/>
                <a:gd name="T4" fmla="*/ 0 w 9"/>
                <a:gd name="T5" fmla="*/ 65 h 9"/>
                <a:gd name="T6" fmla="*/ 65 w 9"/>
                <a:gd name="T7" fmla="*/ 0 h 9"/>
                <a:gd name="T8" fmla="*/ 116 w 9"/>
                <a:gd name="T9" fmla="*/ 65 h 9"/>
                <a:gd name="T10" fmla="*/ 65 w 9"/>
                <a:gd name="T11" fmla="*/ 116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309" name="Freeform 292"/>
            <p:cNvSpPr>
              <a:spLocks noChangeArrowheads="1"/>
            </p:cNvSpPr>
            <p:nvPr/>
          </p:nvSpPr>
          <p:spPr bwMode="auto">
            <a:xfrm>
              <a:off x="5063" y="262"/>
              <a:ext cx="14" cy="12"/>
            </a:xfrm>
            <a:custGeom>
              <a:avLst/>
              <a:gdLst>
                <a:gd name="T0" fmla="*/ 182 w 9"/>
                <a:gd name="T1" fmla="*/ 113 h 9"/>
                <a:gd name="T2" fmla="*/ 0 w 9"/>
                <a:gd name="T3" fmla="*/ 64 h 9"/>
                <a:gd name="T4" fmla="*/ 0 w 9"/>
                <a:gd name="T5" fmla="*/ 64 h 9"/>
                <a:gd name="T6" fmla="*/ 182 w 9"/>
                <a:gd name="T7" fmla="*/ 0 h 9"/>
                <a:gd name="T8" fmla="*/ 182 w 9"/>
                <a:gd name="T9" fmla="*/ 0 h 9"/>
                <a:gd name="T10" fmla="*/ 327 w 9"/>
                <a:gd name="T11" fmla="*/ 64 h 9"/>
                <a:gd name="T12" fmla="*/ 182 w 9"/>
                <a:gd name="T13" fmla="*/ 113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310" name="Freeform 293"/>
            <p:cNvSpPr>
              <a:spLocks noChangeArrowheads="1"/>
            </p:cNvSpPr>
            <p:nvPr/>
          </p:nvSpPr>
          <p:spPr bwMode="auto">
            <a:xfrm>
              <a:off x="5476" y="283"/>
              <a:ext cx="12" cy="13"/>
            </a:xfrm>
            <a:custGeom>
              <a:avLst/>
              <a:gdLst>
                <a:gd name="T0" fmla="*/ 49 w 9"/>
                <a:gd name="T1" fmla="*/ 188 h 9"/>
                <a:gd name="T2" fmla="*/ 0 w 9"/>
                <a:gd name="T3" fmla="*/ 108 h 9"/>
                <a:gd name="T4" fmla="*/ 0 w 9"/>
                <a:gd name="T5" fmla="*/ 81 h 9"/>
                <a:gd name="T6" fmla="*/ 49 w 9"/>
                <a:gd name="T7" fmla="*/ 0 h 9"/>
                <a:gd name="T8" fmla="*/ 116 w 9"/>
                <a:gd name="T9" fmla="*/ 81 h 9"/>
                <a:gd name="T10" fmla="*/ 49 w 9"/>
                <a:gd name="T11" fmla="*/ 188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311" name="Freeform 294"/>
            <p:cNvSpPr>
              <a:spLocks noChangeArrowheads="1"/>
            </p:cNvSpPr>
            <p:nvPr/>
          </p:nvSpPr>
          <p:spPr bwMode="auto">
            <a:xfrm>
              <a:off x="5436" y="283"/>
              <a:ext cx="12" cy="13"/>
            </a:xfrm>
            <a:custGeom>
              <a:avLst/>
              <a:gdLst>
                <a:gd name="T0" fmla="*/ 120 w 8"/>
                <a:gd name="T1" fmla="*/ 188 h 9"/>
                <a:gd name="T2" fmla="*/ 0 w 8"/>
                <a:gd name="T3" fmla="*/ 108 h 9"/>
                <a:gd name="T4" fmla="*/ 0 w 8"/>
                <a:gd name="T5" fmla="*/ 81 h 9"/>
                <a:gd name="T6" fmla="*/ 120 w 8"/>
                <a:gd name="T7" fmla="*/ 0 h 9"/>
                <a:gd name="T8" fmla="*/ 230 w 8"/>
                <a:gd name="T9" fmla="*/ 81 h 9"/>
                <a:gd name="T10" fmla="*/ 120 w 8"/>
                <a:gd name="T11" fmla="*/ 188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312" name="Freeform 295"/>
            <p:cNvSpPr>
              <a:spLocks noChangeArrowheads="1"/>
            </p:cNvSpPr>
            <p:nvPr/>
          </p:nvSpPr>
          <p:spPr bwMode="auto">
            <a:xfrm>
              <a:off x="5415" y="269"/>
              <a:ext cx="12" cy="13"/>
            </a:xfrm>
            <a:custGeom>
              <a:avLst/>
              <a:gdLst>
                <a:gd name="T0" fmla="*/ 64 w 9"/>
                <a:gd name="T1" fmla="*/ 188 h 9"/>
                <a:gd name="T2" fmla="*/ 49 w 9"/>
                <a:gd name="T3" fmla="*/ 188 h 9"/>
                <a:gd name="T4" fmla="*/ 0 w 9"/>
                <a:gd name="T5" fmla="*/ 108 h 9"/>
                <a:gd name="T6" fmla="*/ 0 w 9"/>
                <a:gd name="T7" fmla="*/ 81 h 9"/>
                <a:gd name="T8" fmla="*/ 49 w 9"/>
                <a:gd name="T9" fmla="*/ 0 h 9"/>
                <a:gd name="T10" fmla="*/ 113 w 9"/>
                <a:gd name="T11" fmla="*/ 108 h 9"/>
                <a:gd name="T12" fmla="*/ 64 w 9"/>
                <a:gd name="T13" fmla="*/ 188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313" name="Oval 296"/>
            <p:cNvSpPr>
              <a:spLocks noChangeArrowheads="1"/>
            </p:cNvSpPr>
            <p:nvPr/>
          </p:nvSpPr>
          <p:spPr bwMode="auto">
            <a:xfrm>
              <a:off x="5600" y="283"/>
              <a:ext cx="12" cy="1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US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314" name="Freeform 297"/>
            <p:cNvSpPr>
              <a:spLocks noChangeArrowheads="1"/>
            </p:cNvSpPr>
            <p:nvPr/>
          </p:nvSpPr>
          <p:spPr bwMode="auto">
            <a:xfrm>
              <a:off x="5580" y="269"/>
              <a:ext cx="11" cy="13"/>
            </a:xfrm>
            <a:custGeom>
              <a:avLst/>
              <a:gdLst>
                <a:gd name="T0" fmla="*/ 69 w 8"/>
                <a:gd name="T1" fmla="*/ 188 h 9"/>
                <a:gd name="T2" fmla="*/ 69 w 8"/>
                <a:gd name="T3" fmla="*/ 188 h 9"/>
                <a:gd name="T4" fmla="*/ 0 w 8"/>
                <a:gd name="T5" fmla="*/ 108 h 9"/>
                <a:gd name="T6" fmla="*/ 0 w 8"/>
                <a:gd name="T7" fmla="*/ 81 h 9"/>
                <a:gd name="T8" fmla="*/ 69 w 8"/>
                <a:gd name="T9" fmla="*/ 0 h 9"/>
                <a:gd name="T10" fmla="*/ 131 w 8"/>
                <a:gd name="T11" fmla="*/ 108 h 9"/>
                <a:gd name="T12" fmla="*/ 69 w 8"/>
                <a:gd name="T13" fmla="*/ 188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5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315" name="Freeform 298"/>
            <p:cNvSpPr>
              <a:spLocks noChangeArrowheads="1"/>
            </p:cNvSpPr>
            <p:nvPr/>
          </p:nvSpPr>
          <p:spPr bwMode="auto">
            <a:xfrm>
              <a:off x="5558" y="283"/>
              <a:ext cx="12" cy="13"/>
            </a:xfrm>
            <a:custGeom>
              <a:avLst/>
              <a:gdLst>
                <a:gd name="T0" fmla="*/ 49 w 9"/>
                <a:gd name="T1" fmla="*/ 188 h 9"/>
                <a:gd name="T2" fmla="*/ 0 w 9"/>
                <a:gd name="T3" fmla="*/ 108 h 9"/>
                <a:gd name="T4" fmla="*/ 0 w 9"/>
                <a:gd name="T5" fmla="*/ 81 h 9"/>
                <a:gd name="T6" fmla="*/ 49 w 9"/>
                <a:gd name="T7" fmla="*/ 0 h 9"/>
                <a:gd name="T8" fmla="*/ 113 w 9"/>
                <a:gd name="T9" fmla="*/ 81 h 9"/>
                <a:gd name="T10" fmla="*/ 49 w 9"/>
                <a:gd name="T11" fmla="*/ 188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316" name="Freeform 299"/>
            <p:cNvSpPr>
              <a:spLocks noChangeArrowheads="1"/>
            </p:cNvSpPr>
            <p:nvPr/>
          </p:nvSpPr>
          <p:spPr bwMode="auto">
            <a:xfrm>
              <a:off x="5538" y="269"/>
              <a:ext cx="12" cy="13"/>
            </a:xfrm>
            <a:custGeom>
              <a:avLst/>
              <a:gdLst>
                <a:gd name="T0" fmla="*/ 64 w 9"/>
                <a:gd name="T1" fmla="*/ 188 h 9"/>
                <a:gd name="T2" fmla="*/ 49 w 9"/>
                <a:gd name="T3" fmla="*/ 188 h 9"/>
                <a:gd name="T4" fmla="*/ 0 w 9"/>
                <a:gd name="T5" fmla="*/ 108 h 9"/>
                <a:gd name="T6" fmla="*/ 0 w 9"/>
                <a:gd name="T7" fmla="*/ 81 h 9"/>
                <a:gd name="T8" fmla="*/ 64 w 9"/>
                <a:gd name="T9" fmla="*/ 0 h 9"/>
                <a:gd name="T10" fmla="*/ 113 w 9"/>
                <a:gd name="T11" fmla="*/ 108 h 9"/>
                <a:gd name="T12" fmla="*/ 64 w 9"/>
                <a:gd name="T13" fmla="*/ 188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317" name="Freeform 300"/>
            <p:cNvSpPr>
              <a:spLocks noChangeArrowheads="1"/>
            </p:cNvSpPr>
            <p:nvPr/>
          </p:nvSpPr>
          <p:spPr bwMode="auto">
            <a:xfrm>
              <a:off x="5518" y="283"/>
              <a:ext cx="12" cy="13"/>
            </a:xfrm>
            <a:custGeom>
              <a:avLst/>
              <a:gdLst>
                <a:gd name="T0" fmla="*/ 120 w 8"/>
                <a:gd name="T1" fmla="*/ 188 h 9"/>
                <a:gd name="T2" fmla="*/ 0 w 8"/>
                <a:gd name="T3" fmla="*/ 108 h 9"/>
                <a:gd name="T4" fmla="*/ 0 w 8"/>
                <a:gd name="T5" fmla="*/ 81 h 9"/>
                <a:gd name="T6" fmla="*/ 120 w 8"/>
                <a:gd name="T7" fmla="*/ 0 h 9"/>
                <a:gd name="T8" fmla="*/ 230 w 8"/>
                <a:gd name="T9" fmla="*/ 81 h 9"/>
                <a:gd name="T10" fmla="*/ 120 w 8"/>
                <a:gd name="T11" fmla="*/ 188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318" name="Freeform 301"/>
            <p:cNvSpPr>
              <a:spLocks noChangeArrowheads="1"/>
            </p:cNvSpPr>
            <p:nvPr/>
          </p:nvSpPr>
          <p:spPr bwMode="auto">
            <a:xfrm>
              <a:off x="5496" y="269"/>
              <a:ext cx="12" cy="13"/>
            </a:xfrm>
            <a:custGeom>
              <a:avLst/>
              <a:gdLst>
                <a:gd name="T0" fmla="*/ 49 w 9"/>
                <a:gd name="T1" fmla="*/ 188 h 9"/>
                <a:gd name="T2" fmla="*/ 49 w 9"/>
                <a:gd name="T3" fmla="*/ 188 h 9"/>
                <a:gd name="T4" fmla="*/ 0 w 9"/>
                <a:gd name="T5" fmla="*/ 108 h 9"/>
                <a:gd name="T6" fmla="*/ 0 w 9"/>
                <a:gd name="T7" fmla="*/ 81 h 9"/>
                <a:gd name="T8" fmla="*/ 49 w 9"/>
                <a:gd name="T9" fmla="*/ 0 h 9"/>
                <a:gd name="T10" fmla="*/ 113 w 9"/>
                <a:gd name="T11" fmla="*/ 108 h 9"/>
                <a:gd name="T12" fmla="*/ 49 w 9"/>
                <a:gd name="T13" fmla="*/ 188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319" name="Freeform 302"/>
            <p:cNvSpPr>
              <a:spLocks noChangeArrowheads="1"/>
            </p:cNvSpPr>
            <p:nvPr/>
          </p:nvSpPr>
          <p:spPr bwMode="auto">
            <a:xfrm>
              <a:off x="5455" y="269"/>
              <a:ext cx="13" cy="13"/>
            </a:xfrm>
            <a:custGeom>
              <a:avLst/>
              <a:gdLst>
                <a:gd name="T0" fmla="*/ 108 w 9"/>
                <a:gd name="T1" fmla="*/ 188 h 9"/>
                <a:gd name="T2" fmla="*/ 108 w 9"/>
                <a:gd name="T3" fmla="*/ 188 h 9"/>
                <a:gd name="T4" fmla="*/ 0 w 9"/>
                <a:gd name="T5" fmla="*/ 108 h 9"/>
                <a:gd name="T6" fmla="*/ 108 w 9"/>
                <a:gd name="T7" fmla="*/ 0 h 9"/>
                <a:gd name="T8" fmla="*/ 188 w 9"/>
                <a:gd name="T9" fmla="*/ 108 h 9"/>
                <a:gd name="T10" fmla="*/ 108 w 9"/>
                <a:gd name="T11" fmla="*/ 188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5" y="9"/>
                    <a:pt x="5" y="9"/>
                    <a:pt x="5" y="9"/>
                  </a:cubicBezTo>
                  <a:cubicBezTo>
                    <a:pt x="2" y="9"/>
                    <a:pt x="0" y="7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320" name="Freeform 303"/>
            <p:cNvSpPr>
              <a:spLocks noChangeArrowheads="1"/>
            </p:cNvSpPr>
            <p:nvPr/>
          </p:nvSpPr>
          <p:spPr bwMode="auto">
            <a:xfrm>
              <a:off x="5744" y="269"/>
              <a:ext cx="13" cy="13"/>
            </a:xfrm>
            <a:custGeom>
              <a:avLst/>
              <a:gdLst>
                <a:gd name="T0" fmla="*/ 108 w 9"/>
                <a:gd name="T1" fmla="*/ 188 h 9"/>
                <a:gd name="T2" fmla="*/ 81 w 9"/>
                <a:gd name="T3" fmla="*/ 188 h 9"/>
                <a:gd name="T4" fmla="*/ 0 w 9"/>
                <a:gd name="T5" fmla="*/ 108 h 9"/>
                <a:gd name="T6" fmla="*/ 81 w 9"/>
                <a:gd name="T7" fmla="*/ 0 h 9"/>
                <a:gd name="T8" fmla="*/ 188 w 9"/>
                <a:gd name="T9" fmla="*/ 108 h 9"/>
                <a:gd name="T10" fmla="*/ 108 w 9"/>
                <a:gd name="T11" fmla="*/ 188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321" name="Freeform 304"/>
            <p:cNvSpPr>
              <a:spLocks noChangeArrowheads="1"/>
            </p:cNvSpPr>
            <p:nvPr/>
          </p:nvSpPr>
          <p:spPr bwMode="auto">
            <a:xfrm>
              <a:off x="5723" y="283"/>
              <a:ext cx="12" cy="13"/>
            </a:xfrm>
            <a:custGeom>
              <a:avLst/>
              <a:gdLst>
                <a:gd name="T0" fmla="*/ 64 w 9"/>
                <a:gd name="T1" fmla="*/ 188 h 9"/>
                <a:gd name="T2" fmla="*/ 0 w 9"/>
                <a:gd name="T3" fmla="*/ 108 h 9"/>
                <a:gd name="T4" fmla="*/ 0 w 9"/>
                <a:gd name="T5" fmla="*/ 81 h 9"/>
                <a:gd name="T6" fmla="*/ 64 w 9"/>
                <a:gd name="T7" fmla="*/ 0 h 9"/>
                <a:gd name="T8" fmla="*/ 113 w 9"/>
                <a:gd name="T9" fmla="*/ 81 h 9"/>
                <a:gd name="T10" fmla="*/ 64 w 9"/>
                <a:gd name="T11" fmla="*/ 188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322" name="Freeform 305"/>
            <p:cNvSpPr>
              <a:spLocks noChangeArrowheads="1"/>
            </p:cNvSpPr>
            <p:nvPr/>
          </p:nvSpPr>
          <p:spPr bwMode="auto">
            <a:xfrm>
              <a:off x="5703" y="269"/>
              <a:ext cx="11" cy="13"/>
            </a:xfrm>
            <a:custGeom>
              <a:avLst/>
              <a:gdLst>
                <a:gd name="T0" fmla="*/ 69 w 8"/>
                <a:gd name="T1" fmla="*/ 188 h 9"/>
                <a:gd name="T2" fmla="*/ 69 w 8"/>
                <a:gd name="T3" fmla="*/ 188 h 9"/>
                <a:gd name="T4" fmla="*/ 0 w 8"/>
                <a:gd name="T5" fmla="*/ 108 h 9"/>
                <a:gd name="T6" fmla="*/ 0 w 8"/>
                <a:gd name="T7" fmla="*/ 81 h 9"/>
                <a:gd name="T8" fmla="*/ 69 w 8"/>
                <a:gd name="T9" fmla="*/ 0 h 9"/>
                <a:gd name="T10" fmla="*/ 131 w 8"/>
                <a:gd name="T11" fmla="*/ 108 h 9"/>
                <a:gd name="T12" fmla="*/ 69 w 8"/>
                <a:gd name="T13" fmla="*/ 188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5"/>
                  </a:cubicBezTo>
                  <a:cubicBezTo>
                    <a:pt x="8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323" name="Oval 306"/>
            <p:cNvSpPr>
              <a:spLocks noChangeArrowheads="1"/>
            </p:cNvSpPr>
            <p:nvPr/>
          </p:nvSpPr>
          <p:spPr bwMode="auto">
            <a:xfrm>
              <a:off x="5682" y="283"/>
              <a:ext cx="12" cy="1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US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324" name="Freeform 307"/>
            <p:cNvSpPr>
              <a:spLocks noChangeArrowheads="1"/>
            </p:cNvSpPr>
            <p:nvPr/>
          </p:nvSpPr>
          <p:spPr bwMode="auto">
            <a:xfrm>
              <a:off x="5661" y="269"/>
              <a:ext cx="12" cy="13"/>
            </a:xfrm>
            <a:custGeom>
              <a:avLst/>
              <a:gdLst>
                <a:gd name="T0" fmla="*/ 64 w 9"/>
                <a:gd name="T1" fmla="*/ 188 h 9"/>
                <a:gd name="T2" fmla="*/ 64 w 9"/>
                <a:gd name="T3" fmla="*/ 188 h 9"/>
                <a:gd name="T4" fmla="*/ 0 w 9"/>
                <a:gd name="T5" fmla="*/ 108 h 9"/>
                <a:gd name="T6" fmla="*/ 0 w 9"/>
                <a:gd name="T7" fmla="*/ 81 h 9"/>
                <a:gd name="T8" fmla="*/ 64 w 9"/>
                <a:gd name="T9" fmla="*/ 0 h 9"/>
                <a:gd name="T10" fmla="*/ 113 w 9"/>
                <a:gd name="T11" fmla="*/ 108 h 9"/>
                <a:gd name="T12" fmla="*/ 64 w 9"/>
                <a:gd name="T13" fmla="*/ 188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5" y="9"/>
                    <a:pt x="5" y="9"/>
                    <a:pt x="5" y="9"/>
                  </a:cubicBez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325" name="Freeform 308"/>
            <p:cNvSpPr>
              <a:spLocks noChangeArrowheads="1"/>
            </p:cNvSpPr>
            <p:nvPr/>
          </p:nvSpPr>
          <p:spPr bwMode="auto">
            <a:xfrm>
              <a:off x="5640" y="283"/>
              <a:ext cx="12" cy="13"/>
            </a:xfrm>
            <a:custGeom>
              <a:avLst/>
              <a:gdLst>
                <a:gd name="T0" fmla="*/ 120 w 8"/>
                <a:gd name="T1" fmla="*/ 188 h 9"/>
                <a:gd name="T2" fmla="*/ 0 w 8"/>
                <a:gd name="T3" fmla="*/ 108 h 9"/>
                <a:gd name="T4" fmla="*/ 0 w 8"/>
                <a:gd name="T5" fmla="*/ 81 h 9"/>
                <a:gd name="T6" fmla="*/ 120 w 8"/>
                <a:gd name="T7" fmla="*/ 0 h 9"/>
                <a:gd name="T8" fmla="*/ 230 w 8"/>
                <a:gd name="T9" fmla="*/ 81 h 9"/>
                <a:gd name="T10" fmla="*/ 230 w 8"/>
                <a:gd name="T11" fmla="*/ 108 h 9"/>
                <a:gd name="T12" fmla="*/ 120 w 8"/>
                <a:gd name="T13" fmla="*/ 188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326" name="Freeform 309"/>
            <p:cNvSpPr>
              <a:spLocks noChangeArrowheads="1"/>
            </p:cNvSpPr>
            <p:nvPr/>
          </p:nvSpPr>
          <p:spPr bwMode="auto">
            <a:xfrm>
              <a:off x="5621" y="269"/>
              <a:ext cx="12" cy="13"/>
            </a:xfrm>
            <a:custGeom>
              <a:avLst/>
              <a:gdLst>
                <a:gd name="T0" fmla="*/ 49 w 9"/>
                <a:gd name="T1" fmla="*/ 188 h 9"/>
                <a:gd name="T2" fmla="*/ 49 w 9"/>
                <a:gd name="T3" fmla="*/ 188 h 9"/>
                <a:gd name="T4" fmla="*/ 0 w 9"/>
                <a:gd name="T5" fmla="*/ 108 h 9"/>
                <a:gd name="T6" fmla="*/ 49 w 9"/>
                <a:gd name="T7" fmla="*/ 0 h 9"/>
                <a:gd name="T8" fmla="*/ 113 w 9"/>
                <a:gd name="T9" fmla="*/ 108 h 9"/>
                <a:gd name="T10" fmla="*/ 49 w 9"/>
                <a:gd name="T11" fmla="*/ 188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327" name="Freeform 310"/>
            <p:cNvSpPr>
              <a:spLocks noChangeArrowheads="1"/>
            </p:cNvSpPr>
            <p:nvPr/>
          </p:nvSpPr>
          <p:spPr bwMode="auto">
            <a:xfrm>
              <a:off x="5393" y="283"/>
              <a:ext cx="13" cy="13"/>
            </a:xfrm>
            <a:custGeom>
              <a:avLst/>
              <a:gdLst>
                <a:gd name="T0" fmla="*/ 108 w 9"/>
                <a:gd name="T1" fmla="*/ 188 h 9"/>
                <a:gd name="T2" fmla="*/ 0 w 9"/>
                <a:gd name="T3" fmla="*/ 108 h 9"/>
                <a:gd name="T4" fmla="*/ 0 w 9"/>
                <a:gd name="T5" fmla="*/ 81 h 9"/>
                <a:gd name="T6" fmla="*/ 108 w 9"/>
                <a:gd name="T7" fmla="*/ 0 h 9"/>
                <a:gd name="T8" fmla="*/ 188 w 9"/>
                <a:gd name="T9" fmla="*/ 81 h 9"/>
                <a:gd name="T10" fmla="*/ 108 w 9"/>
                <a:gd name="T11" fmla="*/ 188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328" name="Freeform 311"/>
            <p:cNvSpPr>
              <a:spLocks noChangeArrowheads="1"/>
            </p:cNvSpPr>
            <p:nvPr/>
          </p:nvSpPr>
          <p:spPr bwMode="auto">
            <a:xfrm>
              <a:off x="5312" y="283"/>
              <a:ext cx="11" cy="13"/>
            </a:xfrm>
            <a:custGeom>
              <a:avLst/>
              <a:gdLst>
                <a:gd name="T0" fmla="*/ 69 w 8"/>
                <a:gd name="T1" fmla="*/ 188 h 9"/>
                <a:gd name="T2" fmla="*/ 0 w 8"/>
                <a:gd name="T3" fmla="*/ 108 h 9"/>
                <a:gd name="T4" fmla="*/ 0 w 8"/>
                <a:gd name="T5" fmla="*/ 81 h 9"/>
                <a:gd name="T6" fmla="*/ 69 w 8"/>
                <a:gd name="T7" fmla="*/ 0 h 9"/>
                <a:gd name="T8" fmla="*/ 131 w 8"/>
                <a:gd name="T9" fmla="*/ 81 h 9"/>
                <a:gd name="T10" fmla="*/ 69 w 8"/>
                <a:gd name="T11" fmla="*/ 188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329" name="Freeform 312"/>
            <p:cNvSpPr>
              <a:spLocks noChangeArrowheads="1"/>
            </p:cNvSpPr>
            <p:nvPr/>
          </p:nvSpPr>
          <p:spPr bwMode="auto">
            <a:xfrm>
              <a:off x="5374" y="269"/>
              <a:ext cx="11" cy="13"/>
            </a:xfrm>
            <a:custGeom>
              <a:avLst/>
              <a:gdLst>
                <a:gd name="T0" fmla="*/ 69 w 8"/>
                <a:gd name="T1" fmla="*/ 188 h 9"/>
                <a:gd name="T2" fmla="*/ 69 w 8"/>
                <a:gd name="T3" fmla="*/ 188 h 9"/>
                <a:gd name="T4" fmla="*/ 0 w 8"/>
                <a:gd name="T5" fmla="*/ 108 h 9"/>
                <a:gd name="T6" fmla="*/ 0 w 8"/>
                <a:gd name="T7" fmla="*/ 81 h 9"/>
                <a:gd name="T8" fmla="*/ 69 w 8"/>
                <a:gd name="T9" fmla="*/ 0 h 9"/>
                <a:gd name="T10" fmla="*/ 131 w 8"/>
                <a:gd name="T11" fmla="*/ 108 h 9"/>
                <a:gd name="T12" fmla="*/ 69 w 8"/>
                <a:gd name="T13" fmla="*/ 188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5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330" name="Freeform 313"/>
            <p:cNvSpPr>
              <a:spLocks noChangeArrowheads="1"/>
            </p:cNvSpPr>
            <p:nvPr/>
          </p:nvSpPr>
          <p:spPr bwMode="auto">
            <a:xfrm>
              <a:off x="5291" y="269"/>
              <a:ext cx="13" cy="13"/>
            </a:xfrm>
            <a:custGeom>
              <a:avLst/>
              <a:gdLst>
                <a:gd name="T0" fmla="*/ 81 w 9"/>
                <a:gd name="T1" fmla="*/ 188 h 9"/>
                <a:gd name="T2" fmla="*/ 81 w 9"/>
                <a:gd name="T3" fmla="*/ 188 h 9"/>
                <a:gd name="T4" fmla="*/ 0 w 9"/>
                <a:gd name="T5" fmla="*/ 108 h 9"/>
                <a:gd name="T6" fmla="*/ 0 w 9"/>
                <a:gd name="T7" fmla="*/ 81 h 9"/>
                <a:gd name="T8" fmla="*/ 81 w 9"/>
                <a:gd name="T9" fmla="*/ 0 h 9"/>
                <a:gd name="T10" fmla="*/ 188 w 9"/>
                <a:gd name="T11" fmla="*/ 108 h 9"/>
                <a:gd name="T12" fmla="*/ 81 w 9"/>
                <a:gd name="T13" fmla="*/ 188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331" name="Freeform 314"/>
            <p:cNvSpPr>
              <a:spLocks noChangeArrowheads="1"/>
            </p:cNvSpPr>
            <p:nvPr/>
          </p:nvSpPr>
          <p:spPr bwMode="auto">
            <a:xfrm>
              <a:off x="5085" y="269"/>
              <a:ext cx="13" cy="13"/>
            </a:xfrm>
            <a:custGeom>
              <a:avLst/>
              <a:gdLst>
                <a:gd name="T0" fmla="*/ 108 w 9"/>
                <a:gd name="T1" fmla="*/ 188 h 9"/>
                <a:gd name="T2" fmla="*/ 81 w 9"/>
                <a:gd name="T3" fmla="*/ 188 h 9"/>
                <a:gd name="T4" fmla="*/ 0 w 9"/>
                <a:gd name="T5" fmla="*/ 108 h 9"/>
                <a:gd name="T6" fmla="*/ 0 w 9"/>
                <a:gd name="T7" fmla="*/ 81 h 9"/>
                <a:gd name="T8" fmla="*/ 81 w 9"/>
                <a:gd name="T9" fmla="*/ 0 h 9"/>
                <a:gd name="T10" fmla="*/ 188 w 9"/>
                <a:gd name="T11" fmla="*/ 108 h 9"/>
                <a:gd name="T12" fmla="*/ 108 w 9"/>
                <a:gd name="T13" fmla="*/ 188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332" name="Freeform 315"/>
            <p:cNvSpPr>
              <a:spLocks noChangeArrowheads="1"/>
            </p:cNvSpPr>
            <p:nvPr/>
          </p:nvSpPr>
          <p:spPr bwMode="auto">
            <a:xfrm>
              <a:off x="5476" y="304"/>
              <a:ext cx="12" cy="13"/>
            </a:xfrm>
            <a:custGeom>
              <a:avLst/>
              <a:gdLst>
                <a:gd name="T0" fmla="*/ 49 w 9"/>
                <a:gd name="T1" fmla="*/ 188 h 9"/>
                <a:gd name="T2" fmla="*/ 0 w 9"/>
                <a:gd name="T3" fmla="*/ 81 h 9"/>
                <a:gd name="T4" fmla="*/ 0 w 9"/>
                <a:gd name="T5" fmla="*/ 81 h 9"/>
                <a:gd name="T6" fmla="*/ 49 w 9"/>
                <a:gd name="T7" fmla="*/ 0 h 9"/>
                <a:gd name="T8" fmla="*/ 116 w 9"/>
                <a:gd name="T9" fmla="*/ 81 h 9"/>
                <a:gd name="T10" fmla="*/ 49 w 9"/>
                <a:gd name="T11" fmla="*/ 188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2" y="9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333" name="Freeform 316"/>
            <p:cNvSpPr>
              <a:spLocks noChangeArrowheads="1"/>
            </p:cNvSpPr>
            <p:nvPr/>
          </p:nvSpPr>
          <p:spPr bwMode="auto">
            <a:xfrm>
              <a:off x="5436" y="304"/>
              <a:ext cx="12" cy="13"/>
            </a:xfrm>
            <a:custGeom>
              <a:avLst/>
              <a:gdLst>
                <a:gd name="T0" fmla="*/ 120 w 8"/>
                <a:gd name="T1" fmla="*/ 188 h 9"/>
                <a:gd name="T2" fmla="*/ 0 w 8"/>
                <a:gd name="T3" fmla="*/ 81 h 9"/>
                <a:gd name="T4" fmla="*/ 0 w 8"/>
                <a:gd name="T5" fmla="*/ 81 h 9"/>
                <a:gd name="T6" fmla="*/ 120 w 8"/>
                <a:gd name="T7" fmla="*/ 0 h 9"/>
                <a:gd name="T8" fmla="*/ 230 w 8"/>
                <a:gd name="T9" fmla="*/ 81 h 9"/>
                <a:gd name="T10" fmla="*/ 120 w 8"/>
                <a:gd name="T11" fmla="*/ 188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2" y="9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334" name="Freeform 317"/>
            <p:cNvSpPr>
              <a:spLocks noChangeArrowheads="1"/>
            </p:cNvSpPr>
            <p:nvPr/>
          </p:nvSpPr>
          <p:spPr bwMode="auto">
            <a:xfrm>
              <a:off x="5415" y="290"/>
              <a:ext cx="12" cy="12"/>
            </a:xfrm>
            <a:custGeom>
              <a:avLst/>
              <a:gdLst>
                <a:gd name="T0" fmla="*/ 49 w 9"/>
                <a:gd name="T1" fmla="*/ 116 h 9"/>
                <a:gd name="T2" fmla="*/ 0 w 9"/>
                <a:gd name="T3" fmla="*/ 65 h 9"/>
                <a:gd name="T4" fmla="*/ 0 w 9"/>
                <a:gd name="T5" fmla="*/ 49 h 9"/>
                <a:gd name="T6" fmla="*/ 49 w 9"/>
                <a:gd name="T7" fmla="*/ 0 h 9"/>
                <a:gd name="T8" fmla="*/ 113 w 9"/>
                <a:gd name="T9" fmla="*/ 49 h 9"/>
                <a:gd name="T10" fmla="*/ 49 w 9"/>
                <a:gd name="T11" fmla="*/ 116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335" name="Freeform 318"/>
            <p:cNvSpPr>
              <a:spLocks noChangeArrowheads="1"/>
            </p:cNvSpPr>
            <p:nvPr/>
          </p:nvSpPr>
          <p:spPr bwMode="auto">
            <a:xfrm>
              <a:off x="5044" y="290"/>
              <a:ext cx="11" cy="12"/>
            </a:xfrm>
            <a:custGeom>
              <a:avLst/>
              <a:gdLst>
                <a:gd name="T0" fmla="*/ 69 w 8"/>
                <a:gd name="T1" fmla="*/ 116 h 9"/>
                <a:gd name="T2" fmla="*/ 0 w 8"/>
                <a:gd name="T3" fmla="*/ 65 h 9"/>
                <a:gd name="T4" fmla="*/ 0 w 8"/>
                <a:gd name="T5" fmla="*/ 49 h 9"/>
                <a:gd name="T6" fmla="*/ 69 w 8"/>
                <a:gd name="T7" fmla="*/ 0 h 9"/>
                <a:gd name="T8" fmla="*/ 131 w 8"/>
                <a:gd name="T9" fmla="*/ 49 h 9"/>
                <a:gd name="T10" fmla="*/ 69 w 8"/>
                <a:gd name="T11" fmla="*/ 116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336" name="Oval 319"/>
            <p:cNvSpPr>
              <a:spLocks noChangeArrowheads="1"/>
            </p:cNvSpPr>
            <p:nvPr/>
          </p:nvSpPr>
          <p:spPr bwMode="auto">
            <a:xfrm>
              <a:off x="5600" y="304"/>
              <a:ext cx="12" cy="1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US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337" name="Freeform 320"/>
            <p:cNvSpPr>
              <a:spLocks noChangeArrowheads="1"/>
            </p:cNvSpPr>
            <p:nvPr/>
          </p:nvSpPr>
          <p:spPr bwMode="auto">
            <a:xfrm>
              <a:off x="5580" y="290"/>
              <a:ext cx="11" cy="12"/>
            </a:xfrm>
            <a:custGeom>
              <a:avLst/>
              <a:gdLst>
                <a:gd name="T0" fmla="*/ 69 w 8"/>
                <a:gd name="T1" fmla="*/ 116 h 9"/>
                <a:gd name="T2" fmla="*/ 0 w 8"/>
                <a:gd name="T3" fmla="*/ 65 h 9"/>
                <a:gd name="T4" fmla="*/ 0 w 8"/>
                <a:gd name="T5" fmla="*/ 49 h 9"/>
                <a:gd name="T6" fmla="*/ 69 w 8"/>
                <a:gd name="T7" fmla="*/ 0 h 9"/>
                <a:gd name="T8" fmla="*/ 131 w 8"/>
                <a:gd name="T9" fmla="*/ 49 h 9"/>
                <a:gd name="T10" fmla="*/ 69 w 8"/>
                <a:gd name="T11" fmla="*/ 116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338" name="Freeform 321"/>
            <p:cNvSpPr>
              <a:spLocks noChangeArrowheads="1"/>
            </p:cNvSpPr>
            <p:nvPr/>
          </p:nvSpPr>
          <p:spPr bwMode="auto">
            <a:xfrm>
              <a:off x="5558" y="304"/>
              <a:ext cx="12" cy="13"/>
            </a:xfrm>
            <a:custGeom>
              <a:avLst/>
              <a:gdLst>
                <a:gd name="T0" fmla="*/ 49 w 9"/>
                <a:gd name="T1" fmla="*/ 188 h 9"/>
                <a:gd name="T2" fmla="*/ 0 w 9"/>
                <a:gd name="T3" fmla="*/ 81 h 9"/>
                <a:gd name="T4" fmla="*/ 0 w 9"/>
                <a:gd name="T5" fmla="*/ 81 h 9"/>
                <a:gd name="T6" fmla="*/ 49 w 9"/>
                <a:gd name="T7" fmla="*/ 0 h 9"/>
                <a:gd name="T8" fmla="*/ 113 w 9"/>
                <a:gd name="T9" fmla="*/ 81 h 9"/>
                <a:gd name="T10" fmla="*/ 49 w 9"/>
                <a:gd name="T11" fmla="*/ 188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2" y="9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339" name="Freeform 322"/>
            <p:cNvSpPr>
              <a:spLocks noChangeArrowheads="1"/>
            </p:cNvSpPr>
            <p:nvPr/>
          </p:nvSpPr>
          <p:spPr bwMode="auto">
            <a:xfrm>
              <a:off x="5538" y="290"/>
              <a:ext cx="12" cy="12"/>
            </a:xfrm>
            <a:custGeom>
              <a:avLst/>
              <a:gdLst>
                <a:gd name="T0" fmla="*/ 64 w 9"/>
                <a:gd name="T1" fmla="*/ 116 h 9"/>
                <a:gd name="T2" fmla="*/ 0 w 9"/>
                <a:gd name="T3" fmla="*/ 65 h 9"/>
                <a:gd name="T4" fmla="*/ 0 w 9"/>
                <a:gd name="T5" fmla="*/ 49 h 9"/>
                <a:gd name="T6" fmla="*/ 64 w 9"/>
                <a:gd name="T7" fmla="*/ 0 h 9"/>
                <a:gd name="T8" fmla="*/ 113 w 9"/>
                <a:gd name="T9" fmla="*/ 49 h 9"/>
                <a:gd name="T10" fmla="*/ 64 w 9"/>
                <a:gd name="T11" fmla="*/ 116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340" name="Freeform 323"/>
            <p:cNvSpPr>
              <a:spLocks noChangeArrowheads="1"/>
            </p:cNvSpPr>
            <p:nvPr/>
          </p:nvSpPr>
          <p:spPr bwMode="auto">
            <a:xfrm>
              <a:off x="5518" y="304"/>
              <a:ext cx="12" cy="13"/>
            </a:xfrm>
            <a:custGeom>
              <a:avLst/>
              <a:gdLst>
                <a:gd name="T0" fmla="*/ 120 w 8"/>
                <a:gd name="T1" fmla="*/ 188 h 9"/>
                <a:gd name="T2" fmla="*/ 0 w 8"/>
                <a:gd name="T3" fmla="*/ 81 h 9"/>
                <a:gd name="T4" fmla="*/ 0 w 8"/>
                <a:gd name="T5" fmla="*/ 81 h 9"/>
                <a:gd name="T6" fmla="*/ 120 w 8"/>
                <a:gd name="T7" fmla="*/ 0 h 9"/>
                <a:gd name="T8" fmla="*/ 230 w 8"/>
                <a:gd name="T9" fmla="*/ 81 h 9"/>
                <a:gd name="T10" fmla="*/ 120 w 8"/>
                <a:gd name="T11" fmla="*/ 188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2" y="9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341" name="Freeform 324"/>
            <p:cNvSpPr>
              <a:spLocks noChangeArrowheads="1"/>
            </p:cNvSpPr>
            <p:nvPr/>
          </p:nvSpPr>
          <p:spPr bwMode="auto">
            <a:xfrm>
              <a:off x="5496" y="290"/>
              <a:ext cx="12" cy="12"/>
            </a:xfrm>
            <a:custGeom>
              <a:avLst/>
              <a:gdLst>
                <a:gd name="T0" fmla="*/ 49 w 9"/>
                <a:gd name="T1" fmla="*/ 116 h 9"/>
                <a:gd name="T2" fmla="*/ 0 w 9"/>
                <a:gd name="T3" fmla="*/ 65 h 9"/>
                <a:gd name="T4" fmla="*/ 0 w 9"/>
                <a:gd name="T5" fmla="*/ 49 h 9"/>
                <a:gd name="T6" fmla="*/ 49 w 9"/>
                <a:gd name="T7" fmla="*/ 0 h 9"/>
                <a:gd name="T8" fmla="*/ 113 w 9"/>
                <a:gd name="T9" fmla="*/ 49 h 9"/>
                <a:gd name="T10" fmla="*/ 49 w 9"/>
                <a:gd name="T11" fmla="*/ 116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342" name="Oval 325"/>
            <p:cNvSpPr>
              <a:spLocks noChangeArrowheads="1"/>
            </p:cNvSpPr>
            <p:nvPr/>
          </p:nvSpPr>
          <p:spPr bwMode="auto">
            <a:xfrm>
              <a:off x="5455" y="290"/>
              <a:ext cx="13" cy="12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US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343" name="Oval 326"/>
            <p:cNvSpPr>
              <a:spLocks noChangeArrowheads="1"/>
            </p:cNvSpPr>
            <p:nvPr/>
          </p:nvSpPr>
          <p:spPr bwMode="auto">
            <a:xfrm>
              <a:off x="5744" y="290"/>
              <a:ext cx="13" cy="12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US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344" name="Freeform 327"/>
            <p:cNvSpPr>
              <a:spLocks noChangeArrowheads="1"/>
            </p:cNvSpPr>
            <p:nvPr/>
          </p:nvSpPr>
          <p:spPr bwMode="auto">
            <a:xfrm>
              <a:off x="5723" y="304"/>
              <a:ext cx="12" cy="13"/>
            </a:xfrm>
            <a:custGeom>
              <a:avLst/>
              <a:gdLst>
                <a:gd name="T0" fmla="*/ 64 w 9"/>
                <a:gd name="T1" fmla="*/ 188 h 9"/>
                <a:gd name="T2" fmla="*/ 0 w 9"/>
                <a:gd name="T3" fmla="*/ 81 h 9"/>
                <a:gd name="T4" fmla="*/ 0 w 9"/>
                <a:gd name="T5" fmla="*/ 81 h 9"/>
                <a:gd name="T6" fmla="*/ 64 w 9"/>
                <a:gd name="T7" fmla="*/ 0 h 9"/>
                <a:gd name="T8" fmla="*/ 113 w 9"/>
                <a:gd name="T9" fmla="*/ 81 h 9"/>
                <a:gd name="T10" fmla="*/ 64 w 9"/>
                <a:gd name="T11" fmla="*/ 188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2" y="9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345" name="Freeform 328"/>
            <p:cNvSpPr>
              <a:spLocks noChangeArrowheads="1"/>
            </p:cNvSpPr>
            <p:nvPr/>
          </p:nvSpPr>
          <p:spPr bwMode="auto">
            <a:xfrm>
              <a:off x="5703" y="290"/>
              <a:ext cx="11" cy="12"/>
            </a:xfrm>
            <a:custGeom>
              <a:avLst/>
              <a:gdLst>
                <a:gd name="T0" fmla="*/ 69 w 8"/>
                <a:gd name="T1" fmla="*/ 116 h 9"/>
                <a:gd name="T2" fmla="*/ 0 w 8"/>
                <a:gd name="T3" fmla="*/ 65 h 9"/>
                <a:gd name="T4" fmla="*/ 0 w 8"/>
                <a:gd name="T5" fmla="*/ 49 h 9"/>
                <a:gd name="T6" fmla="*/ 69 w 8"/>
                <a:gd name="T7" fmla="*/ 0 h 9"/>
                <a:gd name="T8" fmla="*/ 131 w 8"/>
                <a:gd name="T9" fmla="*/ 49 h 9"/>
                <a:gd name="T10" fmla="*/ 69 w 8"/>
                <a:gd name="T11" fmla="*/ 116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346" name="Oval 329"/>
            <p:cNvSpPr>
              <a:spLocks noChangeArrowheads="1"/>
            </p:cNvSpPr>
            <p:nvPr/>
          </p:nvSpPr>
          <p:spPr bwMode="auto">
            <a:xfrm>
              <a:off x="5682" y="304"/>
              <a:ext cx="12" cy="1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US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347" name="Freeform 330"/>
            <p:cNvSpPr>
              <a:spLocks noChangeArrowheads="1"/>
            </p:cNvSpPr>
            <p:nvPr/>
          </p:nvSpPr>
          <p:spPr bwMode="auto">
            <a:xfrm>
              <a:off x="5661" y="290"/>
              <a:ext cx="12" cy="12"/>
            </a:xfrm>
            <a:custGeom>
              <a:avLst/>
              <a:gdLst>
                <a:gd name="T0" fmla="*/ 64 w 9"/>
                <a:gd name="T1" fmla="*/ 116 h 9"/>
                <a:gd name="T2" fmla="*/ 0 w 9"/>
                <a:gd name="T3" fmla="*/ 65 h 9"/>
                <a:gd name="T4" fmla="*/ 0 w 9"/>
                <a:gd name="T5" fmla="*/ 49 h 9"/>
                <a:gd name="T6" fmla="*/ 64 w 9"/>
                <a:gd name="T7" fmla="*/ 0 h 9"/>
                <a:gd name="T8" fmla="*/ 113 w 9"/>
                <a:gd name="T9" fmla="*/ 49 h 9"/>
                <a:gd name="T10" fmla="*/ 64 w 9"/>
                <a:gd name="T11" fmla="*/ 116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348" name="Freeform 331"/>
            <p:cNvSpPr>
              <a:spLocks noChangeArrowheads="1"/>
            </p:cNvSpPr>
            <p:nvPr/>
          </p:nvSpPr>
          <p:spPr bwMode="auto">
            <a:xfrm>
              <a:off x="5640" y="304"/>
              <a:ext cx="12" cy="13"/>
            </a:xfrm>
            <a:custGeom>
              <a:avLst/>
              <a:gdLst>
                <a:gd name="T0" fmla="*/ 120 w 8"/>
                <a:gd name="T1" fmla="*/ 188 h 9"/>
                <a:gd name="T2" fmla="*/ 0 w 8"/>
                <a:gd name="T3" fmla="*/ 81 h 9"/>
                <a:gd name="T4" fmla="*/ 0 w 8"/>
                <a:gd name="T5" fmla="*/ 81 h 9"/>
                <a:gd name="T6" fmla="*/ 120 w 8"/>
                <a:gd name="T7" fmla="*/ 0 h 9"/>
                <a:gd name="T8" fmla="*/ 230 w 8"/>
                <a:gd name="T9" fmla="*/ 81 h 9"/>
                <a:gd name="T10" fmla="*/ 230 w 8"/>
                <a:gd name="T11" fmla="*/ 81 h 9"/>
                <a:gd name="T12" fmla="*/ 120 w 8"/>
                <a:gd name="T13" fmla="*/ 188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2" y="9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349" name="Oval 332"/>
            <p:cNvSpPr>
              <a:spLocks noChangeArrowheads="1"/>
            </p:cNvSpPr>
            <p:nvPr/>
          </p:nvSpPr>
          <p:spPr bwMode="auto">
            <a:xfrm>
              <a:off x="5621" y="290"/>
              <a:ext cx="12" cy="12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US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350" name="Freeform 333"/>
            <p:cNvSpPr>
              <a:spLocks noChangeArrowheads="1"/>
            </p:cNvSpPr>
            <p:nvPr/>
          </p:nvSpPr>
          <p:spPr bwMode="auto">
            <a:xfrm>
              <a:off x="5393" y="304"/>
              <a:ext cx="13" cy="13"/>
            </a:xfrm>
            <a:custGeom>
              <a:avLst/>
              <a:gdLst>
                <a:gd name="T0" fmla="*/ 108 w 9"/>
                <a:gd name="T1" fmla="*/ 188 h 9"/>
                <a:gd name="T2" fmla="*/ 0 w 9"/>
                <a:gd name="T3" fmla="*/ 81 h 9"/>
                <a:gd name="T4" fmla="*/ 0 w 9"/>
                <a:gd name="T5" fmla="*/ 81 h 9"/>
                <a:gd name="T6" fmla="*/ 108 w 9"/>
                <a:gd name="T7" fmla="*/ 0 h 9"/>
                <a:gd name="T8" fmla="*/ 188 w 9"/>
                <a:gd name="T9" fmla="*/ 81 h 9"/>
                <a:gd name="T10" fmla="*/ 108 w 9"/>
                <a:gd name="T11" fmla="*/ 188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2" y="9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351" name="Freeform 334"/>
            <p:cNvSpPr>
              <a:spLocks noChangeArrowheads="1"/>
            </p:cNvSpPr>
            <p:nvPr/>
          </p:nvSpPr>
          <p:spPr bwMode="auto">
            <a:xfrm>
              <a:off x="5106" y="304"/>
              <a:ext cx="11" cy="13"/>
            </a:xfrm>
            <a:custGeom>
              <a:avLst/>
              <a:gdLst>
                <a:gd name="T0" fmla="*/ 69 w 8"/>
                <a:gd name="T1" fmla="*/ 188 h 9"/>
                <a:gd name="T2" fmla="*/ 0 w 8"/>
                <a:gd name="T3" fmla="*/ 81 h 9"/>
                <a:gd name="T4" fmla="*/ 0 w 8"/>
                <a:gd name="T5" fmla="*/ 81 h 9"/>
                <a:gd name="T6" fmla="*/ 69 w 8"/>
                <a:gd name="T7" fmla="*/ 0 h 9"/>
                <a:gd name="T8" fmla="*/ 131 w 8"/>
                <a:gd name="T9" fmla="*/ 81 h 9"/>
                <a:gd name="T10" fmla="*/ 69 w 8"/>
                <a:gd name="T11" fmla="*/ 188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2" y="9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352" name="Freeform 335"/>
            <p:cNvSpPr>
              <a:spLocks noChangeArrowheads="1"/>
            </p:cNvSpPr>
            <p:nvPr/>
          </p:nvSpPr>
          <p:spPr bwMode="auto">
            <a:xfrm>
              <a:off x="5023" y="304"/>
              <a:ext cx="13" cy="13"/>
            </a:xfrm>
            <a:custGeom>
              <a:avLst/>
              <a:gdLst>
                <a:gd name="T0" fmla="*/ 81 w 9"/>
                <a:gd name="T1" fmla="*/ 188 h 9"/>
                <a:gd name="T2" fmla="*/ 0 w 9"/>
                <a:gd name="T3" fmla="*/ 81 h 9"/>
                <a:gd name="T4" fmla="*/ 0 w 9"/>
                <a:gd name="T5" fmla="*/ 81 h 9"/>
                <a:gd name="T6" fmla="*/ 81 w 9"/>
                <a:gd name="T7" fmla="*/ 0 h 9"/>
                <a:gd name="T8" fmla="*/ 188 w 9"/>
                <a:gd name="T9" fmla="*/ 81 h 9"/>
                <a:gd name="T10" fmla="*/ 81 w 9"/>
                <a:gd name="T11" fmla="*/ 188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2" y="9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353" name="Freeform 336"/>
            <p:cNvSpPr>
              <a:spLocks noChangeArrowheads="1"/>
            </p:cNvSpPr>
            <p:nvPr/>
          </p:nvSpPr>
          <p:spPr bwMode="auto">
            <a:xfrm>
              <a:off x="5374" y="290"/>
              <a:ext cx="11" cy="12"/>
            </a:xfrm>
            <a:custGeom>
              <a:avLst/>
              <a:gdLst>
                <a:gd name="T0" fmla="*/ 69 w 8"/>
                <a:gd name="T1" fmla="*/ 116 h 9"/>
                <a:gd name="T2" fmla="*/ 0 w 8"/>
                <a:gd name="T3" fmla="*/ 65 h 9"/>
                <a:gd name="T4" fmla="*/ 0 w 8"/>
                <a:gd name="T5" fmla="*/ 49 h 9"/>
                <a:gd name="T6" fmla="*/ 69 w 8"/>
                <a:gd name="T7" fmla="*/ 0 h 9"/>
                <a:gd name="T8" fmla="*/ 131 w 8"/>
                <a:gd name="T9" fmla="*/ 49 h 9"/>
                <a:gd name="T10" fmla="*/ 69 w 8"/>
                <a:gd name="T11" fmla="*/ 116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354" name="Freeform 337"/>
            <p:cNvSpPr>
              <a:spLocks noChangeArrowheads="1"/>
            </p:cNvSpPr>
            <p:nvPr/>
          </p:nvSpPr>
          <p:spPr bwMode="auto">
            <a:xfrm>
              <a:off x="5291" y="290"/>
              <a:ext cx="13" cy="12"/>
            </a:xfrm>
            <a:custGeom>
              <a:avLst/>
              <a:gdLst>
                <a:gd name="T0" fmla="*/ 81 w 9"/>
                <a:gd name="T1" fmla="*/ 116 h 9"/>
                <a:gd name="T2" fmla="*/ 0 w 9"/>
                <a:gd name="T3" fmla="*/ 65 h 9"/>
                <a:gd name="T4" fmla="*/ 0 w 9"/>
                <a:gd name="T5" fmla="*/ 49 h 9"/>
                <a:gd name="T6" fmla="*/ 81 w 9"/>
                <a:gd name="T7" fmla="*/ 0 h 9"/>
                <a:gd name="T8" fmla="*/ 188 w 9"/>
                <a:gd name="T9" fmla="*/ 49 h 9"/>
                <a:gd name="T10" fmla="*/ 81 w 9"/>
                <a:gd name="T11" fmla="*/ 116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355" name="Freeform 338"/>
            <p:cNvSpPr>
              <a:spLocks noChangeArrowheads="1"/>
            </p:cNvSpPr>
            <p:nvPr/>
          </p:nvSpPr>
          <p:spPr bwMode="auto">
            <a:xfrm>
              <a:off x="5250" y="290"/>
              <a:ext cx="11" cy="12"/>
            </a:xfrm>
            <a:custGeom>
              <a:avLst/>
              <a:gdLst>
                <a:gd name="T0" fmla="*/ 69 w 8"/>
                <a:gd name="T1" fmla="*/ 116 h 9"/>
                <a:gd name="T2" fmla="*/ 0 w 8"/>
                <a:gd name="T3" fmla="*/ 65 h 9"/>
                <a:gd name="T4" fmla="*/ 0 w 8"/>
                <a:gd name="T5" fmla="*/ 49 h 9"/>
                <a:gd name="T6" fmla="*/ 69 w 8"/>
                <a:gd name="T7" fmla="*/ 0 h 9"/>
                <a:gd name="T8" fmla="*/ 131 w 8"/>
                <a:gd name="T9" fmla="*/ 49 h 9"/>
                <a:gd name="T10" fmla="*/ 69 w 8"/>
                <a:gd name="T11" fmla="*/ 116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356" name="Oval 339"/>
            <p:cNvSpPr>
              <a:spLocks noChangeArrowheads="1"/>
            </p:cNvSpPr>
            <p:nvPr/>
          </p:nvSpPr>
          <p:spPr bwMode="auto">
            <a:xfrm>
              <a:off x="5229" y="304"/>
              <a:ext cx="13" cy="1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US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357" name="Freeform 340"/>
            <p:cNvSpPr>
              <a:spLocks noChangeArrowheads="1"/>
            </p:cNvSpPr>
            <p:nvPr/>
          </p:nvSpPr>
          <p:spPr bwMode="auto">
            <a:xfrm>
              <a:off x="5085" y="290"/>
              <a:ext cx="13" cy="12"/>
            </a:xfrm>
            <a:custGeom>
              <a:avLst/>
              <a:gdLst>
                <a:gd name="T0" fmla="*/ 81 w 9"/>
                <a:gd name="T1" fmla="*/ 116 h 9"/>
                <a:gd name="T2" fmla="*/ 0 w 9"/>
                <a:gd name="T3" fmla="*/ 65 h 9"/>
                <a:gd name="T4" fmla="*/ 0 w 9"/>
                <a:gd name="T5" fmla="*/ 49 h 9"/>
                <a:gd name="T6" fmla="*/ 81 w 9"/>
                <a:gd name="T7" fmla="*/ 0 h 9"/>
                <a:gd name="T8" fmla="*/ 188 w 9"/>
                <a:gd name="T9" fmla="*/ 49 h 9"/>
                <a:gd name="T10" fmla="*/ 81 w 9"/>
                <a:gd name="T11" fmla="*/ 116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358" name="Freeform 341"/>
            <p:cNvSpPr>
              <a:spLocks noChangeArrowheads="1"/>
            </p:cNvSpPr>
            <p:nvPr/>
          </p:nvSpPr>
          <p:spPr bwMode="auto">
            <a:xfrm>
              <a:off x="5312" y="304"/>
              <a:ext cx="11" cy="13"/>
            </a:xfrm>
            <a:custGeom>
              <a:avLst/>
              <a:gdLst>
                <a:gd name="T0" fmla="*/ 69 w 8"/>
                <a:gd name="T1" fmla="*/ 188 h 9"/>
                <a:gd name="T2" fmla="*/ 0 w 8"/>
                <a:gd name="T3" fmla="*/ 81 h 9"/>
                <a:gd name="T4" fmla="*/ 0 w 8"/>
                <a:gd name="T5" fmla="*/ 81 h 9"/>
                <a:gd name="T6" fmla="*/ 69 w 8"/>
                <a:gd name="T7" fmla="*/ 0 h 9"/>
                <a:gd name="T8" fmla="*/ 131 w 8"/>
                <a:gd name="T9" fmla="*/ 81 h 9"/>
                <a:gd name="T10" fmla="*/ 69 w 8"/>
                <a:gd name="T11" fmla="*/ 188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2" y="9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359" name="Freeform 342"/>
            <p:cNvSpPr>
              <a:spLocks noChangeArrowheads="1"/>
            </p:cNvSpPr>
            <p:nvPr/>
          </p:nvSpPr>
          <p:spPr bwMode="auto">
            <a:xfrm>
              <a:off x="5476" y="325"/>
              <a:ext cx="12" cy="11"/>
            </a:xfrm>
            <a:custGeom>
              <a:avLst/>
              <a:gdLst>
                <a:gd name="T0" fmla="*/ 49 w 9"/>
                <a:gd name="T1" fmla="*/ 131 h 8"/>
                <a:gd name="T2" fmla="*/ 0 w 9"/>
                <a:gd name="T3" fmla="*/ 69 h 8"/>
                <a:gd name="T4" fmla="*/ 0 w 9"/>
                <a:gd name="T5" fmla="*/ 69 h 8"/>
                <a:gd name="T6" fmla="*/ 49 w 9"/>
                <a:gd name="T7" fmla="*/ 0 h 8"/>
                <a:gd name="T8" fmla="*/ 65 w 9"/>
                <a:gd name="T9" fmla="*/ 0 h 8"/>
                <a:gd name="T10" fmla="*/ 116 w 9"/>
                <a:gd name="T11" fmla="*/ 69 h 8"/>
                <a:gd name="T12" fmla="*/ 49 w 9"/>
                <a:gd name="T13" fmla="*/ 131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8">
                  <a:moveTo>
                    <a:pt x="4" y="8"/>
                  </a:moveTo>
                  <a:cubicBezTo>
                    <a:pt x="2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6"/>
                    <a:pt x="7" y="8"/>
                    <a:pt x="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360" name="Freeform 343"/>
            <p:cNvSpPr>
              <a:spLocks noChangeArrowheads="1"/>
            </p:cNvSpPr>
            <p:nvPr/>
          </p:nvSpPr>
          <p:spPr bwMode="auto">
            <a:xfrm>
              <a:off x="5436" y="325"/>
              <a:ext cx="12" cy="11"/>
            </a:xfrm>
            <a:custGeom>
              <a:avLst/>
              <a:gdLst>
                <a:gd name="T0" fmla="*/ 120 w 8"/>
                <a:gd name="T1" fmla="*/ 131 h 8"/>
                <a:gd name="T2" fmla="*/ 0 w 8"/>
                <a:gd name="T3" fmla="*/ 69 h 8"/>
                <a:gd name="T4" fmla="*/ 0 w 8"/>
                <a:gd name="T5" fmla="*/ 69 h 8"/>
                <a:gd name="T6" fmla="*/ 120 w 8"/>
                <a:gd name="T7" fmla="*/ 0 h 8"/>
                <a:gd name="T8" fmla="*/ 120 w 8"/>
                <a:gd name="T9" fmla="*/ 0 h 8"/>
                <a:gd name="T10" fmla="*/ 230 w 8"/>
                <a:gd name="T11" fmla="*/ 69 h 8"/>
                <a:gd name="T12" fmla="*/ 120 w 8"/>
                <a:gd name="T13" fmla="*/ 131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" h="8">
                  <a:moveTo>
                    <a:pt x="4" y="8"/>
                  </a:moveTo>
                  <a:cubicBezTo>
                    <a:pt x="2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7" y="0"/>
                    <a:pt x="8" y="2"/>
                    <a:pt x="8" y="4"/>
                  </a:cubicBezTo>
                  <a:cubicBezTo>
                    <a:pt x="8" y="6"/>
                    <a:pt x="6" y="8"/>
                    <a:pt x="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361" name="Freeform 344"/>
            <p:cNvSpPr>
              <a:spLocks noChangeArrowheads="1"/>
            </p:cNvSpPr>
            <p:nvPr/>
          </p:nvSpPr>
          <p:spPr bwMode="auto">
            <a:xfrm>
              <a:off x="5415" y="312"/>
              <a:ext cx="12" cy="12"/>
            </a:xfrm>
            <a:custGeom>
              <a:avLst/>
              <a:gdLst>
                <a:gd name="T0" fmla="*/ 49 w 9"/>
                <a:gd name="T1" fmla="*/ 113 h 9"/>
                <a:gd name="T2" fmla="*/ 0 w 9"/>
                <a:gd name="T3" fmla="*/ 49 h 9"/>
                <a:gd name="T4" fmla="*/ 0 w 9"/>
                <a:gd name="T5" fmla="*/ 49 h 9"/>
                <a:gd name="T6" fmla="*/ 49 w 9"/>
                <a:gd name="T7" fmla="*/ 0 h 9"/>
                <a:gd name="T8" fmla="*/ 113 w 9"/>
                <a:gd name="T9" fmla="*/ 49 h 9"/>
                <a:gd name="T10" fmla="*/ 49 w 9"/>
                <a:gd name="T11" fmla="*/ 113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2" y="9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362" name="Freeform 345"/>
            <p:cNvSpPr>
              <a:spLocks noChangeArrowheads="1"/>
            </p:cNvSpPr>
            <p:nvPr/>
          </p:nvSpPr>
          <p:spPr bwMode="auto">
            <a:xfrm>
              <a:off x="5044" y="312"/>
              <a:ext cx="11" cy="12"/>
            </a:xfrm>
            <a:custGeom>
              <a:avLst/>
              <a:gdLst>
                <a:gd name="T0" fmla="*/ 69 w 8"/>
                <a:gd name="T1" fmla="*/ 113 h 9"/>
                <a:gd name="T2" fmla="*/ 0 w 8"/>
                <a:gd name="T3" fmla="*/ 49 h 9"/>
                <a:gd name="T4" fmla="*/ 0 w 8"/>
                <a:gd name="T5" fmla="*/ 49 h 9"/>
                <a:gd name="T6" fmla="*/ 69 w 8"/>
                <a:gd name="T7" fmla="*/ 0 h 9"/>
                <a:gd name="T8" fmla="*/ 131 w 8"/>
                <a:gd name="T9" fmla="*/ 49 h 9"/>
                <a:gd name="T10" fmla="*/ 69 w 8"/>
                <a:gd name="T11" fmla="*/ 113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2" y="9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363" name="Freeform 346"/>
            <p:cNvSpPr>
              <a:spLocks noChangeArrowheads="1"/>
            </p:cNvSpPr>
            <p:nvPr/>
          </p:nvSpPr>
          <p:spPr bwMode="auto">
            <a:xfrm>
              <a:off x="5600" y="325"/>
              <a:ext cx="12" cy="11"/>
            </a:xfrm>
            <a:custGeom>
              <a:avLst/>
              <a:gdLst>
                <a:gd name="T0" fmla="*/ 64 w 9"/>
                <a:gd name="T1" fmla="*/ 131 h 8"/>
                <a:gd name="T2" fmla="*/ 0 w 9"/>
                <a:gd name="T3" fmla="*/ 69 h 8"/>
                <a:gd name="T4" fmla="*/ 49 w 9"/>
                <a:gd name="T5" fmla="*/ 0 h 8"/>
                <a:gd name="T6" fmla="*/ 64 w 9"/>
                <a:gd name="T7" fmla="*/ 0 h 8"/>
                <a:gd name="T8" fmla="*/ 113 w 9"/>
                <a:gd name="T9" fmla="*/ 69 h 8"/>
                <a:gd name="T10" fmla="*/ 64 w 9"/>
                <a:gd name="T11" fmla="*/ 131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8">
                  <a:moveTo>
                    <a:pt x="5" y="8"/>
                  </a:move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6"/>
                    <a:pt x="7" y="8"/>
                    <a:pt x="5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364" name="Freeform 347"/>
            <p:cNvSpPr>
              <a:spLocks noChangeArrowheads="1"/>
            </p:cNvSpPr>
            <p:nvPr/>
          </p:nvSpPr>
          <p:spPr bwMode="auto">
            <a:xfrm>
              <a:off x="5580" y="312"/>
              <a:ext cx="11" cy="12"/>
            </a:xfrm>
            <a:custGeom>
              <a:avLst/>
              <a:gdLst>
                <a:gd name="T0" fmla="*/ 69 w 8"/>
                <a:gd name="T1" fmla="*/ 113 h 9"/>
                <a:gd name="T2" fmla="*/ 0 w 8"/>
                <a:gd name="T3" fmla="*/ 49 h 9"/>
                <a:gd name="T4" fmla="*/ 0 w 8"/>
                <a:gd name="T5" fmla="*/ 49 h 9"/>
                <a:gd name="T6" fmla="*/ 69 w 8"/>
                <a:gd name="T7" fmla="*/ 0 h 9"/>
                <a:gd name="T8" fmla="*/ 131 w 8"/>
                <a:gd name="T9" fmla="*/ 49 h 9"/>
                <a:gd name="T10" fmla="*/ 69 w 8"/>
                <a:gd name="T11" fmla="*/ 113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2" y="9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365" name="Freeform 348"/>
            <p:cNvSpPr>
              <a:spLocks noChangeArrowheads="1"/>
            </p:cNvSpPr>
            <p:nvPr/>
          </p:nvSpPr>
          <p:spPr bwMode="auto">
            <a:xfrm>
              <a:off x="5558" y="325"/>
              <a:ext cx="12" cy="11"/>
            </a:xfrm>
            <a:custGeom>
              <a:avLst/>
              <a:gdLst>
                <a:gd name="T0" fmla="*/ 49 w 9"/>
                <a:gd name="T1" fmla="*/ 131 h 8"/>
                <a:gd name="T2" fmla="*/ 0 w 9"/>
                <a:gd name="T3" fmla="*/ 69 h 8"/>
                <a:gd name="T4" fmla="*/ 0 w 9"/>
                <a:gd name="T5" fmla="*/ 69 h 8"/>
                <a:gd name="T6" fmla="*/ 49 w 9"/>
                <a:gd name="T7" fmla="*/ 0 h 8"/>
                <a:gd name="T8" fmla="*/ 49 w 9"/>
                <a:gd name="T9" fmla="*/ 0 h 8"/>
                <a:gd name="T10" fmla="*/ 113 w 9"/>
                <a:gd name="T11" fmla="*/ 69 h 8"/>
                <a:gd name="T12" fmla="*/ 49 w 9"/>
                <a:gd name="T13" fmla="*/ 131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8">
                  <a:moveTo>
                    <a:pt x="4" y="8"/>
                  </a:moveTo>
                  <a:cubicBezTo>
                    <a:pt x="2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6"/>
                    <a:pt x="7" y="8"/>
                    <a:pt x="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366" name="Freeform 349"/>
            <p:cNvSpPr>
              <a:spLocks noChangeArrowheads="1"/>
            </p:cNvSpPr>
            <p:nvPr/>
          </p:nvSpPr>
          <p:spPr bwMode="auto">
            <a:xfrm>
              <a:off x="5538" y="312"/>
              <a:ext cx="12" cy="12"/>
            </a:xfrm>
            <a:custGeom>
              <a:avLst/>
              <a:gdLst>
                <a:gd name="T0" fmla="*/ 64 w 9"/>
                <a:gd name="T1" fmla="*/ 113 h 9"/>
                <a:gd name="T2" fmla="*/ 0 w 9"/>
                <a:gd name="T3" fmla="*/ 49 h 9"/>
                <a:gd name="T4" fmla="*/ 0 w 9"/>
                <a:gd name="T5" fmla="*/ 49 h 9"/>
                <a:gd name="T6" fmla="*/ 64 w 9"/>
                <a:gd name="T7" fmla="*/ 0 h 9"/>
                <a:gd name="T8" fmla="*/ 113 w 9"/>
                <a:gd name="T9" fmla="*/ 49 h 9"/>
                <a:gd name="T10" fmla="*/ 64 w 9"/>
                <a:gd name="T11" fmla="*/ 113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2" y="9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367" name="Freeform 350"/>
            <p:cNvSpPr>
              <a:spLocks noChangeArrowheads="1"/>
            </p:cNvSpPr>
            <p:nvPr/>
          </p:nvSpPr>
          <p:spPr bwMode="auto">
            <a:xfrm>
              <a:off x="5518" y="325"/>
              <a:ext cx="12" cy="11"/>
            </a:xfrm>
            <a:custGeom>
              <a:avLst/>
              <a:gdLst>
                <a:gd name="T0" fmla="*/ 120 w 8"/>
                <a:gd name="T1" fmla="*/ 131 h 8"/>
                <a:gd name="T2" fmla="*/ 0 w 8"/>
                <a:gd name="T3" fmla="*/ 69 h 8"/>
                <a:gd name="T4" fmla="*/ 0 w 8"/>
                <a:gd name="T5" fmla="*/ 69 h 8"/>
                <a:gd name="T6" fmla="*/ 120 w 8"/>
                <a:gd name="T7" fmla="*/ 0 h 8"/>
                <a:gd name="T8" fmla="*/ 120 w 8"/>
                <a:gd name="T9" fmla="*/ 0 h 8"/>
                <a:gd name="T10" fmla="*/ 230 w 8"/>
                <a:gd name="T11" fmla="*/ 69 h 8"/>
                <a:gd name="T12" fmla="*/ 120 w 8"/>
                <a:gd name="T13" fmla="*/ 131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" h="8">
                  <a:moveTo>
                    <a:pt x="4" y="8"/>
                  </a:moveTo>
                  <a:cubicBezTo>
                    <a:pt x="2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6"/>
                    <a:pt x="6" y="8"/>
                    <a:pt x="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368" name="Freeform 351"/>
            <p:cNvSpPr>
              <a:spLocks noChangeArrowheads="1"/>
            </p:cNvSpPr>
            <p:nvPr/>
          </p:nvSpPr>
          <p:spPr bwMode="auto">
            <a:xfrm>
              <a:off x="5496" y="312"/>
              <a:ext cx="12" cy="12"/>
            </a:xfrm>
            <a:custGeom>
              <a:avLst/>
              <a:gdLst>
                <a:gd name="T0" fmla="*/ 49 w 9"/>
                <a:gd name="T1" fmla="*/ 113 h 9"/>
                <a:gd name="T2" fmla="*/ 0 w 9"/>
                <a:gd name="T3" fmla="*/ 49 h 9"/>
                <a:gd name="T4" fmla="*/ 0 w 9"/>
                <a:gd name="T5" fmla="*/ 49 h 9"/>
                <a:gd name="T6" fmla="*/ 49 w 9"/>
                <a:gd name="T7" fmla="*/ 0 h 9"/>
                <a:gd name="T8" fmla="*/ 113 w 9"/>
                <a:gd name="T9" fmla="*/ 49 h 9"/>
                <a:gd name="T10" fmla="*/ 49 w 9"/>
                <a:gd name="T11" fmla="*/ 113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2" y="9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369" name="Oval 352"/>
            <p:cNvSpPr>
              <a:spLocks noChangeArrowheads="1"/>
            </p:cNvSpPr>
            <p:nvPr/>
          </p:nvSpPr>
          <p:spPr bwMode="auto">
            <a:xfrm>
              <a:off x="5455" y="312"/>
              <a:ext cx="13" cy="12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US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370" name="Oval 353"/>
            <p:cNvSpPr>
              <a:spLocks noChangeArrowheads="1"/>
            </p:cNvSpPr>
            <p:nvPr/>
          </p:nvSpPr>
          <p:spPr bwMode="auto">
            <a:xfrm>
              <a:off x="5744" y="312"/>
              <a:ext cx="13" cy="12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US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371" name="Freeform 354"/>
            <p:cNvSpPr>
              <a:spLocks noChangeArrowheads="1"/>
            </p:cNvSpPr>
            <p:nvPr/>
          </p:nvSpPr>
          <p:spPr bwMode="auto">
            <a:xfrm>
              <a:off x="5723" y="325"/>
              <a:ext cx="12" cy="11"/>
            </a:xfrm>
            <a:custGeom>
              <a:avLst/>
              <a:gdLst>
                <a:gd name="T0" fmla="*/ 64 w 9"/>
                <a:gd name="T1" fmla="*/ 131 h 8"/>
                <a:gd name="T2" fmla="*/ 0 w 9"/>
                <a:gd name="T3" fmla="*/ 69 h 8"/>
                <a:gd name="T4" fmla="*/ 0 w 9"/>
                <a:gd name="T5" fmla="*/ 69 h 8"/>
                <a:gd name="T6" fmla="*/ 64 w 9"/>
                <a:gd name="T7" fmla="*/ 0 h 8"/>
                <a:gd name="T8" fmla="*/ 64 w 9"/>
                <a:gd name="T9" fmla="*/ 0 h 8"/>
                <a:gd name="T10" fmla="*/ 113 w 9"/>
                <a:gd name="T11" fmla="*/ 69 h 8"/>
                <a:gd name="T12" fmla="*/ 64 w 9"/>
                <a:gd name="T13" fmla="*/ 131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8">
                  <a:moveTo>
                    <a:pt x="5" y="8"/>
                  </a:moveTo>
                  <a:cubicBezTo>
                    <a:pt x="2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6"/>
                    <a:pt x="7" y="8"/>
                    <a:pt x="5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372" name="Freeform 355"/>
            <p:cNvSpPr>
              <a:spLocks noChangeArrowheads="1"/>
            </p:cNvSpPr>
            <p:nvPr/>
          </p:nvSpPr>
          <p:spPr bwMode="auto">
            <a:xfrm>
              <a:off x="5703" y="312"/>
              <a:ext cx="11" cy="12"/>
            </a:xfrm>
            <a:custGeom>
              <a:avLst/>
              <a:gdLst>
                <a:gd name="T0" fmla="*/ 69 w 8"/>
                <a:gd name="T1" fmla="*/ 113 h 9"/>
                <a:gd name="T2" fmla="*/ 0 w 8"/>
                <a:gd name="T3" fmla="*/ 49 h 9"/>
                <a:gd name="T4" fmla="*/ 0 w 8"/>
                <a:gd name="T5" fmla="*/ 49 h 9"/>
                <a:gd name="T6" fmla="*/ 69 w 8"/>
                <a:gd name="T7" fmla="*/ 0 h 9"/>
                <a:gd name="T8" fmla="*/ 131 w 8"/>
                <a:gd name="T9" fmla="*/ 49 h 9"/>
                <a:gd name="T10" fmla="*/ 69 w 8"/>
                <a:gd name="T11" fmla="*/ 113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2" y="9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373" name="Freeform 356"/>
            <p:cNvSpPr>
              <a:spLocks noChangeArrowheads="1"/>
            </p:cNvSpPr>
            <p:nvPr/>
          </p:nvSpPr>
          <p:spPr bwMode="auto">
            <a:xfrm>
              <a:off x="5682" y="325"/>
              <a:ext cx="12" cy="11"/>
            </a:xfrm>
            <a:custGeom>
              <a:avLst/>
              <a:gdLst>
                <a:gd name="T0" fmla="*/ 49 w 9"/>
                <a:gd name="T1" fmla="*/ 131 h 8"/>
                <a:gd name="T2" fmla="*/ 0 w 9"/>
                <a:gd name="T3" fmla="*/ 69 h 8"/>
                <a:gd name="T4" fmla="*/ 49 w 9"/>
                <a:gd name="T5" fmla="*/ 0 h 8"/>
                <a:gd name="T6" fmla="*/ 49 w 9"/>
                <a:gd name="T7" fmla="*/ 0 h 8"/>
                <a:gd name="T8" fmla="*/ 113 w 9"/>
                <a:gd name="T9" fmla="*/ 69 h 8"/>
                <a:gd name="T10" fmla="*/ 49 w 9"/>
                <a:gd name="T11" fmla="*/ 131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8">
                  <a:moveTo>
                    <a:pt x="4" y="8"/>
                  </a:move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6"/>
                    <a:pt x="7" y="8"/>
                    <a:pt x="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374" name="Freeform 357"/>
            <p:cNvSpPr>
              <a:spLocks noChangeArrowheads="1"/>
            </p:cNvSpPr>
            <p:nvPr/>
          </p:nvSpPr>
          <p:spPr bwMode="auto">
            <a:xfrm>
              <a:off x="5661" y="312"/>
              <a:ext cx="12" cy="12"/>
            </a:xfrm>
            <a:custGeom>
              <a:avLst/>
              <a:gdLst>
                <a:gd name="T0" fmla="*/ 64 w 9"/>
                <a:gd name="T1" fmla="*/ 113 h 9"/>
                <a:gd name="T2" fmla="*/ 0 w 9"/>
                <a:gd name="T3" fmla="*/ 49 h 9"/>
                <a:gd name="T4" fmla="*/ 0 w 9"/>
                <a:gd name="T5" fmla="*/ 49 h 9"/>
                <a:gd name="T6" fmla="*/ 64 w 9"/>
                <a:gd name="T7" fmla="*/ 0 h 9"/>
                <a:gd name="T8" fmla="*/ 113 w 9"/>
                <a:gd name="T9" fmla="*/ 49 h 9"/>
                <a:gd name="T10" fmla="*/ 64 w 9"/>
                <a:gd name="T11" fmla="*/ 113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2" y="9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375" name="Freeform 358"/>
            <p:cNvSpPr>
              <a:spLocks noChangeArrowheads="1"/>
            </p:cNvSpPr>
            <p:nvPr/>
          </p:nvSpPr>
          <p:spPr bwMode="auto">
            <a:xfrm>
              <a:off x="5640" y="325"/>
              <a:ext cx="12" cy="11"/>
            </a:xfrm>
            <a:custGeom>
              <a:avLst/>
              <a:gdLst>
                <a:gd name="T0" fmla="*/ 120 w 8"/>
                <a:gd name="T1" fmla="*/ 131 h 8"/>
                <a:gd name="T2" fmla="*/ 0 w 8"/>
                <a:gd name="T3" fmla="*/ 69 h 8"/>
                <a:gd name="T4" fmla="*/ 0 w 8"/>
                <a:gd name="T5" fmla="*/ 69 h 8"/>
                <a:gd name="T6" fmla="*/ 120 w 8"/>
                <a:gd name="T7" fmla="*/ 0 h 8"/>
                <a:gd name="T8" fmla="*/ 120 w 8"/>
                <a:gd name="T9" fmla="*/ 0 h 8"/>
                <a:gd name="T10" fmla="*/ 230 w 8"/>
                <a:gd name="T11" fmla="*/ 69 h 8"/>
                <a:gd name="T12" fmla="*/ 230 w 8"/>
                <a:gd name="T13" fmla="*/ 69 h 8"/>
                <a:gd name="T14" fmla="*/ 120 w 8"/>
                <a:gd name="T15" fmla="*/ 131 h 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8" h="8">
                  <a:moveTo>
                    <a:pt x="4" y="8"/>
                  </a:moveTo>
                  <a:cubicBezTo>
                    <a:pt x="2" y="8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6" y="8"/>
                    <a:pt x="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376" name="Oval 359"/>
            <p:cNvSpPr>
              <a:spLocks noChangeArrowheads="1"/>
            </p:cNvSpPr>
            <p:nvPr/>
          </p:nvSpPr>
          <p:spPr bwMode="auto">
            <a:xfrm>
              <a:off x="5621" y="312"/>
              <a:ext cx="12" cy="12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US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377" name="Freeform 360"/>
            <p:cNvSpPr>
              <a:spLocks noChangeArrowheads="1"/>
            </p:cNvSpPr>
            <p:nvPr/>
          </p:nvSpPr>
          <p:spPr bwMode="auto">
            <a:xfrm>
              <a:off x="5393" y="325"/>
              <a:ext cx="13" cy="11"/>
            </a:xfrm>
            <a:custGeom>
              <a:avLst/>
              <a:gdLst>
                <a:gd name="T0" fmla="*/ 108 w 9"/>
                <a:gd name="T1" fmla="*/ 131 h 8"/>
                <a:gd name="T2" fmla="*/ 0 w 9"/>
                <a:gd name="T3" fmla="*/ 69 h 8"/>
                <a:gd name="T4" fmla="*/ 0 w 9"/>
                <a:gd name="T5" fmla="*/ 69 h 8"/>
                <a:gd name="T6" fmla="*/ 108 w 9"/>
                <a:gd name="T7" fmla="*/ 0 h 8"/>
                <a:gd name="T8" fmla="*/ 108 w 9"/>
                <a:gd name="T9" fmla="*/ 0 h 8"/>
                <a:gd name="T10" fmla="*/ 188 w 9"/>
                <a:gd name="T11" fmla="*/ 69 h 8"/>
                <a:gd name="T12" fmla="*/ 108 w 9"/>
                <a:gd name="T13" fmla="*/ 131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8">
                  <a:moveTo>
                    <a:pt x="5" y="8"/>
                  </a:moveTo>
                  <a:cubicBezTo>
                    <a:pt x="2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6"/>
                    <a:pt x="7" y="8"/>
                    <a:pt x="5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378" name="Freeform 361"/>
            <p:cNvSpPr>
              <a:spLocks noChangeArrowheads="1"/>
            </p:cNvSpPr>
            <p:nvPr/>
          </p:nvSpPr>
          <p:spPr bwMode="auto">
            <a:xfrm>
              <a:off x="5106" y="325"/>
              <a:ext cx="11" cy="11"/>
            </a:xfrm>
            <a:custGeom>
              <a:avLst/>
              <a:gdLst>
                <a:gd name="T0" fmla="*/ 69 w 8"/>
                <a:gd name="T1" fmla="*/ 131 h 8"/>
                <a:gd name="T2" fmla="*/ 0 w 8"/>
                <a:gd name="T3" fmla="*/ 69 h 8"/>
                <a:gd name="T4" fmla="*/ 0 w 8"/>
                <a:gd name="T5" fmla="*/ 69 h 8"/>
                <a:gd name="T6" fmla="*/ 69 w 8"/>
                <a:gd name="T7" fmla="*/ 0 h 8"/>
                <a:gd name="T8" fmla="*/ 69 w 8"/>
                <a:gd name="T9" fmla="*/ 0 h 8"/>
                <a:gd name="T10" fmla="*/ 131 w 8"/>
                <a:gd name="T11" fmla="*/ 69 h 8"/>
                <a:gd name="T12" fmla="*/ 69 w 8"/>
                <a:gd name="T13" fmla="*/ 131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" h="8">
                  <a:moveTo>
                    <a:pt x="4" y="8"/>
                  </a:moveTo>
                  <a:cubicBezTo>
                    <a:pt x="2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7" y="0"/>
                    <a:pt x="8" y="2"/>
                    <a:pt x="8" y="4"/>
                  </a:cubicBezTo>
                  <a:cubicBezTo>
                    <a:pt x="8" y="6"/>
                    <a:pt x="6" y="8"/>
                    <a:pt x="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379" name="Freeform 362"/>
            <p:cNvSpPr>
              <a:spLocks noChangeArrowheads="1"/>
            </p:cNvSpPr>
            <p:nvPr/>
          </p:nvSpPr>
          <p:spPr bwMode="auto">
            <a:xfrm>
              <a:off x="5023" y="325"/>
              <a:ext cx="13" cy="11"/>
            </a:xfrm>
            <a:custGeom>
              <a:avLst/>
              <a:gdLst>
                <a:gd name="T0" fmla="*/ 81 w 9"/>
                <a:gd name="T1" fmla="*/ 131 h 8"/>
                <a:gd name="T2" fmla="*/ 0 w 9"/>
                <a:gd name="T3" fmla="*/ 69 h 8"/>
                <a:gd name="T4" fmla="*/ 0 w 9"/>
                <a:gd name="T5" fmla="*/ 69 h 8"/>
                <a:gd name="T6" fmla="*/ 81 w 9"/>
                <a:gd name="T7" fmla="*/ 0 h 8"/>
                <a:gd name="T8" fmla="*/ 81 w 9"/>
                <a:gd name="T9" fmla="*/ 0 h 8"/>
                <a:gd name="T10" fmla="*/ 188 w 9"/>
                <a:gd name="T11" fmla="*/ 69 h 8"/>
                <a:gd name="T12" fmla="*/ 81 w 9"/>
                <a:gd name="T13" fmla="*/ 131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8">
                  <a:moveTo>
                    <a:pt x="4" y="8"/>
                  </a:moveTo>
                  <a:cubicBezTo>
                    <a:pt x="2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6"/>
                    <a:pt x="7" y="8"/>
                    <a:pt x="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380" name="Freeform 363"/>
            <p:cNvSpPr>
              <a:spLocks noChangeArrowheads="1"/>
            </p:cNvSpPr>
            <p:nvPr/>
          </p:nvSpPr>
          <p:spPr bwMode="auto">
            <a:xfrm>
              <a:off x="5374" y="312"/>
              <a:ext cx="11" cy="12"/>
            </a:xfrm>
            <a:custGeom>
              <a:avLst/>
              <a:gdLst>
                <a:gd name="T0" fmla="*/ 69 w 8"/>
                <a:gd name="T1" fmla="*/ 113 h 9"/>
                <a:gd name="T2" fmla="*/ 0 w 8"/>
                <a:gd name="T3" fmla="*/ 49 h 9"/>
                <a:gd name="T4" fmla="*/ 0 w 8"/>
                <a:gd name="T5" fmla="*/ 49 h 9"/>
                <a:gd name="T6" fmla="*/ 69 w 8"/>
                <a:gd name="T7" fmla="*/ 0 h 9"/>
                <a:gd name="T8" fmla="*/ 131 w 8"/>
                <a:gd name="T9" fmla="*/ 49 h 9"/>
                <a:gd name="T10" fmla="*/ 69 w 8"/>
                <a:gd name="T11" fmla="*/ 113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2" y="9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381" name="Freeform 364"/>
            <p:cNvSpPr>
              <a:spLocks noChangeArrowheads="1"/>
            </p:cNvSpPr>
            <p:nvPr/>
          </p:nvSpPr>
          <p:spPr bwMode="auto">
            <a:xfrm>
              <a:off x="5291" y="312"/>
              <a:ext cx="13" cy="12"/>
            </a:xfrm>
            <a:custGeom>
              <a:avLst/>
              <a:gdLst>
                <a:gd name="T0" fmla="*/ 81 w 9"/>
                <a:gd name="T1" fmla="*/ 113 h 9"/>
                <a:gd name="T2" fmla="*/ 0 w 9"/>
                <a:gd name="T3" fmla="*/ 49 h 9"/>
                <a:gd name="T4" fmla="*/ 0 w 9"/>
                <a:gd name="T5" fmla="*/ 49 h 9"/>
                <a:gd name="T6" fmla="*/ 81 w 9"/>
                <a:gd name="T7" fmla="*/ 0 h 9"/>
                <a:gd name="T8" fmla="*/ 188 w 9"/>
                <a:gd name="T9" fmla="*/ 49 h 9"/>
                <a:gd name="T10" fmla="*/ 81 w 9"/>
                <a:gd name="T11" fmla="*/ 113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2" y="9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382" name="Freeform 365"/>
            <p:cNvSpPr>
              <a:spLocks noChangeArrowheads="1"/>
            </p:cNvSpPr>
            <p:nvPr/>
          </p:nvSpPr>
          <p:spPr bwMode="auto">
            <a:xfrm>
              <a:off x="5250" y="312"/>
              <a:ext cx="11" cy="12"/>
            </a:xfrm>
            <a:custGeom>
              <a:avLst/>
              <a:gdLst>
                <a:gd name="T0" fmla="*/ 69 w 8"/>
                <a:gd name="T1" fmla="*/ 113 h 9"/>
                <a:gd name="T2" fmla="*/ 0 w 8"/>
                <a:gd name="T3" fmla="*/ 49 h 9"/>
                <a:gd name="T4" fmla="*/ 0 w 8"/>
                <a:gd name="T5" fmla="*/ 49 h 9"/>
                <a:gd name="T6" fmla="*/ 69 w 8"/>
                <a:gd name="T7" fmla="*/ 0 h 9"/>
                <a:gd name="T8" fmla="*/ 131 w 8"/>
                <a:gd name="T9" fmla="*/ 49 h 9"/>
                <a:gd name="T10" fmla="*/ 69 w 8"/>
                <a:gd name="T11" fmla="*/ 113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2" y="9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383" name="Freeform 366"/>
            <p:cNvSpPr>
              <a:spLocks noChangeArrowheads="1"/>
            </p:cNvSpPr>
            <p:nvPr/>
          </p:nvSpPr>
          <p:spPr bwMode="auto">
            <a:xfrm>
              <a:off x="5229" y="325"/>
              <a:ext cx="13" cy="11"/>
            </a:xfrm>
            <a:custGeom>
              <a:avLst/>
              <a:gdLst>
                <a:gd name="T0" fmla="*/ 81 w 9"/>
                <a:gd name="T1" fmla="*/ 131 h 8"/>
                <a:gd name="T2" fmla="*/ 0 w 9"/>
                <a:gd name="T3" fmla="*/ 69 h 8"/>
                <a:gd name="T4" fmla="*/ 81 w 9"/>
                <a:gd name="T5" fmla="*/ 0 h 8"/>
                <a:gd name="T6" fmla="*/ 81 w 9"/>
                <a:gd name="T7" fmla="*/ 0 h 8"/>
                <a:gd name="T8" fmla="*/ 188 w 9"/>
                <a:gd name="T9" fmla="*/ 69 h 8"/>
                <a:gd name="T10" fmla="*/ 81 w 9"/>
                <a:gd name="T11" fmla="*/ 131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8">
                  <a:moveTo>
                    <a:pt x="4" y="8"/>
                  </a:move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6"/>
                    <a:pt x="7" y="8"/>
                    <a:pt x="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384" name="Freeform 367"/>
            <p:cNvSpPr>
              <a:spLocks noChangeArrowheads="1"/>
            </p:cNvSpPr>
            <p:nvPr/>
          </p:nvSpPr>
          <p:spPr bwMode="auto">
            <a:xfrm>
              <a:off x="5085" y="312"/>
              <a:ext cx="13" cy="12"/>
            </a:xfrm>
            <a:custGeom>
              <a:avLst/>
              <a:gdLst>
                <a:gd name="T0" fmla="*/ 81 w 9"/>
                <a:gd name="T1" fmla="*/ 113 h 9"/>
                <a:gd name="T2" fmla="*/ 0 w 9"/>
                <a:gd name="T3" fmla="*/ 49 h 9"/>
                <a:gd name="T4" fmla="*/ 0 w 9"/>
                <a:gd name="T5" fmla="*/ 49 h 9"/>
                <a:gd name="T6" fmla="*/ 81 w 9"/>
                <a:gd name="T7" fmla="*/ 0 h 9"/>
                <a:gd name="T8" fmla="*/ 188 w 9"/>
                <a:gd name="T9" fmla="*/ 49 h 9"/>
                <a:gd name="T10" fmla="*/ 81 w 9"/>
                <a:gd name="T11" fmla="*/ 113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2" y="9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385" name="Freeform 368"/>
            <p:cNvSpPr>
              <a:spLocks noChangeArrowheads="1"/>
            </p:cNvSpPr>
            <p:nvPr/>
          </p:nvSpPr>
          <p:spPr bwMode="auto">
            <a:xfrm>
              <a:off x="5476" y="347"/>
              <a:ext cx="12" cy="11"/>
            </a:xfrm>
            <a:custGeom>
              <a:avLst/>
              <a:gdLst>
                <a:gd name="T0" fmla="*/ 49 w 9"/>
                <a:gd name="T1" fmla="*/ 131 h 8"/>
                <a:gd name="T2" fmla="*/ 0 w 9"/>
                <a:gd name="T3" fmla="*/ 69 h 8"/>
                <a:gd name="T4" fmla="*/ 0 w 9"/>
                <a:gd name="T5" fmla="*/ 69 h 8"/>
                <a:gd name="T6" fmla="*/ 49 w 9"/>
                <a:gd name="T7" fmla="*/ 0 h 8"/>
                <a:gd name="T8" fmla="*/ 116 w 9"/>
                <a:gd name="T9" fmla="*/ 69 h 8"/>
                <a:gd name="T10" fmla="*/ 49 w 9"/>
                <a:gd name="T11" fmla="*/ 131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8">
                  <a:moveTo>
                    <a:pt x="4" y="8"/>
                  </a:moveTo>
                  <a:cubicBezTo>
                    <a:pt x="2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7" y="0"/>
                    <a:pt x="9" y="1"/>
                    <a:pt x="9" y="4"/>
                  </a:cubicBezTo>
                  <a:cubicBezTo>
                    <a:pt x="9" y="6"/>
                    <a:pt x="7" y="8"/>
                    <a:pt x="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386" name="Freeform 369"/>
            <p:cNvSpPr>
              <a:spLocks noChangeArrowheads="1"/>
            </p:cNvSpPr>
            <p:nvPr/>
          </p:nvSpPr>
          <p:spPr bwMode="auto">
            <a:xfrm>
              <a:off x="5436" y="347"/>
              <a:ext cx="12" cy="11"/>
            </a:xfrm>
            <a:custGeom>
              <a:avLst/>
              <a:gdLst>
                <a:gd name="T0" fmla="*/ 120 w 8"/>
                <a:gd name="T1" fmla="*/ 131 h 8"/>
                <a:gd name="T2" fmla="*/ 0 w 8"/>
                <a:gd name="T3" fmla="*/ 69 h 8"/>
                <a:gd name="T4" fmla="*/ 0 w 8"/>
                <a:gd name="T5" fmla="*/ 69 h 8"/>
                <a:gd name="T6" fmla="*/ 120 w 8"/>
                <a:gd name="T7" fmla="*/ 0 h 8"/>
                <a:gd name="T8" fmla="*/ 230 w 8"/>
                <a:gd name="T9" fmla="*/ 69 h 8"/>
                <a:gd name="T10" fmla="*/ 120 w 8"/>
                <a:gd name="T11" fmla="*/ 131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" h="8">
                  <a:moveTo>
                    <a:pt x="4" y="8"/>
                  </a:moveTo>
                  <a:cubicBezTo>
                    <a:pt x="2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6" y="0"/>
                    <a:pt x="8" y="1"/>
                    <a:pt x="8" y="4"/>
                  </a:cubicBezTo>
                  <a:cubicBezTo>
                    <a:pt x="8" y="6"/>
                    <a:pt x="6" y="8"/>
                    <a:pt x="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387" name="Freeform 370"/>
            <p:cNvSpPr>
              <a:spLocks noChangeArrowheads="1"/>
            </p:cNvSpPr>
            <p:nvPr/>
          </p:nvSpPr>
          <p:spPr bwMode="auto">
            <a:xfrm>
              <a:off x="5415" y="333"/>
              <a:ext cx="12" cy="11"/>
            </a:xfrm>
            <a:custGeom>
              <a:avLst/>
              <a:gdLst>
                <a:gd name="T0" fmla="*/ 64 w 9"/>
                <a:gd name="T1" fmla="*/ 131 h 8"/>
                <a:gd name="T2" fmla="*/ 49 w 9"/>
                <a:gd name="T3" fmla="*/ 131 h 8"/>
                <a:gd name="T4" fmla="*/ 0 w 9"/>
                <a:gd name="T5" fmla="*/ 69 h 8"/>
                <a:gd name="T6" fmla="*/ 0 w 9"/>
                <a:gd name="T7" fmla="*/ 69 h 8"/>
                <a:gd name="T8" fmla="*/ 49 w 9"/>
                <a:gd name="T9" fmla="*/ 0 h 8"/>
                <a:gd name="T10" fmla="*/ 64 w 9"/>
                <a:gd name="T11" fmla="*/ 0 h 8"/>
                <a:gd name="T12" fmla="*/ 113 w 9"/>
                <a:gd name="T13" fmla="*/ 69 h 8"/>
                <a:gd name="T14" fmla="*/ 64 w 9"/>
                <a:gd name="T15" fmla="*/ 131 h 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9" h="8">
                  <a:moveTo>
                    <a:pt x="5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6"/>
                    <a:pt x="7" y="8"/>
                    <a:pt x="5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388" name="Oval 371"/>
            <p:cNvSpPr>
              <a:spLocks noChangeArrowheads="1"/>
            </p:cNvSpPr>
            <p:nvPr/>
          </p:nvSpPr>
          <p:spPr bwMode="auto">
            <a:xfrm>
              <a:off x="5600" y="347"/>
              <a:ext cx="12" cy="11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US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389" name="Freeform 372"/>
            <p:cNvSpPr>
              <a:spLocks noChangeArrowheads="1"/>
            </p:cNvSpPr>
            <p:nvPr/>
          </p:nvSpPr>
          <p:spPr bwMode="auto">
            <a:xfrm>
              <a:off x="5580" y="333"/>
              <a:ext cx="11" cy="11"/>
            </a:xfrm>
            <a:custGeom>
              <a:avLst/>
              <a:gdLst>
                <a:gd name="T0" fmla="*/ 69 w 8"/>
                <a:gd name="T1" fmla="*/ 131 h 8"/>
                <a:gd name="T2" fmla="*/ 69 w 8"/>
                <a:gd name="T3" fmla="*/ 131 h 8"/>
                <a:gd name="T4" fmla="*/ 0 w 8"/>
                <a:gd name="T5" fmla="*/ 69 h 8"/>
                <a:gd name="T6" fmla="*/ 0 w 8"/>
                <a:gd name="T7" fmla="*/ 69 h 8"/>
                <a:gd name="T8" fmla="*/ 69 w 8"/>
                <a:gd name="T9" fmla="*/ 0 h 8"/>
                <a:gd name="T10" fmla="*/ 69 w 8"/>
                <a:gd name="T11" fmla="*/ 0 h 8"/>
                <a:gd name="T12" fmla="*/ 131 w 8"/>
                <a:gd name="T13" fmla="*/ 69 h 8"/>
                <a:gd name="T14" fmla="*/ 69 w 8"/>
                <a:gd name="T15" fmla="*/ 131 h 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8" h="8">
                  <a:moveTo>
                    <a:pt x="4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6"/>
                    <a:pt x="6" y="8"/>
                    <a:pt x="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390" name="Freeform 373"/>
            <p:cNvSpPr>
              <a:spLocks noChangeArrowheads="1"/>
            </p:cNvSpPr>
            <p:nvPr/>
          </p:nvSpPr>
          <p:spPr bwMode="auto">
            <a:xfrm>
              <a:off x="5558" y="347"/>
              <a:ext cx="12" cy="11"/>
            </a:xfrm>
            <a:custGeom>
              <a:avLst/>
              <a:gdLst>
                <a:gd name="T0" fmla="*/ 49 w 9"/>
                <a:gd name="T1" fmla="*/ 131 h 8"/>
                <a:gd name="T2" fmla="*/ 0 w 9"/>
                <a:gd name="T3" fmla="*/ 69 h 8"/>
                <a:gd name="T4" fmla="*/ 0 w 9"/>
                <a:gd name="T5" fmla="*/ 69 h 8"/>
                <a:gd name="T6" fmla="*/ 49 w 9"/>
                <a:gd name="T7" fmla="*/ 0 h 8"/>
                <a:gd name="T8" fmla="*/ 113 w 9"/>
                <a:gd name="T9" fmla="*/ 69 h 8"/>
                <a:gd name="T10" fmla="*/ 49 w 9"/>
                <a:gd name="T11" fmla="*/ 131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8">
                  <a:moveTo>
                    <a:pt x="4" y="8"/>
                  </a:moveTo>
                  <a:cubicBezTo>
                    <a:pt x="2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7" y="0"/>
                    <a:pt x="9" y="1"/>
                    <a:pt x="9" y="4"/>
                  </a:cubicBezTo>
                  <a:cubicBezTo>
                    <a:pt x="9" y="6"/>
                    <a:pt x="7" y="8"/>
                    <a:pt x="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391" name="Freeform 374"/>
            <p:cNvSpPr>
              <a:spLocks noChangeArrowheads="1"/>
            </p:cNvSpPr>
            <p:nvPr/>
          </p:nvSpPr>
          <p:spPr bwMode="auto">
            <a:xfrm>
              <a:off x="5538" y="333"/>
              <a:ext cx="12" cy="11"/>
            </a:xfrm>
            <a:custGeom>
              <a:avLst/>
              <a:gdLst>
                <a:gd name="T0" fmla="*/ 64 w 9"/>
                <a:gd name="T1" fmla="*/ 131 h 8"/>
                <a:gd name="T2" fmla="*/ 49 w 9"/>
                <a:gd name="T3" fmla="*/ 131 h 8"/>
                <a:gd name="T4" fmla="*/ 0 w 9"/>
                <a:gd name="T5" fmla="*/ 69 h 8"/>
                <a:gd name="T6" fmla="*/ 0 w 9"/>
                <a:gd name="T7" fmla="*/ 69 h 8"/>
                <a:gd name="T8" fmla="*/ 49 w 9"/>
                <a:gd name="T9" fmla="*/ 0 h 8"/>
                <a:gd name="T10" fmla="*/ 64 w 9"/>
                <a:gd name="T11" fmla="*/ 0 h 8"/>
                <a:gd name="T12" fmla="*/ 113 w 9"/>
                <a:gd name="T13" fmla="*/ 69 h 8"/>
                <a:gd name="T14" fmla="*/ 64 w 9"/>
                <a:gd name="T15" fmla="*/ 131 h 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9" h="8">
                  <a:moveTo>
                    <a:pt x="5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6"/>
                    <a:pt x="7" y="8"/>
                    <a:pt x="5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392" name="Freeform 375"/>
            <p:cNvSpPr>
              <a:spLocks noChangeArrowheads="1"/>
            </p:cNvSpPr>
            <p:nvPr/>
          </p:nvSpPr>
          <p:spPr bwMode="auto">
            <a:xfrm>
              <a:off x="5518" y="347"/>
              <a:ext cx="12" cy="11"/>
            </a:xfrm>
            <a:custGeom>
              <a:avLst/>
              <a:gdLst>
                <a:gd name="T0" fmla="*/ 120 w 8"/>
                <a:gd name="T1" fmla="*/ 131 h 8"/>
                <a:gd name="T2" fmla="*/ 0 w 8"/>
                <a:gd name="T3" fmla="*/ 69 h 8"/>
                <a:gd name="T4" fmla="*/ 0 w 8"/>
                <a:gd name="T5" fmla="*/ 69 h 8"/>
                <a:gd name="T6" fmla="*/ 120 w 8"/>
                <a:gd name="T7" fmla="*/ 0 h 8"/>
                <a:gd name="T8" fmla="*/ 230 w 8"/>
                <a:gd name="T9" fmla="*/ 69 h 8"/>
                <a:gd name="T10" fmla="*/ 120 w 8"/>
                <a:gd name="T11" fmla="*/ 131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" h="8">
                  <a:moveTo>
                    <a:pt x="4" y="8"/>
                  </a:moveTo>
                  <a:cubicBezTo>
                    <a:pt x="2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6" y="0"/>
                    <a:pt x="8" y="1"/>
                    <a:pt x="8" y="4"/>
                  </a:cubicBezTo>
                  <a:cubicBezTo>
                    <a:pt x="8" y="6"/>
                    <a:pt x="6" y="8"/>
                    <a:pt x="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393" name="Freeform 376"/>
            <p:cNvSpPr>
              <a:spLocks noChangeArrowheads="1"/>
            </p:cNvSpPr>
            <p:nvPr/>
          </p:nvSpPr>
          <p:spPr bwMode="auto">
            <a:xfrm>
              <a:off x="5496" y="333"/>
              <a:ext cx="12" cy="11"/>
            </a:xfrm>
            <a:custGeom>
              <a:avLst/>
              <a:gdLst>
                <a:gd name="T0" fmla="*/ 49 w 9"/>
                <a:gd name="T1" fmla="*/ 131 h 8"/>
                <a:gd name="T2" fmla="*/ 49 w 9"/>
                <a:gd name="T3" fmla="*/ 131 h 8"/>
                <a:gd name="T4" fmla="*/ 0 w 9"/>
                <a:gd name="T5" fmla="*/ 69 h 8"/>
                <a:gd name="T6" fmla="*/ 0 w 9"/>
                <a:gd name="T7" fmla="*/ 69 h 8"/>
                <a:gd name="T8" fmla="*/ 49 w 9"/>
                <a:gd name="T9" fmla="*/ 0 h 8"/>
                <a:gd name="T10" fmla="*/ 49 w 9"/>
                <a:gd name="T11" fmla="*/ 0 h 8"/>
                <a:gd name="T12" fmla="*/ 113 w 9"/>
                <a:gd name="T13" fmla="*/ 69 h 8"/>
                <a:gd name="T14" fmla="*/ 49 w 9"/>
                <a:gd name="T15" fmla="*/ 131 h 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9" h="8">
                  <a:moveTo>
                    <a:pt x="4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6"/>
                    <a:pt x="7" y="8"/>
                    <a:pt x="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394" name="Freeform 377"/>
            <p:cNvSpPr>
              <a:spLocks noChangeArrowheads="1"/>
            </p:cNvSpPr>
            <p:nvPr/>
          </p:nvSpPr>
          <p:spPr bwMode="auto">
            <a:xfrm>
              <a:off x="5455" y="333"/>
              <a:ext cx="13" cy="11"/>
            </a:xfrm>
            <a:custGeom>
              <a:avLst/>
              <a:gdLst>
                <a:gd name="T0" fmla="*/ 108 w 9"/>
                <a:gd name="T1" fmla="*/ 131 h 8"/>
                <a:gd name="T2" fmla="*/ 108 w 9"/>
                <a:gd name="T3" fmla="*/ 131 h 8"/>
                <a:gd name="T4" fmla="*/ 0 w 9"/>
                <a:gd name="T5" fmla="*/ 69 h 8"/>
                <a:gd name="T6" fmla="*/ 108 w 9"/>
                <a:gd name="T7" fmla="*/ 0 h 8"/>
                <a:gd name="T8" fmla="*/ 108 w 9"/>
                <a:gd name="T9" fmla="*/ 0 h 8"/>
                <a:gd name="T10" fmla="*/ 188 w 9"/>
                <a:gd name="T11" fmla="*/ 69 h 8"/>
                <a:gd name="T12" fmla="*/ 108 w 9"/>
                <a:gd name="T13" fmla="*/ 131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8">
                  <a:moveTo>
                    <a:pt x="5" y="8"/>
                  </a:moveTo>
                  <a:cubicBezTo>
                    <a:pt x="5" y="8"/>
                    <a:pt x="5" y="8"/>
                    <a:pt x="5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6"/>
                    <a:pt x="7" y="8"/>
                    <a:pt x="5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395" name="Freeform 378"/>
            <p:cNvSpPr>
              <a:spLocks noChangeArrowheads="1"/>
            </p:cNvSpPr>
            <p:nvPr/>
          </p:nvSpPr>
          <p:spPr bwMode="auto">
            <a:xfrm>
              <a:off x="5744" y="333"/>
              <a:ext cx="13" cy="11"/>
            </a:xfrm>
            <a:custGeom>
              <a:avLst/>
              <a:gdLst>
                <a:gd name="T0" fmla="*/ 108 w 9"/>
                <a:gd name="T1" fmla="*/ 131 h 8"/>
                <a:gd name="T2" fmla="*/ 81 w 9"/>
                <a:gd name="T3" fmla="*/ 131 h 8"/>
                <a:gd name="T4" fmla="*/ 0 w 9"/>
                <a:gd name="T5" fmla="*/ 69 h 8"/>
                <a:gd name="T6" fmla="*/ 81 w 9"/>
                <a:gd name="T7" fmla="*/ 0 h 8"/>
                <a:gd name="T8" fmla="*/ 108 w 9"/>
                <a:gd name="T9" fmla="*/ 0 h 8"/>
                <a:gd name="T10" fmla="*/ 188 w 9"/>
                <a:gd name="T11" fmla="*/ 69 h 8"/>
                <a:gd name="T12" fmla="*/ 108 w 9"/>
                <a:gd name="T13" fmla="*/ 131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8">
                  <a:moveTo>
                    <a:pt x="5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6"/>
                    <a:pt x="7" y="8"/>
                    <a:pt x="5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396" name="Freeform 379"/>
            <p:cNvSpPr>
              <a:spLocks noChangeArrowheads="1"/>
            </p:cNvSpPr>
            <p:nvPr/>
          </p:nvSpPr>
          <p:spPr bwMode="auto">
            <a:xfrm>
              <a:off x="5723" y="347"/>
              <a:ext cx="12" cy="11"/>
            </a:xfrm>
            <a:custGeom>
              <a:avLst/>
              <a:gdLst>
                <a:gd name="T0" fmla="*/ 64 w 9"/>
                <a:gd name="T1" fmla="*/ 131 h 8"/>
                <a:gd name="T2" fmla="*/ 0 w 9"/>
                <a:gd name="T3" fmla="*/ 69 h 8"/>
                <a:gd name="T4" fmla="*/ 0 w 9"/>
                <a:gd name="T5" fmla="*/ 69 h 8"/>
                <a:gd name="T6" fmla="*/ 64 w 9"/>
                <a:gd name="T7" fmla="*/ 0 h 8"/>
                <a:gd name="T8" fmla="*/ 113 w 9"/>
                <a:gd name="T9" fmla="*/ 69 h 8"/>
                <a:gd name="T10" fmla="*/ 64 w 9"/>
                <a:gd name="T11" fmla="*/ 131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8">
                  <a:moveTo>
                    <a:pt x="5" y="8"/>
                  </a:moveTo>
                  <a:cubicBezTo>
                    <a:pt x="2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"/>
                    <a:pt x="2" y="0"/>
                    <a:pt x="5" y="0"/>
                  </a:cubicBezTo>
                  <a:cubicBezTo>
                    <a:pt x="7" y="0"/>
                    <a:pt x="9" y="1"/>
                    <a:pt x="9" y="4"/>
                  </a:cubicBezTo>
                  <a:cubicBezTo>
                    <a:pt x="9" y="6"/>
                    <a:pt x="7" y="8"/>
                    <a:pt x="5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397" name="Freeform 380"/>
            <p:cNvSpPr>
              <a:spLocks noChangeArrowheads="1"/>
            </p:cNvSpPr>
            <p:nvPr/>
          </p:nvSpPr>
          <p:spPr bwMode="auto">
            <a:xfrm>
              <a:off x="5703" y="333"/>
              <a:ext cx="11" cy="11"/>
            </a:xfrm>
            <a:custGeom>
              <a:avLst/>
              <a:gdLst>
                <a:gd name="T0" fmla="*/ 69 w 8"/>
                <a:gd name="T1" fmla="*/ 131 h 8"/>
                <a:gd name="T2" fmla="*/ 69 w 8"/>
                <a:gd name="T3" fmla="*/ 131 h 8"/>
                <a:gd name="T4" fmla="*/ 0 w 8"/>
                <a:gd name="T5" fmla="*/ 69 h 8"/>
                <a:gd name="T6" fmla="*/ 0 w 8"/>
                <a:gd name="T7" fmla="*/ 69 h 8"/>
                <a:gd name="T8" fmla="*/ 69 w 8"/>
                <a:gd name="T9" fmla="*/ 0 h 8"/>
                <a:gd name="T10" fmla="*/ 69 w 8"/>
                <a:gd name="T11" fmla="*/ 0 h 8"/>
                <a:gd name="T12" fmla="*/ 131 w 8"/>
                <a:gd name="T13" fmla="*/ 69 h 8"/>
                <a:gd name="T14" fmla="*/ 69 w 8"/>
                <a:gd name="T15" fmla="*/ 131 h 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8" h="8">
                  <a:moveTo>
                    <a:pt x="4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7" y="0"/>
                    <a:pt x="8" y="2"/>
                    <a:pt x="8" y="4"/>
                  </a:cubicBezTo>
                  <a:cubicBezTo>
                    <a:pt x="8" y="6"/>
                    <a:pt x="7" y="8"/>
                    <a:pt x="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398" name="Oval 381"/>
            <p:cNvSpPr>
              <a:spLocks noChangeArrowheads="1"/>
            </p:cNvSpPr>
            <p:nvPr/>
          </p:nvSpPr>
          <p:spPr bwMode="auto">
            <a:xfrm>
              <a:off x="5682" y="347"/>
              <a:ext cx="12" cy="11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US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399" name="Freeform 382"/>
            <p:cNvSpPr>
              <a:spLocks noChangeArrowheads="1"/>
            </p:cNvSpPr>
            <p:nvPr/>
          </p:nvSpPr>
          <p:spPr bwMode="auto">
            <a:xfrm>
              <a:off x="5661" y="333"/>
              <a:ext cx="12" cy="11"/>
            </a:xfrm>
            <a:custGeom>
              <a:avLst/>
              <a:gdLst>
                <a:gd name="T0" fmla="*/ 64 w 9"/>
                <a:gd name="T1" fmla="*/ 131 h 8"/>
                <a:gd name="T2" fmla="*/ 64 w 9"/>
                <a:gd name="T3" fmla="*/ 131 h 8"/>
                <a:gd name="T4" fmla="*/ 0 w 9"/>
                <a:gd name="T5" fmla="*/ 69 h 8"/>
                <a:gd name="T6" fmla="*/ 0 w 9"/>
                <a:gd name="T7" fmla="*/ 69 h 8"/>
                <a:gd name="T8" fmla="*/ 64 w 9"/>
                <a:gd name="T9" fmla="*/ 0 h 8"/>
                <a:gd name="T10" fmla="*/ 64 w 9"/>
                <a:gd name="T11" fmla="*/ 0 h 8"/>
                <a:gd name="T12" fmla="*/ 113 w 9"/>
                <a:gd name="T13" fmla="*/ 69 h 8"/>
                <a:gd name="T14" fmla="*/ 64 w 9"/>
                <a:gd name="T15" fmla="*/ 131 h 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9" h="8">
                  <a:moveTo>
                    <a:pt x="5" y="8"/>
                  </a:moveTo>
                  <a:cubicBezTo>
                    <a:pt x="5" y="8"/>
                    <a:pt x="5" y="8"/>
                    <a:pt x="5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6"/>
                    <a:pt x="7" y="8"/>
                    <a:pt x="5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400" name="Freeform 383"/>
            <p:cNvSpPr>
              <a:spLocks noChangeArrowheads="1"/>
            </p:cNvSpPr>
            <p:nvPr/>
          </p:nvSpPr>
          <p:spPr bwMode="auto">
            <a:xfrm>
              <a:off x="5640" y="347"/>
              <a:ext cx="12" cy="11"/>
            </a:xfrm>
            <a:custGeom>
              <a:avLst/>
              <a:gdLst>
                <a:gd name="T0" fmla="*/ 120 w 8"/>
                <a:gd name="T1" fmla="*/ 131 h 8"/>
                <a:gd name="T2" fmla="*/ 0 w 8"/>
                <a:gd name="T3" fmla="*/ 69 h 8"/>
                <a:gd name="T4" fmla="*/ 0 w 8"/>
                <a:gd name="T5" fmla="*/ 69 h 8"/>
                <a:gd name="T6" fmla="*/ 120 w 8"/>
                <a:gd name="T7" fmla="*/ 0 h 8"/>
                <a:gd name="T8" fmla="*/ 230 w 8"/>
                <a:gd name="T9" fmla="*/ 69 h 8"/>
                <a:gd name="T10" fmla="*/ 230 w 8"/>
                <a:gd name="T11" fmla="*/ 69 h 8"/>
                <a:gd name="T12" fmla="*/ 120 w 8"/>
                <a:gd name="T13" fmla="*/ 131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" h="8">
                  <a:moveTo>
                    <a:pt x="4" y="8"/>
                  </a:moveTo>
                  <a:cubicBezTo>
                    <a:pt x="2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6" y="0"/>
                    <a:pt x="8" y="1"/>
                    <a:pt x="8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6" y="8"/>
                    <a:pt x="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401" name="Freeform 384"/>
            <p:cNvSpPr>
              <a:spLocks noChangeArrowheads="1"/>
            </p:cNvSpPr>
            <p:nvPr/>
          </p:nvSpPr>
          <p:spPr bwMode="auto">
            <a:xfrm>
              <a:off x="5621" y="333"/>
              <a:ext cx="12" cy="11"/>
            </a:xfrm>
            <a:custGeom>
              <a:avLst/>
              <a:gdLst>
                <a:gd name="T0" fmla="*/ 49 w 9"/>
                <a:gd name="T1" fmla="*/ 131 h 8"/>
                <a:gd name="T2" fmla="*/ 49 w 9"/>
                <a:gd name="T3" fmla="*/ 131 h 8"/>
                <a:gd name="T4" fmla="*/ 0 w 9"/>
                <a:gd name="T5" fmla="*/ 69 h 8"/>
                <a:gd name="T6" fmla="*/ 49 w 9"/>
                <a:gd name="T7" fmla="*/ 0 h 8"/>
                <a:gd name="T8" fmla="*/ 49 w 9"/>
                <a:gd name="T9" fmla="*/ 0 h 8"/>
                <a:gd name="T10" fmla="*/ 113 w 9"/>
                <a:gd name="T11" fmla="*/ 69 h 8"/>
                <a:gd name="T12" fmla="*/ 49 w 9"/>
                <a:gd name="T13" fmla="*/ 131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8">
                  <a:moveTo>
                    <a:pt x="4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6"/>
                    <a:pt x="7" y="8"/>
                    <a:pt x="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402" name="Freeform 385"/>
            <p:cNvSpPr>
              <a:spLocks noChangeArrowheads="1"/>
            </p:cNvSpPr>
            <p:nvPr/>
          </p:nvSpPr>
          <p:spPr bwMode="auto">
            <a:xfrm>
              <a:off x="5393" y="347"/>
              <a:ext cx="13" cy="11"/>
            </a:xfrm>
            <a:custGeom>
              <a:avLst/>
              <a:gdLst>
                <a:gd name="T0" fmla="*/ 108 w 9"/>
                <a:gd name="T1" fmla="*/ 131 h 8"/>
                <a:gd name="T2" fmla="*/ 0 w 9"/>
                <a:gd name="T3" fmla="*/ 69 h 8"/>
                <a:gd name="T4" fmla="*/ 0 w 9"/>
                <a:gd name="T5" fmla="*/ 69 h 8"/>
                <a:gd name="T6" fmla="*/ 108 w 9"/>
                <a:gd name="T7" fmla="*/ 0 h 8"/>
                <a:gd name="T8" fmla="*/ 188 w 9"/>
                <a:gd name="T9" fmla="*/ 69 h 8"/>
                <a:gd name="T10" fmla="*/ 108 w 9"/>
                <a:gd name="T11" fmla="*/ 131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8">
                  <a:moveTo>
                    <a:pt x="5" y="8"/>
                  </a:moveTo>
                  <a:cubicBezTo>
                    <a:pt x="2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"/>
                    <a:pt x="2" y="0"/>
                    <a:pt x="5" y="0"/>
                  </a:cubicBezTo>
                  <a:cubicBezTo>
                    <a:pt x="7" y="0"/>
                    <a:pt x="9" y="1"/>
                    <a:pt x="9" y="4"/>
                  </a:cubicBezTo>
                  <a:cubicBezTo>
                    <a:pt x="9" y="6"/>
                    <a:pt x="7" y="8"/>
                    <a:pt x="5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403" name="Freeform 386"/>
            <p:cNvSpPr>
              <a:spLocks noChangeArrowheads="1"/>
            </p:cNvSpPr>
            <p:nvPr/>
          </p:nvSpPr>
          <p:spPr bwMode="auto">
            <a:xfrm>
              <a:off x="5106" y="347"/>
              <a:ext cx="11" cy="11"/>
            </a:xfrm>
            <a:custGeom>
              <a:avLst/>
              <a:gdLst>
                <a:gd name="T0" fmla="*/ 69 w 8"/>
                <a:gd name="T1" fmla="*/ 131 h 8"/>
                <a:gd name="T2" fmla="*/ 0 w 8"/>
                <a:gd name="T3" fmla="*/ 69 h 8"/>
                <a:gd name="T4" fmla="*/ 0 w 8"/>
                <a:gd name="T5" fmla="*/ 69 h 8"/>
                <a:gd name="T6" fmla="*/ 69 w 8"/>
                <a:gd name="T7" fmla="*/ 0 h 8"/>
                <a:gd name="T8" fmla="*/ 131 w 8"/>
                <a:gd name="T9" fmla="*/ 69 h 8"/>
                <a:gd name="T10" fmla="*/ 69 w 8"/>
                <a:gd name="T11" fmla="*/ 131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" h="8">
                  <a:moveTo>
                    <a:pt x="4" y="8"/>
                  </a:moveTo>
                  <a:cubicBezTo>
                    <a:pt x="2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6" y="0"/>
                    <a:pt x="8" y="1"/>
                    <a:pt x="8" y="4"/>
                  </a:cubicBezTo>
                  <a:cubicBezTo>
                    <a:pt x="8" y="6"/>
                    <a:pt x="6" y="8"/>
                    <a:pt x="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404" name="Freeform 387"/>
            <p:cNvSpPr>
              <a:spLocks noChangeArrowheads="1"/>
            </p:cNvSpPr>
            <p:nvPr/>
          </p:nvSpPr>
          <p:spPr bwMode="auto">
            <a:xfrm>
              <a:off x="5374" y="333"/>
              <a:ext cx="11" cy="11"/>
            </a:xfrm>
            <a:custGeom>
              <a:avLst/>
              <a:gdLst>
                <a:gd name="T0" fmla="*/ 69 w 8"/>
                <a:gd name="T1" fmla="*/ 131 h 8"/>
                <a:gd name="T2" fmla="*/ 69 w 8"/>
                <a:gd name="T3" fmla="*/ 131 h 8"/>
                <a:gd name="T4" fmla="*/ 0 w 8"/>
                <a:gd name="T5" fmla="*/ 69 h 8"/>
                <a:gd name="T6" fmla="*/ 0 w 8"/>
                <a:gd name="T7" fmla="*/ 69 h 8"/>
                <a:gd name="T8" fmla="*/ 69 w 8"/>
                <a:gd name="T9" fmla="*/ 0 h 8"/>
                <a:gd name="T10" fmla="*/ 69 w 8"/>
                <a:gd name="T11" fmla="*/ 0 h 8"/>
                <a:gd name="T12" fmla="*/ 131 w 8"/>
                <a:gd name="T13" fmla="*/ 69 h 8"/>
                <a:gd name="T14" fmla="*/ 69 w 8"/>
                <a:gd name="T15" fmla="*/ 131 h 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8" h="8">
                  <a:moveTo>
                    <a:pt x="4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6"/>
                    <a:pt x="6" y="8"/>
                    <a:pt x="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405" name="Oval 388"/>
            <p:cNvSpPr>
              <a:spLocks noChangeArrowheads="1"/>
            </p:cNvSpPr>
            <p:nvPr/>
          </p:nvSpPr>
          <p:spPr bwMode="auto">
            <a:xfrm>
              <a:off x="5229" y="347"/>
              <a:ext cx="13" cy="11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US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406" name="Freeform 389"/>
            <p:cNvSpPr>
              <a:spLocks noChangeArrowheads="1"/>
            </p:cNvSpPr>
            <p:nvPr/>
          </p:nvSpPr>
          <p:spPr bwMode="auto">
            <a:xfrm>
              <a:off x="5312" y="347"/>
              <a:ext cx="11" cy="11"/>
            </a:xfrm>
            <a:custGeom>
              <a:avLst/>
              <a:gdLst>
                <a:gd name="T0" fmla="*/ 69 w 8"/>
                <a:gd name="T1" fmla="*/ 131 h 8"/>
                <a:gd name="T2" fmla="*/ 0 w 8"/>
                <a:gd name="T3" fmla="*/ 69 h 8"/>
                <a:gd name="T4" fmla="*/ 0 w 8"/>
                <a:gd name="T5" fmla="*/ 69 h 8"/>
                <a:gd name="T6" fmla="*/ 69 w 8"/>
                <a:gd name="T7" fmla="*/ 0 h 8"/>
                <a:gd name="T8" fmla="*/ 131 w 8"/>
                <a:gd name="T9" fmla="*/ 69 h 8"/>
                <a:gd name="T10" fmla="*/ 69 w 8"/>
                <a:gd name="T11" fmla="*/ 131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" h="8">
                  <a:moveTo>
                    <a:pt x="4" y="8"/>
                  </a:moveTo>
                  <a:cubicBezTo>
                    <a:pt x="2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6" y="0"/>
                    <a:pt x="8" y="1"/>
                    <a:pt x="8" y="4"/>
                  </a:cubicBezTo>
                  <a:cubicBezTo>
                    <a:pt x="8" y="6"/>
                    <a:pt x="6" y="8"/>
                    <a:pt x="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407" name="Freeform 390"/>
            <p:cNvSpPr>
              <a:spLocks noChangeArrowheads="1"/>
            </p:cNvSpPr>
            <p:nvPr/>
          </p:nvSpPr>
          <p:spPr bwMode="auto">
            <a:xfrm>
              <a:off x="5085" y="333"/>
              <a:ext cx="13" cy="11"/>
            </a:xfrm>
            <a:custGeom>
              <a:avLst/>
              <a:gdLst>
                <a:gd name="T0" fmla="*/ 108 w 9"/>
                <a:gd name="T1" fmla="*/ 131 h 8"/>
                <a:gd name="T2" fmla="*/ 81 w 9"/>
                <a:gd name="T3" fmla="*/ 131 h 8"/>
                <a:gd name="T4" fmla="*/ 0 w 9"/>
                <a:gd name="T5" fmla="*/ 69 h 8"/>
                <a:gd name="T6" fmla="*/ 0 w 9"/>
                <a:gd name="T7" fmla="*/ 69 h 8"/>
                <a:gd name="T8" fmla="*/ 81 w 9"/>
                <a:gd name="T9" fmla="*/ 0 h 8"/>
                <a:gd name="T10" fmla="*/ 108 w 9"/>
                <a:gd name="T11" fmla="*/ 0 h 8"/>
                <a:gd name="T12" fmla="*/ 188 w 9"/>
                <a:gd name="T13" fmla="*/ 69 h 8"/>
                <a:gd name="T14" fmla="*/ 108 w 9"/>
                <a:gd name="T15" fmla="*/ 131 h 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9" h="8">
                  <a:moveTo>
                    <a:pt x="5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6"/>
                    <a:pt x="7" y="8"/>
                    <a:pt x="5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408" name="Freeform 391"/>
            <p:cNvSpPr>
              <a:spLocks noChangeArrowheads="1"/>
            </p:cNvSpPr>
            <p:nvPr/>
          </p:nvSpPr>
          <p:spPr bwMode="auto">
            <a:xfrm>
              <a:off x="5002" y="333"/>
              <a:ext cx="12" cy="11"/>
            </a:xfrm>
            <a:custGeom>
              <a:avLst/>
              <a:gdLst>
                <a:gd name="T0" fmla="*/ 65 w 9"/>
                <a:gd name="T1" fmla="*/ 131 h 8"/>
                <a:gd name="T2" fmla="*/ 65 w 9"/>
                <a:gd name="T3" fmla="*/ 131 h 8"/>
                <a:gd name="T4" fmla="*/ 0 w 9"/>
                <a:gd name="T5" fmla="*/ 69 h 8"/>
                <a:gd name="T6" fmla="*/ 0 w 9"/>
                <a:gd name="T7" fmla="*/ 69 h 8"/>
                <a:gd name="T8" fmla="*/ 65 w 9"/>
                <a:gd name="T9" fmla="*/ 0 h 8"/>
                <a:gd name="T10" fmla="*/ 65 w 9"/>
                <a:gd name="T11" fmla="*/ 0 h 8"/>
                <a:gd name="T12" fmla="*/ 116 w 9"/>
                <a:gd name="T13" fmla="*/ 69 h 8"/>
                <a:gd name="T14" fmla="*/ 65 w 9"/>
                <a:gd name="T15" fmla="*/ 131 h 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9" h="8">
                  <a:moveTo>
                    <a:pt x="5" y="8"/>
                  </a:moveTo>
                  <a:cubicBezTo>
                    <a:pt x="5" y="8"/>
                    <a:pt x="5" y="8"/>
                    <a:pt x="5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6"/>
                    <a:pt x="7" y="8"/>
                    <a:pt x="5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409" name="Freeform 392"/>
            <p:cNvSpPr>
              <a:spLocks noChangeArrowheads="1"/>
            </p:cNvSpPr>
            <p:nvPr/>
          </p:nvSpPr>
          <p:spPr bwMode="auto">
            <a:xfrm>
              <a:off x="5063" y="347"/>
              <a:ext cx="14" cy="11"/>
            </a:xfrm>
            <a:custGeom>
              <a:avLst/>
              <a:gdLst>
                <a:gd name="T0" fmla="*/ 182 w 9"/>
                <a:gd name="T1" fmla="*/ 131 h 8"/>
                <a:gd name="T2" fmla="*/ 0 w 9"/>
                <a:gd name="T3" fmla="*/ 69 h 8"/>
                <a:gd name="T4" fmla="*/ 0 w 9"/>
                <a:gd name="T5" fmla="*/ 69 h 8"/>
                <a:gd name="T6" fmla="*/ 182 w 9"/>
                <a:gd name="T7" fmla="*/ 0 h 8"/>
                <a:gd name="T8" fmla="*/ 327 w 9"/>
                <a:gd name="T9" fmla="*/ 69 h 8"/>
                <a:gd name="T10" fmla="*/ 182 w 9"/>
                <a:gd name="T11" fmla="*/ 131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8">
                  <a:moveTo>
                    <a:pt x="5" y="8"/>
                  </a:moveTo>
                  <a:cubicBezTo>
                    <a:pt x="2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"/>
                    <a:pt x="2" y="0"/>
                    <a:pt x="5" y="0"/>
                  </a:cubicBezTo>
                  <a:cubicBezTo>
                    <a:pt x="7" y="0"/>
                    <a:pt x="9" y="1"/>
                    <a:pt x="9" y="4"/>
                  </a:cubicBezTo>
                  <a:cubicBezTo>
                    <a:pt x="9" y="6"/>
                    <a:pt x="7" y="8"/>
                    <a:pt x="5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410" name="Freeform 393"/>
            <p:cNvSpPr>
              <a:spLocks noChangeArrowheads="1"/>
            </p:cNvSpPr>
            <p:nvPr/>
          </p:nvSpPr>
          <p:spPr bwMode="auto">
            <a:xfrm>
              <a:off x="5476" y="366"/>
              <a:ext cx="12" cy="13"/>
            </a:xfrm>
            <a:custGeom>
              <a:avLst/>
              <a:gdLst>
                <a:gd name="T0" fmla="*/ 49 w 9"/>
                <a:gd name="T1" fmla="*/ 188 h 9"/>
                <a:gd name="T2" fmla="*/ 0 w 9"/>
                <a:gd name="T3" fmla="*/ 108 h 9"/>
                <a:gd name="T4" fmla="*/ 0 w 9"/>
                <a:gd name="T5" fmla="*/ 108 h 9"/>
                <a:gd name="T6" fmla="*/ 49 w 9"/>
                <a:gd name="T7" fmla="*/ 0 h 9"/>
                <a:gd name="T8" fmla="*/ 116 w 9"/>
                <a:gd name="T9" fmla="*/ 108 h 9"/>
                <a:gd name="T10" fmla="*/ 49 w 9"/>
                <a:gd name="T11" fmla="*/ 188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411" name="Freeform 394"/>
            <p:cNvSpPr>
              <a:spLocks noChangeArrowheads="1"/>
            </p:cNvSpPr>
            <p:nvPr/>
          </p:nvSpPr>
          <p:spPr bwMode="auto">
            <a:xfrm>
              <a:off x="5436" y="366"/>
              <a:ext cx="12" cy="13"/>
            </a:xfrm>
            <a:custGeom>
              <a:avLst/>
              <a:gdLst>
                <a:gd name="T0" fmla="*/ 120 w 8"/>
                <a:gd name="T1" fmla="*/ 188 h 9"/>
                <a:gd name="T2" fmla="*/ 0 w 8"/>
                <a:gd name="T3" fmla="*/ 108 h 9"/>
                <a:gd name="T4" fmla="*/ 0 w 8"/>
                <a:gd name="T5" fmla="*/ 108 h 9"/>
                <a:gd name="T6" fmla="*/ 120 w 8"/>
                <a:gd name="T7" fmla="*/ 0 h 9"/>
                <a:gd name="T8" fmla="*/ 230 w 8"/>
                <a:gd name="T9" fmla="*/ 108 h 9"/>
                <a:gd name="T10" fmla="*/ 120 w 8"/>
                <a:gd name="T11" fmla="*/ 188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5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412" name="Freeform 395"/>
            <p:cNvSpPr>
              <a:spLocks noChangeArrowheads="1"/>
            </p:cNvSpPr>
            <p:nvPr/>
          </p:nvSpPr>
          <p:spPr bwMode="auto">
            <a:xfrm>
              <a:off x="5415" y="352"/>
              <a:ext cx="12" cy="12"/>
            </a:xfrm>
            <a:custGeom>
              <a:avLst/>
              <a:gdLst>
                <a:gd name="T0" fmla="*/ 49 w 9"/>
                <a:gd name="T1" fmla="*/ 116 h 9"/>
                <a:gd name="T2" fmla="*/ 0 w 9"/>
                <a:gd name="T3" fmla="*/ 65 h 9"/>
                <a:gd name="T4" fmla="*/ 0 w 9"/>
                <a:gd name="T5" fmla="*/ 65 h 9"/>
                <a:gd name="T6" fmla="*/ 49 w 9"/>
                <a:gd name="T7" fmla="*/ 0 h 9"/>
                <a:gd name="T8" fmla="*/ 113 w 9"/>
                <a:gd name="T9" fmla="*/ 65 h 9"/>
                <a:gd name="T10" fmla="*/ 49 w 9"/>
                <a:gd name="T11" fmla="*/ 116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413" name="Freeform 396"/>
            <p:cNvSpPr>
              <a:spLocks noChangeArrowheads="1"/>
            </p:cNvSpPr>
            <p:nvPr/>
          </p:nvSpPr>
          <p:spPr bwMode="auto">
            <a:xfrm>
              <a:off x="5331" y="352"/>
              <a:ext cx="14" cy="12"/>
            </a:xfrm>
            <a:custGeom>
              <a:avLst/>
              <a:gdLst>
                <a:gd name="T0" fmla="*/ 182 w 9"/>
                <a:gd name="T1" fmla="*/ 116 h 9"/>
                <a:gd name="T2" fmla="*/ 0 w 9"/>
                <a:gd name="T3" fmla="*/ 65 h 9"/>
                <a:gd name="T4" fmla="*/ 0 w 9"/>
                <a:gd name="T5" fmla="*/ 65 h 9"/>
                <a:gd name="T6" fmla="*/ 182 w 9"/>
                <a:gd name="T7" fmla="*/ 0 h 9"/>
                <a:gd name="T8" fmla="*/ 327 w 9"/>
                <a:gd name="T9" fmla="*/ 65 h 9"/>
                <a:gd name="T10" fmla="*/ 182 w 9"/>
                <a:gd name="T11" fmla="*/ 116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414" name="Freeform 397"/>
            <p:cNvSpPr>
              <a:spLocks noChangeArrowheads="1"/>
            </p:cNvSpPr>
            <p:nvPr/>
          </p:nvSpPr>
          <p:spPr bwMode="auto">
            <a:xfrm>
              <a:off x="5189" y="366"/>
              <a:ext cx="11" cy="13"/>
            </a:xfrm>
            <a:custGeom>
              <a:avLst/>
              <a:gdLst>
                <a:gd name="T0" fmla="*/ 69 w 8"/>
                <a:gd name="T1" fmla="*/ 188 h 9"/>
                <a:gd name="T2" fmla="*/ 0 w 8"/>
                <a:gd name="T3" fmla="*/ 108 h 9"/>
                <a:gd name="T4" fmla="*/ 0 w 8"/>
                <a:gd name="T5" fmla="*/ 108 h 9"/>
                <a:gd name="T6" fmla="*/ 69 w 8"/>
                <a:gd name="T7" fmla="*/ 0 h 9"/>
                <a:gd name="T8" fmla="*/ 131 w 8"/>
                <a:gd name="T9" fmla="*/ 108 h 9"/>
                <a:gd name="T10" fmla="*/ 69 w 8"/>
                <a:gd name="T11" fmla="*/ 188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1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1" y="0"/>
                    <a:pt x="4" y="0"/>
                  </a:cubicBezTo>
                  <a:cubicBezTo>
                    <a:pt x="6" y="0"/>
                    <a:pt x="8" y="2"/>
                    <a:pt x="8" y="5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415" name="Oval 398"/>
            <p:cNvSpPr>
              <a:spLocks noChangeArrowheads="1"/>
            </p:cNvSpPr>
            <p:nvPr/>
          </p:nvSpPr>
          <p:spPr bwMode="auto">
            <a:xfrm>
              <a:off x="5600" y="366"/>
              <a:ext cx="12" cy="1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US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416" name="Freeform 399"/>
            <p:cNvSpPr>
              <a:spLocks noChangeArrowheads="1"/>
            </p:cNvSpPr>
            <p:nvPr/>
          </p:nvSpPr>
          <p:spPr bwMode="auto">
            <a:xfrm>
              <a:off x="5580" y="352"/>
              <a:ext cx="11" cy="12"/>
            </a:xfrm>
            <a:custGeom>
              <a:avLst/>
              <a:gdLst>
                <a:gd name="T0" fmla="*/ 69 w 8"/>
                <a:gd name="T1" fmla="*/ 116 h 9"/>
                <a:gd name="T2" fmla="*/ 0 w 8"/>
                <a:gd name="T3" fmla="*/ 65 h 9"/>
                <a:gd name="T4" fmla="*/ 0 w 8"/>
                <a:gd name="T5" fmla="*/ 65 h 9"/>
                <a:gd name="T6" fmla="*/ 69 w 8"/>
                <a:gd name="T7" fmla="*/ 0 h 9"/>
                <a:gd name="T8" fmla="*/ 131 w 8"/>
                <a:gd name="T9" fmla="*/ 65 h 9"/>
                <a:gd name="T10" fmla="*/ 69 w 8"/>
                <a:gd name="T11" fmla="*/ 116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5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417" name="Freeform 400"/>
            <p:cNvSpPr>
              <a:spLocks noChangeArrowheads="1"/>
            </p:cNvSpPr>
            <p:nvPr/>
          </p:nvSpPr>
          <p:spPr bwMode="auto">
            <a:xfrm>
              <a:off x="5558" y="366"/>
              <a:ext cx="12" cy="13"/>
            </a:xfrm>
            <a:custGeom>
              <a:avLst/>
              <a:gdLst>
                <a:gd name="T0" fmla="*/ 49 w 9"/>
                <a:gd name="T1" fmla="*/ 188 h 9"/>
                <a:gd name="T2" fmla="*/ 0 w 9"/>
                <a:gd name="T3" fmla="*/ 108 h 9"/>
                <a:gd name="T4" fmla="*/ 0 w 9"/>
                <a:gd name="T5" fmla="*/ 108 h 9"/>
                <a:gd name="T6" fmla="*/ 49 w 9"/>
                <a:gd name="T7" fmla="*/ 0 h 9"/>
                <a:gd name="T8" fmla="*/ 113 w 9"/>
                <a:gd name="T9" fmla="*/ 108 h 9"/>
                <a:gd name="T10" fmla="*/ 49 w 9"/>
                <a:gd name="T11" fmla="*/ 188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418" name="Freeform 401"/>
            <p:cNvSpPr>
              <a:spLocks noChangeArrowheads="1"/>
            </p:cNvSpPr>
            <p:nvPr/>
          </p:nvSpPr>
          <p:spPr bwMode="auto">
            <a:xfrm>
              <a:off x="5538" y="352"/>
              <a:ext cx="12" cy="12"/>
            </a:xfrm>
            <a:custGeom>
              <a:avLst/>
              <a:gdLst>
                <a:gd name="T0" fmla="*/ 64 w 9"/>
                <a:gd name="T1" fmla="*/ 116 h 9"/>
                <a:gd name="T2" fmla="*/ 0 w 9"/>
                <a:gd name="T3" fmla="*/ 65 h 9"/>
                <a:gd name="T4" fmla="*/ 0 w 9"/>
                <a:gd name="T5" fmla="*/ 65 h 9"/>
                <a:gd name="T6" fmla="*/ 64 w 9"/>
                <a:gd name="T7" fmla="*/ 0 h 9"/>
                <a:gd name="T8" fmla="*/ 113 w 9"/>
                <a:gd name="T9" fmla="*/ 65 h 9"/>
                <a:gd name="T10" fmla="*/ 64 w 9"/>
                <a:gd name="T11" fmla="*/ 116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419" name="Freeform 402"/>
            <p:cNvSpPr>
              <a:spLocks noChangeArrowheads="1"/>
            </p:cNvSpPr>
            <p:nvPr/>
          </p:nvSpPr>
          <p:spPr bwMode="auto">
            <a:xfrm>
              <a:off x="5518" y="366"/>
              <a:ext cx="12" cy="13"/>
            </a:xfrm>
            <a:custGeom>
              <a:avLst/>
              <a:gdLst>
                <a:gd name="T0" fmla="*/ 120 w 8"/>
                <a:gd name="T1" fmla="*/ 188 h 9"/>
                <a:gd name="T2" fmla="*/ 0 w 8"/>
                <a:gd name="T3" fmla="*/ 108 h 9"/>
                <a:gd name="T4" fmla="*/ 0 w 8"/>
                <a:gd name="T5" fmla="*/ 108 h 9"/>
                <a:gd name="T6" fmla="*/ 120 w 8"/>
                <a:gd name="T7" fmla="*/ 0 h 9"/>
                <a:gd name="T8" fmla="*/ 230 w 8"/>
                <a:gd name="T9" fmla="*/ 108 h 9"/>
                <a:gd name="T10" fmla="*/ 120 w 8"/>
                <a:gd name="T11" fmla="*/ 188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5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420" name="Freeform 403"/>
            <p:cNvSpPr>
              <a:spLocks noChangeArrowheads="1"/>
            </p:cNvSpPr>
            <p:nvPr/>
          </p:nvSpPr>
          <p:spPr bwMode="auto">
            <a:xfrm>
              <a:off x="5496" y="352"/>
              <a:ext cx="12" cy="12"/>
            </a:xfrm>
            <a:custGeom>
              <a:avLst/>
              <a:gdLst>
                <a:gd name="T0" fmla="*/ 49 w 9"/>
                <a:gd name="T1" fmla="*/ 116 h 9"/>
                <a:gd name="T2" fmla="*/ 0 w 9"/>
                <a:gd name="T3" fmla="*/ 65 h 9"/>
                <a:gd name="T4" fmla="*/ 0 w 9"/>
                <a:gd name="T5" fmla="*/ 65 h 9"/>
                <a:gd name="T6" fmla="*/ 49 w 9"/>
                <a:gd name="T7" fmla="*/ 0 h 9"/>
                <a:gd name="T8" fmla="*/ 113 w 9"/>
                <a:gd name="T9" fmla="*/ 65 h 9"/>
                <a:gd name="T10" fmla="*/ 49 w 9"/>
                <a:gd name="T11" fmla="*/ 116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421" name="Oval 404"/>
            <p:cNvSpPr>
              <a:spLocks noChangeArrowheads="1"/>
            </p:cNvSpPr>
            <p:nvPr/>
          </p:nvSpPr>
          <p:spPr bwMode="auto">
            <a:xfrm>
              <a:off x="5455" y="352"/>
              <a:ext cx="13" cy="12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US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422" name="Oval 405"/>
            <p:cNvSpPr>
              <a:spLocks noChangeArrowheads="1"/>
            </p:cNvSpPr>
            <p:nvPr/>
          </p:nvSpPr>
          <p:spPr bwMode="auto">
            <a:xfrm>
              <a:off x="5744" y="352"/>
              <a:ext cx="13" cy="12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US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423" name="Freeform 406"/>
            <p:cNvSpPr>
              <a:spLocks noChangeArrowheads="1"/>
            </p:cNvSpPr>
            <p:nvPr/>
          </p:nvSpPr>
          <p:spPr bwMode="auto">
            <a:xfrm>
              <a:off x="5723" y="366"/>
              <a:ext cx="12" cy="13"/>
            </a:xfrm>
            <a:custGeom>
              <a:avLst/>
              <a:gdLst>
                <a:gd name="T0" fmla="*/ 64 w 9"/>
                <a:gd name="T1" fmla="*/ 188 h 9"/>
                <a:gd name="T2" fmla="*/ 0 w 9"/>
                <a:gd name="T3" fmla="*/ 108 h 9"/>
                <a:gd name="T4" fmla="*/ 0 w 9"/>
                <a:gd name="T5" fmla="*/ 108 h 9"/>
                <a:gd name="T6" fmla="*/ 64 w 9"/>
                <a:gd name="T7" fmla="*/ 0 h 9"/>
                <a:gd name="T8" fmla="*/ 113 w 9"/>
                <a:gd name="T9" fmla="*/ 108 h 9"/>
                <a:gd name="T10" fmla="*/ 64 w 9"/>
                <a:gd name="T11" fmla="*/ 188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424" name="Freeform 407"/>
            <p:cNvSpPr>
              <a:spLocks noChangeArrowheads="1"/>
            </p:cNvSpPr>
            <p:nvPr/>
          </p:nvSpPr>
          <p:spPr bwMode="auto">
            <a:xfrm>
              <a:off x="5703" y="352"/>
              <a:ext cx="11" cy="12"/>
            </a:xfrm>
            <a:custGeom>
              <a:avLst/>
              <a:gdLst>
                <a:gd name="T0" fmla="*/ 69 w 8"/>
                <a:gd name="T1" fmla="*/ 116 h 9"/>
                <a:gd name="T2" fmla="*/ 0 w 8"/>
                <a:gd name="T3" fmla="*/ 65 h 9"/>
                <a:gd name="T4" fmla="*/ 0 w 8"/>
                <a:gd name="T5" fmla="*/ 65 h 9"/>
                <a:gd name="T6" fmla="*/ 69 w 8"/>
                <a:gd name="T7" fmla="*/ 0 h 9"/>
                <a:gd name="T8" fmla="*/ 131 w 8"/>
                <a:gd name="T9" fmla="*/ 65 h 9"/>
                <a:gd name="T10" fmla="*/ 69 w 8"/>
                <a:gd name="T11" fmla="*/ 116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5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425" name="Oval 408"/>
            <p:cNvSpPr>
              <a:spLocks noChangeArrowheads="1"/>
            </p:cNvSpPr>
            <p:nvPr/>
          </p:nvSpPr>
          <p:spPr bwMode="auto">
            <a:xfrm>
              <a:off x="5682" y="366"/>
              <a:ext cx="12" cy="1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US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426" name="Freeform 409"/>
            <p:cNvSpPr>
              <a:spLocks noChangeArrowheads="1"/>
            </p:cNvSpPr>
            <p:nvPr/>
          </p:nvSpPr>
          <p:spPr bwMode="auto">
            <a:xfrm>
              <a:off x="5661" y="352"/>
              <a:ext cx="12" cy="12"/>
            </a:xfrm>
            <a:custGeom>
              <a:avLst/>
              <a:gdLst>
                <a:gd name="T0" fmla="*/ 64 w 9"/>
                <a:gd name="T1" fmla="*/ 116 h 9"/>
                <a:gd name="T2" fmla="*/ 0 w 9"/>
                <a:gd name="T3" fmla="*/ 65 h 9"/>
                <a:gd name="T4" fmla="*/ 0 w 9"/>
                <a:gd name="T5" fmla="*/ 65 h 9"/>
                <a:gd name="T6" fmla="*/ 64 w 9"/>
                <a:gd name="T7" fmla="*/ 0 h 9"/>
                <a:gd name="T8" fmla="*/ 113 w 9"/>
                <a:gd name="T9" fmla="*/ 65 h 9"/>
                <a:gd name="T10" fmla="*/ 64 w 9"/>
                <a:gd name="T11" fmla="*/ 116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427" name="Freeform 410"/>
            <p:cNvSpPr>
              <a:spLocks noChangeArrowheads="1"/>
            </p:cNvSpPr>
            <p:nvPr/>
          </p:nvSpPr>
          <p:spPr bwMode="auto">
            <a:xfrm>
              <a:off x="5640" y="366"/>
              <a:ext cx="12" cy="13"/>
            </a:xfrm>
            <a:custGeom>
              <a:avLst/>
              <a:gdLst>
                <a:gd name="T0" fmla="*/ 120 w 8"/>
                <a:gd name="T1" fmla="*/ 188 h 9"/>
                <a:gd name="T2" fmla="*/ 0 w 8"/>
                <a:gd name="T3" fmla="*/ 108 h 9"/>
                <a:gd name="T4" fmla="*/ 0 w 8"/>
                <a:gd name="T5" fmla="*/ 81 h 9"/>
                <a:gd name="T6" fmla="*/ 120 w 8"/>
                <a:gd name="T7" fmla="*/ 0 h 9"/>
                <a:gd name="T8" fmla="*/ 230 w 8"/>
                <a:gd name="T9" fmla="*/ 108 h 9"/>
                <a:gd name="T10" fmla="*/ 230 w 8"/>
                <a:gd name="T11" fmla="*/ 108 h 9"/>
                <a:gd name="T12" fmla="*/ 120 w 8"/>
                <a:gd name="T13" fmla="*/ 188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428" name="Oval 411"/>
            <p:cNvSpPr>
              <a:spLocks noChangeArrowheads="1"/>
            </p:cNvSpPr>
            <p:nvPr/>
          </p:nvSpPr>
          <p:spPr bwMode="auto">
            <a:xfrm>
              <a:off x="5621" y="352"/>
              <a:ext cx="12" cy="12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US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429" name="Freeform 412"/>
            <p:cNvSpPr>
              <a:spLocks noChangeArrowheads="1"/>
            </p:cNvSpPr>
            <p:nvPr/>
          </p:nvSpPr>
          <p:spPr bwMode="auto">
            <a:xfrm>
              <a:off x="5393" y="366"/>
              <a:ext cx="13" cy="13"/>
            </a:xfrm>
            <a:custGeom>
              <a:avLst/>
              <a:gdLst>
                <a:gd name="T0" fmla="*/ 108 w 9"/>
                <a:gd name="T1" fmla="*/ 188 h 9"/>
                <a:gd name="T2" fmla="*/ 0 w 9"/>
                <a:gd name="T3" fmla="*/ 108 h 9"/>
                <a:gd name="T4" fmla="*/ 0 w 9"/>
                <a:gd name="T5" fmla="*/ 108 h 9"/>
                <a:gd name="T6" fmla="*/ 108 w 9"/>
                <a:gd name="T7" fmla="*/ 0 h 9"/>
                <a:gd name="T8" fmla="*/ 188 w 9"/>
                <a:gd name="T9" fmla="*/ 108 h 9"/>
                <a:gd name="T10" fmla="*/ 108 w 9"/>
                <a:gd name="T11" fmla="*/ 188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430" name="Freeform 413"/>
            <p:cNvSpPr>
              <a:spLocks noChangeArrowheads="1"/>
            </p:cNvSpPr>
            <p:nvPr/>
          </p:nvSpPr>
          <p:spPr bwMode="auto">
            <a:xfrm>
              <a:off x="5312" y="366"/>
              <a:ext cx="11" cy="13"/>
            </a:xfrm>
            <a:custGeom>
              <a:avLst/>
              <a:gdLst>
                <a:gd name="T0" fmla="*/ 69 w 8"/>
                <a:gd name="T1" fmla="*/ 188 h 9"/>
                <a:gd name="T2" fmla="*/ 0 w 8"/>
                <a:gd name="T3" fmla="*/ 108 h 9"/>
                <a:gd name="T4" fmla="*/ 0 w 8"/>
                <a:gd name="T5" fmla="*/ 108 h 9"/>
                <a:gd name="T6" fmla="*/ 69 w 8"/>
                <a:gd name="T7" fmla="*/ 0 h 9"/>
                <a:gd name="T8" fmla="*/ 131 w 8"/>
                <a:gd name="T9" fmla="*/ 108 h 9"/>
                <a:gd name="T10" fmla="*/ 69 w 8"/>
                <a:gd name="T11" fmla="*/ 188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5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431" name="Freeform 414"/>
            <p:cNvSpPr>
              <a:spLocks noChangeArrowheads="1"/>
            </p:cNvSpPr>
            <p:nvPr/>
          </p:nvSpPr>
          <p:spPr bwMode="auto">
            <a:xfrm>
              <a:off x="5250" y="352"/>
              <a:ext cx="11" cy="12"/>
            </a:xfrm>
            <a:custGeom>
              <a:avLst/>
              <a:gdLst>
                <a:gd name="T0" fmla="*/ 69 w 8"/>
                <a:gd name="T1" fmla="*/ 116 h 9"/>
                <a:gd name="T2" fmla="*/ 0 w 8"/>
                <a:gd name="T3" fmla="*/ 65 h 9"/>
                <a:gd name="T4" fmla="*/ 0 w 8"/>
                <a:gd name="T5" fmla="*/ 65 h 9"/>
                <a:gd name="T6" fmla="*/ 69 w 8"/>
                <a:gd name="T7" fmla="*/ 0 h 9"/>
                <a:gd name="T8" fmla="*/ 131 w 8"/>
                <a:gd name="T9" fmla="*/ 65 h 9"/>
                <a:gd name="T10" fmla="*/ 69 w 8"/>
                <a:gd name="T11" fmla="*/ 116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5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432" name="Freeform 415"/>
            <p:cNvSpPr>
              <a:spLocks noChangeArrowheads="1"/>
            </p:cNvSpPr>
            <p:nvPr/>
          </p:nvSpPr>
          <p:spPr bwMode="auto">
            <a:xfrm>
              <a:off x="5106" y="366"/>
              <a:ext cx="11" cy="13"/>
            </a:xfrm>
            <a:custGeom>
              <a:avLst/>
              <a:gdLst>
                <a:gd name="T0" fmla="*/ 69 w 8"/>
                <a:gd name="T1" fmla="*/ 188 h 9"/>
                <a:gd name="T2" fmla="*/ 0 w 8"/>
                <a:gd name="T3" fmla="*/ 108 h 9"/>
                <a:gd name="T4" fmla="*/ 0 w 8"/>
                <a:gd name="T5" fmla="*/ 108 h 9"/>
                <a:gd name="T6" fmla="*/ 69 w 8"/>
                <a:gd name="T7" fmla="*/ 0 h 9"/>
                <a:gd name="T8" fmla="*/ 131 w 8"/>
                <a:gd name="T9" fmla="*/ 108 h 9"/>
                <a:gd name="T10" fmla="*/ 69 w 8"/>
                <a:gd name="T11" fmla="*/ 188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5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433" name="Freeform 416"/>
            <p:cNvSpPr>
              <a:spLocks noChangeArrowheads="1"/>
            </p:cNvSpPr>
            <p:nvPr/>
          </p:nvSpPr>
          <p:spPr bwMode="auto">
            <a:xfrm>
              <a:off x="5374" y="352"/>
              <a:ext cx="11" cy="12"/>
            </a:xfrm>
            <a:custGeom>
              <a:avLst/>
              <a:gdLst>
                <a:gd name="T0" fmla="*/ 69 w 8"/>
                <a:gd name="T1" fmla="*/ 116 h 9"/>
                <a:gd name="T2" fmla="*/ 0 w 8"/>
                <a:gd name="T3" fmla="*/ 65 h 9"/>
                <a:gd name="T4" fmla="*/ 0 w 8"/>
                <a:gd name="T5" fmla="*/ 65 h 9"/>
                <a:gd name="T6" fmla="*/ 69 w 8"/>
                <a:gd name="T7" fmla="*/ 0 h 9"/>
                <a:gd name="T8" fmla="*/ 131 w 8"/>
                <a:gd name="T9" fmla="*/ 65 h 9"/>
                <a:gd name="T10" fmla="*/ 69 w 8"/>
                <a:gd name="T11" fmla="*/ 116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5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434" name="Freeform 417"/>
            <p:cNvSpPr>
              <a:spLocks noChangeArrowheads="1"/>
            </p:cNvSpPr>
            <p:nvPr/>
          </p:nvSpPr>
          <p:spPr bwMode="auto">
            <a:xfrm>
              <a:off x="5291" y="352"/>
              <a:ext cx="13" cy="12"/>
            </a:xfrm>
            <a:custGeom>
              <a:avLst/>
              <a:gdLst>
                <a:gd name="T0" fmla="*/ 81 w 9"/>
                <a:gd name="T1" fmla="*/ 116 h 9"/>
                <a:gd name="T2" fmla="*/ 0 w 9"/>
                <a:gd name="T3" fmla="*/ 65 h 9"/>
                <a:gd name="T4" fmla="*/ 0 w 9"/>
                <a:gd name="T5" fmla="*/ 65 h 9"/>
                <a:gd name="T6" fmla="*/ 81 w 9"/>
                <a:gd name="T7" fmla="*/ 0 h 9"/>
                <a:gd name="T8" fmla="*/ 188 w 9"/>
                <a:gd name="T9" fmla="*/ 65 h 9"/>
                <a:gd name="T10" fmla="*/ 81 w 9"/>
                <a:gd name="T11" fmla="*/ 116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435" name="Oval 418"/>
            <p:cNvSpPr>
              <a:spLocks noChangeArrowheads="1"/>
            </p:cNvSpPr>
            <p:nvPr/>
          </p:nvSpPr>
          <p:spPr bwMode="auto">
            <a:xfrm>
              <a:off x="5229" y="366"/>
              <a:ext cx="13" cy="1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US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436" name="Freeform 419"/>
            <p:cNvSpPr>
              <a:spLocks noChangeArrowheads="1"/>
            </p:cNvSpPr>
            <p:nvPr/>
          </p:nvSpPr>
          <p:spPr bwMode="auto">
            <a:xfrm>
              <a:off x="5085" y="352"/>
              <a:ext cx="13" cy="12"/>
            </a:xfrm>
            <a:custGeom>
              <a:avLst/>
              <a:gdLst>
                <a:gd name="T0" fmla="*/ 81 w 9"/>
                <a:gd name="T1" fmla="*/ 116 h 9"/>
                <a:gd name="T2" fmla="*/ 0 w 9"/>
                <a:gd name="T3" fmla="*/ 65 h 9"/>
                <a:gd name="T4" fmla="*/ 0 w 9"/>
                <a:gd name="T5" fmla="*/ 65 h 9"/>
                <a:gd name="T6" fmla="*/ 81 w 9"/>
                <a:gd name="T7" fmla="*/ 0 h 9"/>
                <a:gd name="T8" fmla="*/ 188 w 9"/>
                <a:gd name="T9" fmla="*/ 65 h 9"/>
                <a:gd name="T10" fmla="*/ 81 w 9"/>
                <a:gd name="T11" fmla="*/ 116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437" name="Freeform 420"/>
            <p:cNvSpPr>
              <a:spLocks noChangeArrowheads="1"/>
            </p:cNvSpPr>
            <p:nvPr/>
          </p:nvSpPr>
          <p:spPr bwMode="auto">
            <a:xfrm>
              <a:off x="5353" y="366"/>
              <a:ext cx="12" cy="13"/>
            </a:xfrm>
            <a:custGeom>
              <a:avLst/>
              <a:gdLst>
                <a:gd name="T0" fmla="*/ 49 w 9"/>
                <a:gd name="T1" fmla="*/ 188 h 9"/>
                <a:gd name="T2" fmla="*/ 0 w 9"/>
                <a:gd name="T3" fmla="*/ 108 h 9"/>
                <a:gd name="T4" fmla="*/ 0 w 9"/>
                <a:gd name="T5" fmla="*/ 108 h 9"/>
                <a:gd name="T6" fmla="*/ 49 w 9"/>
                <a:gd name="T7" fmla="*/ 0 h 9"/>
                <a:gd name="T8" fmla="*/ 113 w 9"/>
                <a:gd name="T9" fmla="*/ 108 h 9"/>
                <a:gd name="T10" fmla="*/ 49 w 9"/>
                <a:gd name="T11" fmla="*/ 188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438" name="Freeform 421"/>
            <p:cNvSpPr>
              <a:spLocks noChangeArrowheads="1"/>
            </p:cNvSpPr>
            <p:nvPr/>
          </p:nvSpPr>
          <p:spPr bwMode="auto">
            <a:xfrm>
              <a:off x="5270" y="366"/>
              <a:ext cx="12" cy="13"/>
            </a:xfrm>
            <a:custGeom>
              <a:avLst/>
              <a:gdLst>
                <a:gd name="T0" fmla="*/ 65 w 9"/>
                <a:gd name="T1" fmla="*/ 188 h 9"/>
                <a:gd name="T2" fmla="*/ 0 w 9"/>
                <a:gd name="T3" fmla="*/ 108 h 9"/>
                <a:gd name="T4" fmla="*/ 0 w 9"/>
                <a:gd name="T5" fmla="*/ 108 h 9"/>
                <a:gd name="T6" fmla="*/ 65 w 9"/>
                <a:gd name="T7" fmla="*/ 0 h 9"/>
                <a:gd name="T8" fmla="*/ 116 w 9"/>
                <a:gd name="T9" fmla="*/ 108 h 9"/>
                <a:gd name="T10" fmla="*/ 65 w 9"/>
                <a:gd name="T11" fmla="*/ 188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439" name="Freeform 422"/>
            <p:cNvSpPr>
              <a:spLocks noChangeArrowheads="1"/>
            </p:cNvSpPr>
            <p:nvPr/>
          </p:nvSpPr>
          <p:spPr bwMode="auto">
            <a:xfrm>
              <a:off x="5208" y="352"/>
              <a:ext cx="12" cy="12"/>
            </a:xfrm>
            <a:custGeom>
              <a:avLst/>
              <a:gdLst>
                <a:gd name="T0" fmla="*/ 65 w 9"/>
                <a:gd name="T1" fmla="*/ 116 h 9"/>
                <a:gd name="T2" fmla="*/ 0 w 9"/>
                <a:gd name="T3" fmla="*/ 65 h 9"/>
                <a:gd name="T4" fmla="*/ 0 w 9"/>
                <a:gd name="T5" fmla="*/ 65 h 9"/>
                <a:gd name="T6" fmla="*/ 65 w 9"/>
                <a:gd name="T7" fmla="*/ 0 h 9"/>
                <a:gd name="T8" fmla="*/ 116 w 9"/>
                <a:gd name="T9" fmla="*/ 65 h 9"/>
                <a:gd name="T10" fmla="*/ 65 w 9"/>
                <a:gd name="T11" fmla="*/ 116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440" name="Oval 423"/>
            <p:cNvSpPr>
              <a:spLocks noChangeArrowheads="1"/>
            </p:cNvSpPr>
            <p:nvPr/>
          </p:nvSpPr>
          <p:spPr bwMode="auto">
            <a:xfrm>
              <a:off x="5125" y="352"/>
              <a:ext cx="13" cy="12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US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441" name="Freeform 424"/>
            <p:cNvSpPr>
              <a:spLocks noChangeArrowheads="1"/>
            </p:cNvSpPr>
            <p:nvPr/>
          </p:nvSpPr>
          <p:spPr bwMode="auto">
            <a:xfrm>
              <a:off x="5063" y="366"/>
              <a:ext cx="14" cy="13"/>
            </a:xfrm>
            <a:custGeom>
              <a:avLst/>
              <a:gdLst>
                <a:gd name="T0" fmla="*/ 182 w 9"/>
                <a:gd name="T1" fmla="*/ 188 h 9"/>
                <a:gd name="T2" fmla="*/ 0 w 9"/>
                <a:gd name="T3" fmla="*/ 108 h 9"/>
                <a:gd name="T4" fmla="*/ 0 w 9"/>
                <a:gd name="T5" fmla="*/ 108 h 9"/>
                <a:gd name="T6" fmla="*/ 182 w 9"/>
                <a:gd name="T7" fmla="*/ 0 h 9"/>
                <a:gd name="T8" fmla="*/ 327 w 9"/>
                <a:gd name="T9" fmla="*/ 108 h 9"/>
                <a:gd name="T10" fmla="*/ 182 w 9"/>
                <a:gd name="T11" fmla="*/ 188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442" name="Freeform 425"/>
            <p:cNvSpPr>
              <a:spLocks noChangeArrowheads="1"/>
            </p:cNvSpPr>
            <p:nvPr/>
          </p:nvSpPr>
          <p:spPr bwMode="auto">
            <a:xfrm>
              <a:off x="5476" y="387"/>
              <a:ext cx="12" cy="12"/>
            </a:xfrm>
            <a:custGeom>
              <a:avLst/>
              <a:gdLst>
                <a:gd name="T0" fmla="*/ 49 w 9"/>
                <a:gd name="T1" fmla="*/ 116 h 9"/>
                <a:gd name="T2" fmla="*/ 0 w 9"/>
                <a:gd name="T3" fmla="*/ 65 h 9"/>
                <a:gd name="T4" fmla="*/ 0 w 9"/>
                <a:gd name="T5" fmla="*/ 49 h 9"/>
                <a:gd name="T6" fmla="*/ 49 w 9"/>
                <a:gd name="T7" fmla="*/ 0 h 9"/>
                <a:gd name="T8" fmla="*/ 116 w 9"/>
                <a:gd name="T9" fmla="*/ 49 h 9"/>
                <a:gd name="T10" fmla="*/ 49 w 9"/>
                <a:gd name="T11" fmla="*/ 116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443" name="Freeform 426"/>
            <p:cNvSpPr>
              <a:spLocks noChangeArrowheads="1"/>
            </p:cNvSpPr>
            <p:nvPr/>
          </p:nvSpPr>
          <p:spPr bwMode="auto">
            <a:xfrm>
              <a:off x="5436" y="387"/>
              <a:ext cx="12" cy="12"/>
            </a:xfrm>
            <a:custGeom>
              <a:avLst/>
              <a:gdLst>
                <a:gd name="T0" fmla="*/ 120 w 8"/>
                <a:gd name="T1" fmla="*/ 116 h 9"/>
                <a:gd name="T2" fmla="*/ 0 w 8"/>
                <a:gd name="T3" fmla="*/ 65 h 9"/>
                <a:gd name="T4" fmla="*/ 0 w 8"/>
                <a:gd name="T5" fmla="*/ 49 h 9"/>
                <a:gd name="T6" fmla="*/ 120 w 8"/>
                <a:gd name="T7" fmla="*/ 0 h 9"/>
                <a:gd name="T8" fmla="*/ 230 w 8"/>
                <a:gd name="T9" fmla="*/ 49 h 9"/>
                <a:gd name="T10" fmla="*/ 120 w 8"/>
                <a:gd name="T11" fmla="*/ 116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444" name="Freeform 427"/>
            <p:cNvSpPr>
              <a:spLocks noChangeArrowheads="1"/>
            </p:cNvSpPr>
            <p:nvPr/>
          </p:nvSpPr>
          <p:spPr bwMode="auto">
            <a:xfrm>
              <a:off x="5415" y="373"/>
              <a:ext cx="12" cy="12"/>
            </a:xfrm>
            <a:custGeom>
              <a:avLst/>
              <a:gdLst>
                <a:gd name="T0" fmla="*/ 49 w 9"/>
                <a:gd name="T1" fmla="*/ 113 h 9"/>
                <a:gd name="T2" fmla="*/ 0 w 9"/>
                <a:gd name="T3" fmla="*/ 64 h 9"/>
                <a:gd name="T4" fmla="*/ 0 w 9"/>
                <a:gd name="T5" fmla="*/ 49 h 9"/>
                <a:gd name="T6" fmla="*/ 49 w 9"/>
                <a:gd name="T7" fmla="*/ 0 h 9"/>
                <a:gd name="T8" fmla="*/ 113 w 9"/>
                <a:gd name="T9" fmla="*/ 64 h 9"/>
                <a:gd name="T10" fmla="*/ 49 w 9"/>
                <a:gd name="T11" fmla="*/ 113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445" name="Freeform 428"/>
            <p:cNvSpPr>
              <a:spLocks noChangeArrowheads="1"/>
            </p:cNvSpPr>
            <p:nvPr/>
          </p:nvSpPr>
          <p:spPr bwMode="auto">
            <a:xfrm>
              <a:off x="5331" y="373"/>
              <a:ext cx="14" cy="12"/>
            </a:xfrm>
            <a:custGeom>
              <a:avLst/>
              <a:gdLst>
                <a:gd name="T0" fmla="*/ 182 w 9"/>
                <a:gd name="T1" fmla="*/ 113 h 9"/>
                <a:gd name="T2" fmla="*/ 0 w 9"/>
                <a:gd name="T3" fmla="*/ 64 h 9"/>
                <a:gd name="T4" fmla="*/ 0 w 9"/>
                <a:gd name="T5" fmla="*/ 49 h 9"/>
                <a:gd name="T6" fmla="*/ 182 w 9"/>
                <a:gd name="T7" fmla="*/ 0 h 9"/>
                <a:gd name="T8" fmla="*/ 327 w 9"/>
                <a:gd name="T9" fmla="*/ 64 h 9"/>
                <a:gd name="T10" fmla="*/ 182 w 9"/>
                <a:gd name="T11" fmla="*/ 113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446" name="Freeform 429"/>
            <p:cNvSpPr>
              <a:spLocks noChangeArrowheads="1"/>
            </p:cNvSpPr>
            <p:nvPr/>
          </p:nvSpPr>
          <p:spPr bwMode="auto">
            <a:xfrm>
              <a:off x="5189" y="387"/>
              <a:ext cx="11" cy="12"/>
            </a:xfrm>
            <a:custGeom>
              <a:avLst/>
              <a:gdLst>
                <a:gd name="T0" fmla="*/ 69 w 8"/>
                <a:gd name="T1" fmla="*/ 116 h 9"/>
                <a:gd name="T2" fmla="*/ 0 w 8"/>
                <a:gd name="T3" fmla="*/ 65 h 9"/>
                <a:gd name="T4" fmla="*/ 0 w 8"/>
                <a:gd name="T5" fmla="*/ 49 h 9"/>
                <a:gd name="T6" fmla="*/ 69 w 8"/>
                <a:gd name="T7" fmla="*/ 0 h 9"/>
                <a:gd name="T8" fmla="*/ 131 w 8"/>
                <a:gd name="T9" fmla="*/ 49 h 9"/>
                <a:gd name="T10" fmla="*/ 69 w 8"/>
                <a:gd name="T11" fmla="*/ 116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1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447" name="Freeform 430"/>
            <p:cNvSpPr>
              <a:spLocks noChangeArrowheads="1"/>
            </p:cNvSpPr>
            <p:nvPr/>
          </p:nvSpPr>
          <p:spPr bwMode="auto">
            <a:xfrm>
              <a:off x="5146" y="387"/>
              <a:ext cx="14" cy="12"/>
            </a:xfrm>
            <a:custGeom>
              <a:avLst/>
              <a:gdLst>
                <a:gd name="T0" fmla="*/ 148 w 9"/>
                <a:gd name="T1" fmla="*/ 116 h 9"/>
                <a:gd name="T2" fmla="*/ 0 w 9"/>
                <a:gd name="T3" fmla="*/ 65 h 9"/>
                <a:gd name="T4" fmla="*/ 0 w 9"/>
                <a:gd name="T5" fmla="*/ 49 h 9"/>
                <a:gd name="T6" fmla="*/ 148 w 9"/>
                <a:gd name="T7" fmla="*/ 0 h 9"/>
                <a:gd name="T8" fmla="*/ 327 w 9"/>
                <a:gd name="T9" fmla="*/ 49 h 9"/>
                <a:gd name="T10" fmla="*/ 148 w 9"/>
                <a:gd name="T11" fmla="*/ 116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448" name="Freeform 431"/>
            <p:cNvSpPr>
              <a:spLocks noChangeArrowheads="1"/>
            </p:cNvSpPr>
            <p:nvPr/>
          </p:nvSpPr>
          <p:spPr bwMode="auto">
            <a:xfrm>
              <a:off x="5044" y="373"/>
              <a:ext cx="11" cy="12"/>
            </a:xfrm>
            <a:custGeom>
              <a:avLst/>
              <a:gdLst>
                <a:gd name="T0" fmla="*/ 69 w 8"/>
                <a:gd name="T1" fmla="*/ 113 h 9"/>
                <a:gd name="T2" fmla="*/ 0 w 8"/>
                <a:gd name="T3" fmla="*/ 64 h 9"/>
                <a:gd name="T4" fmla="*/ 0 w 8"/>
                <a:gd name="T5" fmla="*/ 49 h 9"/>
                <a:gd name="T6" fmla="*/ 69 w 8"/>
                <a:gd name="T7" fmla="*/ 0 h 9"/>
                <a:gd name="T8" fmla="*/ 131 w 8"/>
                <a:gd name="T9" fmla="*/ 64 h 9"/>
                <a:gd name="T10" fmla="*/ 69 w 8"/>
                <a:gd name="T11" fmla="*/ 113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5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449" name="Oval 432"/>
            <p:cNvSpPr>
              <a:spLocks noChangeArrowheads="1"/>
            </p:cNvSpPr>
            <p:nvPr/>
          </p:nvSpPr>
          <p:spPr bwMode="auto">
            <a:xfrm>
              <a:off x="5600" y="387"/>
              <a:ext cx="12" cy="12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US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450" name="Freeform 433"/>
            <p:cNvSpPr>
              <a:spLocks noChangeArrowheads="1"/>
            </p:cNvSpPr>
            <p:nvPr/>
          </p:nvSpPr>
          <p:spPr bwMode="auto">
            <a:xfrm>
              <a:off x="5580" y="373"/>
              <a:ext cx="11" cy="12"/>
            </a:xfrm>
            <a:custGeom>
              <a:avLst/>
              <a:gdLst>
                <a:gd name="T0" fmla="*/ 69 w 8"/>
                <a:gd name="T1" fmla="*/ 113 h 9"/>
                <a:gd name="T2" fmla="*/ 0 w 8"/>
                <a:gd name="T3" fmla="*/ 64 h 9"/>
                <a:gd name="T4" fmla="*/ 0 w 8"/>
                <a:gd name="T5" fmla="*/ 49 h 9"/>
                <a:gd name="T6" fmla="*/ 69 w 8"/>
                <a:gd name="T7" fmla="*/ 0 h 9"/>
                <a:gd name="T8" fmla="*/ 131 w 8"/>
                <a:gd name="T9" fmla="*/ 64 h 9"/>
                <a:gd name="T10" fmla="*/ 69 w 8"/>
                <a:gd name="T11" fmla="*/ 113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5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451" name="Freeform 434"/>
            <p:cNvSpPr>
              <a:spLocks noChangeArrowheads="1"/>
            </p:cNvSpPr>
            <p:nvPr/>
          </p:nvSpPr>
          <p:spPr bwMode="auto">
            <a:xfrm>
              <a:off x="5558" y="387"/>
              <a:ext cx="12" cy="12"/>
            </a:xfrm>
            <a:custGeom>
              <a:avLst/>
              <a:gdLst>
                <a:gd name="T0" fmla="*/ 49 w 9"/>
                <a:gd name="T1" fmla="*/ 116 h 9"/>
                <a:gd name="T2" fmla="*/ 0 w 9"/>
                <a:gd name="T3" fmla="*/ 65 h 9"/>
                <a:gd name="T4" fmla="*/ 0 w 9"/>
                <a:gd name="T5" fmla="*/ 49 h 9"/>
                <a:gd name="T6" fmla="*/ 49 w 9"/>
                <a:gd name="T7" fmla="*/ 0 h 9"/>
                <a:gd name="T8" fmla="*/ 113 w 9"/>
                <a:gd name="T9" fmla="*/ 49 h 9"/>
                <a:gd name="T10" fmla="*/ 49 w 9"/>
                <a:gd name="T11" fmla="*/ 116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452" name="Freeform 435"/>
            <p:cNvSpPr>
              <a:spLocks noChangeArrowheads="1"/>
            </p:cNvSpPr>
            <p:nvPr/>
          </p:nvSpPr>
          <p:spPr bwMode="auto">
            <a:xfrm>
              <a:off x="5538" y="373"/>
              <a:ext cx="12" cy="12"/>
            </a:xfrm>
            <a:custGeom>
              <a:avLst/>
              <a:gdLst>
                <a:gd name="T0" fmla="*/ 64 w 9"/>
                <a:gd name="T1" fmla="*/ 113 h 9"/>
                <a:gd name="T2" fmla="*/ 0 w 9"/>
                <a:gd name="T3" fmla="*/ 64 h 9"/>
                <a:gd name="T4" fmla="*/ 0 w 9"/>
                <a:gd name="T5" fmla="*/ 49 h 9"/>
                <a:gd name="T6" fmla="*/ 64 w 9"/>
                <a:gd name="T7" fmla="*/ 0 h 9"/>
                <a:gd name="T8" fmla="*/ 113 w 9"/>
                <a:gd name="T9" fmla="*/ 64 h 9"/>
                <a:gd name="T10" fmla="*/ 64 w 9"/>
                <a:gd name="T11" fmla="*/ 113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453" name="Freeform 436"/>
            <p:cNvSpPr>
              <a:spLocks noChangeArrowheads="1"/>
            </p:cNvSpPr>
            <p:nvPr/>
          </p:nvSpPr>
          <p:spPr bwMode="auto">
            <a:xfrm>
              <a:off x="5518" y="387"/>
              <a:ext cx="12" cy="12"/>
            </a:xfrm>
            <a:custGeom>
              <a:avLst/>
              <a:gdLst>
                <a:gd name="T0" fmla="*/ 120 w 8"/>
                <a:gd name="T1" fmla="*/ 116 h 9"/>
                <a:gd name="T2" fmla="*/ 0 w 8"/>
                <a:gd name="T3" fmla="*/ 65 h 9"/>
                <a:gd name="T4" fmla="*/ 0 w 8"/>
                <a:gd name="T5" fmla="*/ 49 h 9"/>
                <a:gd name="T6" fmla="*/ 120 w 8"/>
                <a:gd name="T7" fmla="*/ 0 h 9"/>
                <a:gd name="T8" fmla="*/ 230 w 8"/>
                <a:gd name="T9" fmla="*/ 49 h 9"/>
                <a:gd name="T10" fmla="*/ 120 w 8"/>
                <a:gd name="T11" fmla="*/ 116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454" name="Freeform 437"/>
            <p:cNvSpPr>
              <a:spLocks noChangeArrowheads="1"/>
            </p:cNvSpPr>
            <p:nvPr/>
          </p:nvSpPr>
          <p:spPr bwMode="auto">
            <a:xfrm>
              <a:off x="5496" y="373"/>
              <a:ext cx="12" cy="12"/>
            </a:xfrm>
            <a:custGeom>
              <a:avLst/>
              <a:gdLst>
                <a:gd name="T0" fmla="*/ 49 w 9"/>
                <a:gd name="T1" fmla="*/ 113 h 9"/>
                <a:gd name="T2" fmla="*/ 0 w 9"/>
                <a:gd name="T3" fmla="*/ 64 h 9"/>
                <a:gd name="T4" fmla="*/ 0 w 9"/>
                <a:gd name="T5" fmla="*/ 49 h 9"/>
                <a:gd name="T6" fmla="*/ 49 w 9"/>
                <a:gd name="T7" fmla="*/ 0 h 9"/>
                <a:gd name="T8" fmla="*/ 113 w 9"/>
                <a:gd name="T9" fmla="*/ 64 h 9"/>
                <a:gd name="T10" fmla="*/ 49 w 9"/>
                <a:gd name="T11" fmla="*/ 113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455" name="Oval 438"/>
            <p:cNvSpPr>
              <a:spLocks noChangeArrowheads="1"/>
            </p:cNvSpPr>
            <p:nvPr/>
          </p:nvSpPr>
          <p:spPr bwMode="auto">
            <a:xfrm>
              <a:off x="5455" y="373"/>
              <a:ext cx="13" cy="12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US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456" name="Oval 439"/>
            <p:cNvSpPr>
              <a:spLocks noChangeArrowheads="1"/>
            </p:cNvSpPr>
            <p:nvPr/>
          </p:nvSpPr>
          <p:spPr bwMode="auto">
            <a:xfrm>
              <a:off x="5744" y="373"/>
              <a:ext cx="13" cy="12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US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457" name="Freeform 440"/>
            <p:cNvSpPr>
              <a:spLocks noChangeArrowheads="1"/>
            </p:cNvSpPr>
            <p:nvPr/>
          </p:nvSpPr>
          <p:spPr bwMode="auto">
            <a:xfrm>
              <a:off x="5723" y="387"/>
              <a:ext cx="12" cy="12"/>
            </a:xfrm>
            <a:custGeom>
              <a:avLst/>
              <a:gdLst>
                <a:gd name="T0" fmla="*/ 64 w 9"/>
                <a:gd name="T1" fmla="*/ 116 h 9"/>
                <a:gd name="T2" fmla="*/ 0 w 9"/>
                <a:gd name="T3" fmla="*/ 65 h 9"/>
                <a:gd name="T4" fmla="*/ 0 w 9"/>
                <a:gd name="T5" fmla="*/ 49 h 9"/>
                <a:gd name="T6" fmla="*/ 64 w 9"/>
                <a:gd name="T7" fmla="*/ 0 h 9"/>
                <a:gd name="T8" fmla="*/ 113 w 9"/>
                <a:gd name="T9" fmla="*/ 49 h 9"/>
                <a:gd name="T10" fmla="*/ 64 w 9"/>
                <a:gd name="T11" fmla="*/ 116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458" name="Freeform 441"/>
            <p:cNvSpPr>
              <a:spLocks noChangeArrowheads="1"/>
            </p:cNvSpPr>
            <p:nvPr/>
          </p:nvSpPr>
          <p:spPr bwMode="auto">
            <a:xfrm>
              <a:off x="5703" y="373"/>
              <a:ext cx="11" cy="12"/>
            </a:xfrm>
            <a:custGeom>
              <a:avLst/>
              <a:gdLst>
                <a:gd name="T0" fmla="*/ 69 w 8"/>
                <a:gd name="T1" fmla="*/ 113 h 9"/>
                <a:gd name="T2" fmla="*/ 0 w 8"/>
                <a:gd name="T3" fmla="*/ 64 h 9"/>
                <a:gd name="T4" fmla="*/ 0 w 8"/>
                <a:gd name="T5" fmla="*/ 49 h 9"/>
                <a:gd name="T6" fmla="*/ 69 w 8"/>
                <a:gd name="T7" fmla="*/ 0 h 9"/>
                <a:gd name="T8" fmla="*/ 131 w 8"/>
                <a:gd name="T9" fmla="*/ 64 h 9"/>
                <a:gd name="T10" fmla="*/ 69 w 8"/>
                <a:gd name="T11" fmla="*/ 113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5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459" name="Oval 442"/>
            <p:cNvSpPr>
              <a:spLocks noChangeArrowheads="1"/>
            </p:cNvSpPr>
            <p:nvPr/>
          </p:nvSpPr>
          <p:spPr bwMode="auto">
            <a:xfrm>
              <a:off x="5682" y="387"/>
              <a:ext cx="12" cy="12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US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460" name="Freeform 443"/>
            <p:cNvSpPr>
              <a:spLocks noChangeArrowheads="1"/>
            </p:cNvSpPr>
            <p:nvPr/>
          </p:nvSpPr>
          <p:spPr bwMode="auto">
            <a:xfrm>
              <a:off x="5661" y="373"/>
              <a:ext cx="12" cy="12"/>
            </a:xfrm>
            <a:custGeom>
              <a:avLst/>
              <a:gdLst>
                <a:gd name="T0" fmla="*/ 64 w 9"/>
                <a:gd name="T1" fmla="*/ 113 h 9"/>
                <a:gd name="T2" fmla="*/ 0 w 9"/>
                <a:gd name="T3" fmla="*/ 64 h 9"/>
                <a:gd name="T4" fmla="*/ 0 w 9"/>
                <a:gd name="T5" fmla="*/ 49 h 9"/>
                <a:gd name="T6" fmla="*/ 64 w 9"/>
                <a:gd name="T7" fmla="*/ 0 h 9"/>
                <a:gd name="T8" fmla="*/ 113 w 9"/>
                <a:gd name="T9" fmla="*/ 64 h 9"/>
                <a:gd name="T10" fmla="*/ 64 w 9"/>
                <a:gd name="T11" fmla="*/ 113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461" name="Freeform 444"/>
            <p:cNvSpPr>
              <a:spLocks noChangeArrowheads="1"/>
            </p:cNvSpPr>
            <p:nvPr/>
          </p:nvSpPr>
          <p:spPr bwMode="auto">
            <a:xfrm>
              <a:off x="5640" y="387"/>
              <a:ext cx="12" cy="12"/>
            </a:xfrm>
            <a:custGeom>
              <a:avLst/>
              <a:gdLst>
                <a:gd name="T0" fmla="*/ 120 w 8"/>
                <a:gd name="T1" fmla="*/ 116 h 9"/>
                <a:gd name="T2" fmla="*/ 0 w 8"/>
                <a:gd name="T3" fmla="*/ 65 h 9"/>
                <a:gd name="T4" fmla="*/ 0 w 8"/>
                <a:gd name="T5" fmla="*/ 49 h 9"/>
                <a:gd name="T6" fmla="*/ 120 w 8"/>
                <a:gd name="T7" fmla="*/ 0 h 9"/>
                <a:gd name="T8" fmla="*/ 230 w 8"/>
                <a:gd name="T9" fmla="*/ 49 h 9"/>
                <a:gd name="T10" fmla="*/ 230 w 8"/>
                <a:gd name="T11" fmla="*/ 65 h 9"/>
                <a:gd name="T12" fmla="*/ 120 w 8"/>
                <a:gd name="T13" fmla="*/ 116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462" name="Oval 445"/>
            <p:cNvSpPr>
              <a:spLocks noChangeArrowheads="1"/>
            </p:cNvSpPr>
            <p:nvPr/>
          </p:nvSpPr>
          <p:spPr bwMode="auto">
            <a:xfrm>
              <a:off x="5621" y="373"/>
              <a:ext cx="12" cy="12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US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463" name="Freeform 446"/>
            <p:cNvSpPr>
              <a:spLocks noChangeArrowheads="1"/>
            </p:cNvSpPr>
            <p:nvPr/>
          </p:nvSpPr>
          <p:spPr bwMode="auto">
            <a:xfrm>
              <a:off x="5393" y="387"/>
              <a:ext cx="13" cy="12"/>
            </a:xfrm>
            <a:custGeom>
              <a:avLst/>
              <a:gdLst>
                <a:gd name="T0" fmla="*/ 108 w 9"/>
                <a:gd name="T1" fmla="*/ 116 h 9"/>
                <a:gd name="T2" fmla="*/ 0 w 9"/>
                <a:gd name="T3" fmla="*/ 65 h 9"/>
                <a:gd name="T4" fmla="*/ 0 w 9"/>
                <a:gd name="T5" fmla="*/ 49 h 9"/>
                <a:gd name="T6" fmla="*/ 108 w 9"/>
                <a:gd name="T7" fmla="*/ 0 h 9"/>
                <a:gd name="T8" fmla="*/ 188 w 9"/>
                <a:gd name="T9" fmla="*/ 49 h 9"/>
                <a:gd name="T10" fmla="*/ 108 w 9"/>
                <a:gd name="T11" fmla="*/ 116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464" name="Freeform 447"/>
            <p:cNvSpPr>
              <a:spLocks noChangeArrowheads="1"/>
            </p:cNvSpPr>
            <p:nvPr/>
          </p:nvSpPr>
          <p:spPr bwMode="auto">
            <a:xfrm>
              <a:off x="5312" y="387"/>
              <a:ext cx="11" cy="12"/>
            </a:xfrm>
            <a:custGeom>
              <a:avLst/>
              <a:gdLst>
                <a:gd name="T0" fmla="*/ 69 w 8"/>
                <a:gd name="T1" fmla="*/ 116 h 9"/>
                <a:gd name="T2" fmla="*/ 0 w 8"/>
                <a:gd name="T3" fmla="*/ 65 h 9"/>
                <a:gd name="T4" fmla="*/ 0 w 8"/>
                <a:gd name="T5" fmla="*/ 49 h 9"/>
                <a:gd name="T6" fmla="*/ 69 w 8"/>
                <a:gd name="T7" fmla="*/ 0 h 9"/>
                <a:gd name="T8" fmla="*/ 131 w 8"/>
                <a:gd name="T9" fmla="*/ 49 h 9"/>
                <a:gd name="T10" fmla="*/ 69 w 8"/>
                <a:gd name="T11" fmla="*/ 116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465" name="Freeform 448"/>
            <p:cNvSpPr>
              <a:spLocks noChangeArrowheads="1"/>
            </p:cNvSpPr>
            <p:nvPr/>
          </p:nvSpPr>
          <p:spPr bwMode="auto">
            <a:xfrm>
              <a:off x="5250" y="373"/>
              <a:ext cx="11" cy="12"/>
            </a:xfrm>
            <a:custGeom>
              <a:avLst/>
              <a:gdLst>
                <a:gd name="T0" fmla="*/ 69 w 8"/>
                <a:gd name="T1" fmla="*/ 113 h 9"/>
                <a:gd name="T2" fmla="*/ 0 w 8"/>
                <a:gd name="T3" fmla="*/ 64 h 9"/>
                <a:gd name="T4" fmla="*/ 0 w 8"/>
                <a:gd name="T5" fmla="*/ 49 h 9"/>
                <a:gd name="T6" fmla="*/ 69 w 8"/>
                <a:gd name="T7" fmla="*/ 0 h 9"/>
                <a:gd name="T8" fmla="*/ 131 w 8"/>
                <a:gd name="T9" fmla="*/ 64 h 9"/>
                <a:gd name="T10" fmla="*/ 69 w 8"/>
                <a:gd name="T11" fmla="*/ 113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5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466" name="Freeform 449"/>
            <p:cNvSpPr>
              <a:spLocks noChangeArrowheads="1"/>
            </p:cNvSpPr>
            <p:nvPr/>
          </p:nvSpPr>
          <p:spPr bwMode="auto">
            <a:xfrm>
              <a:off x="5168" y="373"/>
              <a:ext cx="11" cy="12"/>
            </a:xfrm>
            <a:custGeom>
              <a:avLst/>
              <a:gdLst>
                <a:gd name="T0" fmla="*/ 69 w 8"/>
                <a:gd name="T1" fmla="*/ 113 h 9"/>
                <a:gd name="T2" fmla="*/ 0 w 8"/>
                <a:gd name="T3" fmla="*/ 64 h 9"/>
                <a:gd name="T4" fmla="*/ 0 w 8"/>
                <a:gd name="T5" fmla="*/ 49 h 9"/>
                <a:gd name="T6" fmla="*/ 69 w 8"/>
                <a:gd name="T7" fmla="*/ 0 h 9"/>
                <a:gd name="T8" fmla="*/ 131 w 8"/>
                <a:gd name="T9" fmla="*/ 64 h 9"/>
                <a:gd name="T10" fmla="*/ 69 w 8"/>
                <a:gd name="T11" fmla="*/ 113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8" y="2"/>
                    <a:pt x="8" y="5"/>
                  </a:cubicBezTo>
                  <a:cubicBezTo>
                    <a:pt x="8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467" name="Freeform 450"/>
            <p:cNvSpPr>
              <a:spLocks noChangeArrowheads="1"/>
            </p:cNvSpPr>
            <p:nvPr/>
          </p:nvSpPr>
          <p:spPr bwMode="auto">
            <a:xfrm>
              <a:off x="5374" y="373"/>
              <a:ext cx="11" cy="12"/>
            </a:xfrm>
            <a:custGeom>
              <a:avLst/>
              <a:gdLst>
                <a:gd name="T0" fmla="*/ 69 w 8"/>
                <a:gd name="T1" fmla="*/ 113 h 9"/>
                <a:gd name="T2" fmla="*/ 0 w 8"/>
                <a:gd name="T3" fmla="*/ 64 h 9"/>
                <a:gd name="T4" fmla="*/ 0 w 8"/>
                <a:gd name="T5" fmla="*/ 49 h 9"/>
                <a:gd name="T6" fmla="*/ 69 w 8"/>
                <a:gd name="T7" fmla="*/ 0 h 9"/>
                <a:gd name="T8" fmla="*/ 131 w 8"/>
                <a:gd name="T9" fmla="*/ 64 h 9"/>
                <a:gd name="T10" fmla="*/ 69 w 8"/>
                <a:gd name="T11" fmla="*/ 113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5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468" name="Freeform 451"/>
            <p:cNvSpPr>
              <a:spLocks noChangeArrowheads="1"/>
            </p:cNvSpPr>
            <p:nvPr/>
          </p:nvSpPr>
          <p:spPr bwMode="auto">
            <a:xfrm>
              <a:off x="5291" y="373"/>
              <a:ext cx="13" cy="12"/>
            </a:xfrm>
            <a:custGeom>
              <a:avLst/>
              <a:gdLst>
                <a:gd name="T0" fmla="*/ 81 w 9"/>
                <a:gd name="T1" fmla="*/ 113 h 9"/>
                <a:gd name="T2" fmla="*/ 0 w 9"/>
                <a:gd name="T3" fmla="*/ 64 h 9"/>
                <a:gd name="T4" fmla="*/ 0 w 9"/>
                <a:gd name="T5" fmla="*/ 49 h 9"/>
                <a:gd name="T6" fmla="*/ 81 w 9"/>
                <a:gd name="T7" fmla="*/ 0 h 9"/>
                <a:gd name="T8" fmla="*/ 188 w 9"/>
                <a:gd name="T9" fmla="*/ 64 h 9"/>
                <a:gd name="T10" fmla="*/ 81 w 9"/>
                <a:gd name="T11" fmla="*/ 113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469" name="Oval 452"/>
            <p:cNvSpPr>
              <a:spLocks noChangeArrowheads="1"/>
            </p:cNvSpPr>
            <p:nvPr/>
          </p:nvSpPr>
          <p:spPr bwMode="auto">
            <a:xfrm>
              <a:off x="5229" y="387"/>
              <a:ext cx="13" cy="12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US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470" name="Freeform 453"/>
            <p:cNvSpPr>
              <a:spLocks noChangeArrowheads="1"/>
            </p:cNvSpPr>
            <p:nvPr/>
          </p:nvSpPr>
          <p:spPr bwMode="auto">
            <a:xfrm>
              <a:off x="5085" y="373"/>
              <a:ext cx="13" cy="12"/>
            </a:xfrm>
            <a:custGeom>
              <a:avLst/>
              <a:gdLst>
                <a:gd name="T0" fmla="*/ 81 w 9"/>
                <a:gd name="T1" fmla="*/ 113 h 9"/>
                <a:gd name="T2" fmla="*/ 0 w 9"/>
                <a:gd name="T3" fmla="*/ 64 h 9"/>
                <a:gd name="T4" fmla="*/ 0 w 9"/>
                <a:gd name="T5" fmla="*/ 49 h 9"/>
                <a:gd name="T6" fmla="*/ 81 w 9"/>
                <a:gd name="T7" fmla="*/ 0 h 9"/>
                <a:gd name="T8" fmla="*/ 188 w 9"/>
                <a:gd name="T9" fmla="*/ 64 h 9"/>
                <a:gd name="T10" fmla="*/ 81 w 9"/>
                <a:gd name="T11" fmla="*/ 113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471" name="Freeform 454"/>
            <p:cNvSpPr>
              <a:spLocks noChangeArrowheads="1"/>
            </p:cNvSpPr>
            <p:nvPr/>
          </p:nvSpPr>
          <p:spPr bwMode="auto">
            <a:xfrm>
              <a:off x="5353" y="387"/>
              <a:ext cx="12" cy="12"/>
            </a:xfrm>
            <a:custGeom>
              <a:avLst/>
              <a:gdLst>
                <a:gd name="T0" fmla="*/ 49 w 9"/>
                <a:gd name="T1" fmla="*/ 116 h 9"/>
                <a:gd name="T2" fmla="*/ 0 w 9"/>
                <a:gd name="T3" fmla="*/ 65 h 9"/>
                <a:gd name="T4" fmla="*/ 0 w 9"/>
                <a:gd name="T5" fmla="*/ 49 h 9"/>
                <a:gd name="T6" fmla="*/ 49 w 9"/>
                <a:gd name="T7" fmla="*/ 0 h 9"/>
                <a:gd name="T8" fmla="*/ 113 w 9"/>
                <a:gd name="T9" fmla="*/ 49 h 9"/>
                <a:gd name="T10" fmla="*/ 49 w 9"/>
                <a:gd name="T11" fmla="*/ 116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472" name="Freeform 455"/>
            <p:cNvSpPr>
              <a:spLocks noChangeArrowheads="1"/>
            </p:cNvSpPr>
            <p:nvPr/>
          </p:nvSpPr>
          <p:spPr bwMode="auto">
            <a:xfrm>
              <a:off x="5270" y="387"/>
              <a:ext cx="12" cy="12"/>
            </a:xfrm>
            <a:custGeom>
              <a:avLst/>
              <a:gdLst>
                <a:gd name="T0" fmla="*/ 65 w 9"/>
                <a:gd name="T1" fmla="*/ 116 h 9"/>
                <a:gd name="T2" fmla="*/ 0 w 9"/>
                <a:gd name="T3" fmla="*/ 65 h 9"/>
                <a:gd name="T4" fmla="*/ 0 w 9"/>
                <a:gd name="T5" fmla="*/ 49 h 9"/>
                <a:gd name="T6" fmla="*/ 65 w 9"/>
                <a:gd name="T7" fmla="*/ 0 h 9"/>
                <a:gd name="T8" fmla="*/ 116 w 9"/>
                <a:gd name="T9" fmla="*/ 49 h 9"/>
                <a:gd name="T10" fmla="*/ 65 w 9"/>
                <a:gd name="T11" fmla="*/ 116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473" name="Freeform 456"/>
            <p:cNvSpPr>
              <a:spLocks noChangeArrowheads="1"/>
            </p:cNvSpPr>
            <p:nvPr/>
          </p:nvSpPr>
          <p:spPr bwMode="auto">
            <a:xfrm>
              <a:off x="5208" y="373"/>
              <a:ext cx="12" cy="12"/>
            </a:xfrm>
            <a:custGeom>
              <a:avLst/>
              <a:gdLst>
                <a:gd name="T0" fmla="*/ 65 w 9"/>
                <a:gd name="T1" fmla="*/ 113 h 9"/>
                <a:gd name="T2" fmla="*/ 0 w 9"/>
                <a:gd name="T3" fmla="*/ 64 h 9"/>
                <a:gd name="T4" fmla="*/ 0 w 9"/>
                <a:gd name="T5" fmla="*/ 49 h 9"/>
                <a:gd name="T6" fmla="*/ 65 w 9"/>
                <a:gd name="T7" fmla="*/ 0 h 9"/>
                <a:gd name="T8" fmla="*/ 116 w 9"/>
                <a:gd name="T9" fmla="*/ 64 h 9"/>
                <a:gd name="T10" fmla="*/ 65 w 9"/>
                <a:gd name="T11" fmla="*/ 113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474" name="Freeform 457"/>
            <p:cNvSpPr>
              <a:spLocks noChangeArrowheads="1"/>
            </p:cNvSpPr>
            <p:nvPr/>
          </p:nvSpPr>
          <p:spPr bwMode="auto">
            <a:xfrm>
              <a:off x="5476" y="408"/>
              <a:ext cx="12" cy="12"/>
            </a:xfrm>
            <a:custGeom>
              <a:avLst/>
              <a:gdLst>
                <a:gd name="T0" fmla="*/ 49 w 9"/>
                <a:gd name="T1" fmla="*/ 113 h 9"/>
                <a:gd name="T2" fmla="*/ 0 w 9"/>
                <a:gd name="T3" fmla="*/ 49 h 9"/>
                <a:gd name="T4" fmla="*/ 0 w 9"/>
                <a:gd name="T5" fmla="*/ 49 h 9"/>
                <a:gd name="T6" fmla="*/ 49 w 9"/>
                <a:gd name="T7" fmla="*/ 0 h 9"/>
                <a:gd name="T8" fmla="*/ 116 w 9"/>
                <a:gd name="T9" fmla="*/ 49 h 9"/>
                <a:gd name="T10" fmla="*/ 49 w 9"/>
                <a:gd name="T11" fmla="*/ 113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2" y="9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475" name="Freeform 458"/>
            <p:cNvSpPr>
              <a:spLocks noChangeArrowheads="1"/>
            </p:cNvSpPr>
            <p:nvPr/>
          </p:nvSpPr>
          <p:spPr bwMode="auto">
            <a:xfrm>
              <a:off x="5436" y="408"/>
              <a:ext cx="12" cy="12"/>
            </a:xfrm>
            <a:custGeom>
              <a:avLst/>
              <a:gdLst>
                <a:gd name="T0" fmla="*/ 120 w 8"/>
                <a:gd name="T1" fmla="*/ 113 h 9"/>
                <a:gd name="T2" fmla="*/ 0 w 8"/>
                <a:gd name="T3" fmla="*/ 49 h 9"/>
                <a:gd name="T4" fmla="*/ 0 w 8"/>
                <a:gd name="T5" fmla="*/ 49 h 9"/>
                <a:gd name="T6" fmla="*/ 120 w 8"/>
                <a:gd name="T7" fmla="*/ 0 h 9"/>
                <a:gd name="T8" fmla="*/ 230 w 8"/>
                <a:gd name="T9" fmla="*/ 49 h 9"/>
                <a:gd name="T10" fmla="*/ 120 w 8"/>
                <a:gd name="T11" fmla="*/ 113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2" y="9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476" name="Freeform 459"/>
            <p:cNvSpPr>
              <a:spLocks noChangeArrowheads="1"/>
            </p:cNvSpPr>
            <p:nvPr/>
          </p:nvSpPr>
          <p:spPr bwMode="auto">
            <a:xfrm>
              <a:off x="5415" y="394"/>
              <a:ext cx="12" cy="12"/>
            </a:xfrm>
            <a:custGeom>
              <a:avLst/>
              <a:gdLst>
                <a:gd name="T0" fmla="*/ 64 w 9"/>
                <a:gd name="T1" fmla="*/ 113 h 9"/>
                <a:gd name="T2" fmla="*/ 49 w 9"/>
                <a:gd name="T3" fmla="*/ 113 h 9"/>
                <a:gd name="T4" fmla="*/ 0 w 9"/>
                <a:gd name="T5" fmla="*/ 64 h 9"/>
                <a:gd name="T6" fmla="*/ 0 w 9"/>
                <a:gd name="T7" fmla="*/ 49 h 9"/>
                <a:gd name="T8" fmla="*/ 49 w 9"/>
                <a:gd name="T9" fmla="*/ 0 h 9"/>
                <a:gd name="T10" fmla="*/ 113 w 9"/>
                <a:gd name="T11" fmla="*/ 49 h 9"/>
                <a:gd name="T12" fmla="*/ 64 w 9"/>
                <a:gd name="T13" fmla="*/ 113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477" name="Freeform 460"/>
            <p:cNvSpPr>
              <a:spLocks noChangeArrowheads="1"/>
            </p:cNvSpPr>
            <p:nvPr/>
          </p:nvSpPr>
          <p:spPr bwMode="auto">
            <a:xfrm>
              <a:off x="5331" y="394"/>
              <a:ext cx="14" cy="12"/>
            </a:xfrm>
            <a:custGeom>
              <a:avLst/>
              <a:gdLst>
                <a:gd name="T0" fmla="*/ 182 w 9"/>
                <a:gd name="T1" fmla="*/ 113 h 9"/>
                <a:gd name="T2" fmla="*/ 182 w 9"/>
                <a:gd name="T3" fmla="*/ 113 h 9"/>
                <a:gd name="T4" fmla="*/ 0 w 9"/>
                <a:gd name="T5" fmla="*/ 64 h 9"/>
                <a:gd name="T6" fmla="*/ 0 w 9"/>
                <a:gd name="T7" fmla="*/ 49 h 9"/>
                <a:gd name="T8" fmla="*/ 182 w 9"/>
                <a:gd name="T9" fmla="*/ 0 h 9"/>
                <a:gd name="T10" fmla="*/ 327 w 9"/>
                <a:gd name="T11" fmla="*/ 49 h 9"/>
                <a:gd name="T12" fmla="*/ 182 w 9"/>
                <a:gd name="T13" fmla="*/ 113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5" y="9"/>
                    <a:pt x="5" y="9"/>
                    <a:pt x="5" y="9"/>
                  </a:cubicBez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478" name="Freeform 461"/>
            <p:cNvSpPr>
              <a:spLocks noChangeArrowheads="1"/>
            </p:cNvSpPr>
            <p:nvPr/>
          </p:nvSpPr>
          <p:spPr bwMode="auto">
            <a:xfrm>
              <a:off x="5189" y="408"/>
              <a:ext cx="11" cy="12"/>
            </a:xfrm>
            <a:custGeom>
              <a:avLst/>
              <a:gdLst>
                <a:gd name="T0" fmla="*/ 69 w 8"/>
                <a:gd name="T1" fmla="*/ 113 h 9"/>
                <a:gd name="T2" fmla="*/ 0 w 8"/>
                <a:gd name="T3" fmla="*/ 49 h 9"/>
                <a:gd name="T4" fmla="*/ 0 w 8"/>
                <a:gd name="T5" fmla="*/ 49 h 9"/>
                <a:gd name="T6" fmla="*/ 69 w 8"/>
                <a:gd name="T7" fmla="*/ 0 h 9"/>
                <a:gd name="T8" fmla="*/ 131 w 8"/>
                <a:gd name="T9" fmla="*/ 49 h 9"/>
                <a:gd name="T10" fmla="*/ 69 w 8"/>
                <a:gd name="T11" fmla="*/ 113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1" y="9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479" name="Oval 462"/>
            <p:cNvSpPr>
              <a:spLocks noChangeArrowheads="1"/>
            </p:cNvSpPr>
            <p:nvPr/>
          </p:nvSpPr>
          <p:spPr bwMode="auto">
            <a:xfrm>
              <a:off x="5600" y="408"/>
              <a:ext cx="12" cy="12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US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480" name="Freeform 463"/>
            <p:cNvSpPr>
              <a:spLocks noChangeArrowheads="1"/>
            </p:cNvSpPr>
            <p:nvPr/>
          </p:nvSpPr>
          <p:spPr bwMode="auto">
            <a:xfrm>
              <a:off x="5580" y="394"/>
              <a:ext cx="11" cy="12"/>
            </a:xfrm>
            <a:custGeom>
              <a:avLst/>
              <a:gdLst>
                <a:gd name="T0" fmla="*/ 69 w 8"/>
                <a:gd name="T1" fmla="*/ 113 h 9"/>
                <a:gd name="T2" fmla="*/ 69 w 8"/>
                <a:gd name="T3" fmla="*/ 113 h 9"/>
                <a:gd name="T4" fmla="*/ 0 w 8"/>
                <a:gd name="T5" fmla="*/ 64 h 9"/>
                <a:gd name="T6" fmla="*/ 0 w 8"/>
                <a:gd name="T7" fmla="*/ 49 h 9"/>
                <a:gd name="T8" fmla="*/ 69 w 8"/>
                <a:gd name="T9" fmla="*/ 0 h 9"/>
                <a:gd name="T10" fmla="*/ 131 w 8"/>
                <a:gd name="T11" fmla="*/ 49 h 9"/>
                <a:gd name="T12" fmla="*/ 69 w 8"/>
                <a:gd name="T13" fmla="*/ 113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481" name="Freeform 464"/>
            <p:cNvSpPr>
              <a:spLocks noChangeArrowheads="1"/>
            </p:cNvSpPr>
            <p:nvPr/>
          </p:nvSpPr>
          <p:spPr bwMode="auto">
            <a:xfrm>
              <a:off x="5558" y="408"/>
              <a:ext cx="12" cy="12"/>
            </a:xfrm>
            <a:custGeom>
              <a:avLst/>
              <a:gdLst>
                <a:gd name="T0" fmla="*/ 49 w 9"/>
                <a:gd name="T1" fmla="*/ 113 h 9"/>
                <a:gd name="T2" fmla="*/ 0 w 9"/>
                <a:gd name="T3" fmla="*/ 49 h 9"/>
                <a:gd name="T4" fmla="*/ 0 w 9"/>
                <a:gd name="T5" fmla="*/ 49 h 9"/>
                <a:gd name="T6" fmla="*/ 49 w 9"/>
                <a:gd name="T7" fmla="*/ 0 h 9"/>
                <a:gd name="T8" fmla="*/ 113 w 9"/>
                <a:gd name="T9" fmla="*/ 49 h 9"/>
                <a:gd name="T10" fmla="*/ 49 w 9"/>
                <a:gd name="T11" fmla="*/ 113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2" y="9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482" name="Freeform 465"/>
            <p:cNvSpPr>
              <a:spLocks noChangeArrowheads="1"/>
            </p:cNvSpPr>
            <p:nvPr/>
          </p:nvSpPr>
          <p:spPr bwMode="auto">
            <a:xfrm>
              <a:off x="5538" y="394"/>
              <a:ext cx="12" cy="12"/>
            </a:xfrm>
            <a:custGeom>
              <a:avLst/>
              <a:gdLst>
                <a:gd name="T0" fmla="*/ 64 w 9"/>
                <a:gd name="T1" fmla="*/ 113 h 9"/>
                <a:gd name="T2" fmla="*/ 49 w 9"/>
                <a:gd name="T3" fmla="*/ 113 h 9"/>
                <a:gd name="T4" fmla="*/ 0 w 9"/>
                <a:gd name="T5" fmla="*/ 64 h 9"/>
                <a:gd name="T6" fmla="*/ 0 w 9"/>
                <a:gd name="T7" fmla="*/ 49 h 9"/>
                <a:gd name="T8" fmla="*/ 64 w 9"/>
                <a:gd name="T9" fmla="*/ 0 h 9"/>
                <a:gd name="T10" fmla="*/ 113 w 9"/>
                <a:gd name="T11" fmla="*/ 49 h 9"/>
                <a:gd name="T12" fmla="*/ 64 w 9"/>
                <a:gd name="T13" fmla="*/ 113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483" name="Freeform 466"/>
            <p:cNvSpPr>
              <a:spLocks noChangeArrowheads="1"/>
            </p:cNvSpPr>
            <p:nvPr/>
          </p:nvSpPr>
          <p:spPr bwMode="auto">
            <a:xfrm>
              <a:off x="5518" y="408"/>
              <a:ext cx="12" cy="12"/>
            </a:xfrm>
            <a:custGeom>
              <a:avLst/>
              <a:gdLst>
                <a:gd name="T0" fmla="*/ 120 w 8"/>
                <a:gd name="T1" fmla="*/ 113 h 9"/>
                <a:gd name="T2" fmla="*/ 0 w 8"/>
                <a:gd name="T3" fmla="*/ 49 h 9"/>
                <a:gd name="T4" fmla="*/ 0 w 8"/>
                <a:gd name="T5" fmla="*/ 49 h 9"/>
                <a:gd name="T6" fmla="*/ 120 w 8"/>
                <a:gd name="T7" fmla="*/ 0 h 9"/>
                <a:gd name="T8" fmla="*/ 230 w 8"/>
                <a:gd name="T9" fmla="*/ 49 h 9"/>
                <a:gd name="T10" fmla="*/ 120 w 8"/>
                <a:gd name="T11" fmla="*/ 113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2" y="9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484" name="Freeform 467"/>
            <p:cNvSpPr>
              <a:spLocks noChangeArrowheads="1"/>
            </p:cNvSpPr>
            <p:nvPr/>
          </p:nvSpPr>
          <p:spPr bwMode="auto">
            <a:xfrm>
              <a:off x="5496" y="394"/>
              <a:ext cx="12" cy="12"/>
            </a:xfrm>
            <a:custGeom>
              <a:avLst/>
              <a:gdLst>
                <a:gd name="T0" fmla="*/ 49 w 9"/>
                <a:gd name="T1" fmla="*/ 113 h 9"/>
                <a:gd name="T2" fmla="*/ 49 w 9"/>
                <a:gd name="T3" fmla="*/ 113 h 9"/>
                <a:gd name="T4" fmla="*/ 0 w 9"/>
                <a:gd name="T5" fmla="*/ 64 h 9"/>
                <a:gd name="T6" fmla="*/ 0 w 9"/>
                <a:gd name="T7" fmla="*/ 49 h 9"/>
                <a:gd name="T8" fmla="*/ 49 w 9"/>
                <a:gd name="T9" fmla="*/ 0 h 9"/>
                <a:gd name="T10" fmla="*/ 113 w 9"/>
                <a:gd name="T11" fmla="*/ 49 h 9"/>
                <a:gd name="T12" fmla="*/ 49 w 9"/>
                <a:gd name="T13" fmla="*/ 113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485" name="Freeform 468"/>
            <p:cNvSpPr>
              <a:spLocks noChangeArrowheads="1"/>
            </p:cNvSpPr>
            <p:nvPr/>
          </p:nvSpPr>
          <p:spPr bwMode="auto">
            <a:xfrm>
              <a:off x="5455" y="394"/>
              <a:ext cx="13" cy="12"/>
            </a:xfrm>
            <a:custGeom>
              <a:avLst/>
              <a:gdLst>
                <a:gd name="T0" fmla="*/ 108 w 9"/>
                <a:gd name="T1" fmla="*/ 113 h 9"/>
                <a:gd name="T2" fmla="*/ 108 w 9"/>
                <a:gd name="T3" fmla="*/ 113 h 9"/>
                <a:gd name="T4" fmla="*/ 0 w 9"/>
                <a:gd name="T5" fmla="*/ 49 h 9"/>
                <a:gd name="T6" fmla="*/ 108 w 9"/>
                <a:gd name="T7" fmla="*/ 0 h 9"/>
                <a:gd name="T8" fmla="*/ 188 w 9"/>
                <a:gd name="T9" fmla="*/ 49 h 9"/>
                <a:gd name="T10" fmla="*/ 108 w 9"/>
                <a:gd name="T11" fmla="*/ 113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5" y="9"/>
                    <a:pt x="5" y="9"/>
                    <a:pt x="5" y="9"/>
                  </a:cubicBezTo>
                  <a:cubicBezTo>
                    <a:pt x="2" y="9"/>
                    <a:pt x="0" y="7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486" name="Freeform 469"/>
            <p:cNvSpPr>
              <a:spLocks noChangeArrowheads="1"/>
            </p:cNvSpPr>
            <p:nvPr/>
          </p:nvSpPr>
          <p:spPr bwMode="auto">
            <a:xfrm>
              <a:off x="5744" y="394"/>
              <a:ext cx="13" cy="12"/>
            </a:xfrm>
            <a:custGeom>
              <a:avLst/>
              <a:gdLst>
                <a:gd name="T0" fmla="*/ 108 w 9"/>
                <a:gd name="T1" fmla="*/ 113 h 9"/>
                <a:gd name="T2" fmla="*/ 81 w 9"/>
                <a:gd name="T3" fmla="*/ 113 h 9"/>
                <a:gd name="T4" fmla="*/ 0 w 9"/>
                <a:gd name="T5" fmla="*/ 49 h 9"/>
                <a:gd name="T6" fmla="*/ 81 w 9"/>
                <a:gd name="T7" fmla="*/ 0 h 9"/>
                <a:gd name="T8" fmla="*/ 188 w 9"/>
                <a:gd name="T9" fmla="*/ 49 h 9"/>
                <a:gd name="T10" fmla="*/ 108 w 9"/>
                <a:gd name="T11" fmla="*/ 113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487" name="Freeform 470"/>
            <p:cNvSpPr>
              <a:spLocks noChangeArrowheads="1"/>
            </p:cNvSpPr>
            <p:nvPr/>
          </p:nvSpPr>
          <p:spPr bwMode="auto">
            <a:xfrm>
              <a:off x="5723" y="408"/>
              <a:ext cx="12" cy="12"/>
            </a:xfrm>
            <a:custGeom>
              <a:avLst/>
              <a:gdLst>
                <a:gd name="T0" fmla="*/ 64 w 9"/>
                <a:gd name="T1" fmla="*/ 113 h 9"/>
                <a:gd name="T2" fmla="*/ 0 w 9"/>
                <a:gd name="T3" fmla="*/ 49 h 9"/>
                <a:gd name="T4" fmla="*/ 0 w 9"/>
                <a:gd name="T5" fmla="*/ 49 h 9"/>
                <a:gd name="T6" fmla="*/ 64 w 9"/>
                <a:gd name="T7" fmla="*/ 0 h 9"/>
                <a:gd name="T8" fmla="*/ 113 w 9"/>
                <a:gd name="T9" fmla="*/ 49 h 9"/>
                <a:gd name="T10" fmla="*/ 64 w 9"/>
                <a:gd name="T11" fmla="*/ 113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2" y="9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488" name="Freeform 471"/>
            <p:cNvSpPr>
              <a:spLocks noChangeArrowheads="1"/>
            </p:cNvSpPr>
            <p:nvPr/>
          </p:nvSpPr>
          <p:spPr bwMode="auto">
            <a:xfrm>
              <a:off x="5703" y="394"/>
              <a:ext cx="11" cy="12"/>
            </a:xfrm>
            <a:custGeom>
              <a:avLst/>
              <a:gdLst>
                <a:gd name="T0" fmla="*/ 69 w 8"/>
                <a:gd name="T1" fmla="*/ 113 h 9"/>
                <a:gd name="T2" fmla="*/ 69 w 8"/>
                <a:gd name="T3" fmla="*/ 113 h 9"/>
                <a:gd name="T4" fmla="*/ 0 w 8"/>
                <a:gd name="T5" fmla="*/ 64 h 9"/>
                <a:gd name="T6" fmla="*/ 0 w 8"/>
                <a:gd name="T7" fmla="*/ 49 h 9"/>
                <a:gd name="T8" fmla="*/ 69 w 8"/>
                <a:gd name="T9" fmla="*/ 0 h 9"/>
                <a:gd name="T10" fmla="*/ 131 w 8"/>
                <a:gd name="T11" fmla="*/ 49 h 9"/>
                <a:gd name="T12" fmla="*/ 69 w 8"/>
                <a:gd name="T13" fmla="*/ 113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489" name="Oval 472"/>
            <p:cNvSpPr>
              <a:spLocks noChangeArrowheads="1"/>
            </p:cNvSpPr>
            <p:nvPr/>
          </p:nvSpPr>
          <p:spPr bwMode="auto">
            <a:xfrm>
              <a:off x="5682" y="408"/>
              <a:ext cx="12" cy="12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US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490" name="Freeform 473"/>
            <p:cNvSpPr>
              <a:spLocks noChangeArrowheads="1"/>
            </p:cNvSpPr>
            <p:nvPr/>
          </p:nvSpPr>
          <p:spPr bwMode="auto">
            <a:xfrm>
              <a:off x="5661" y="394"/>
              <a:ext cx="12" cy="12"/>
            </a:xfrm>
            <a:custGeom>
              <a:avLst/>
              <a:gdLst>
                <a:gd name="T0" fmla="*/ 64 w 9"/>
                <a:gd name="T1" fmla="*/ 113 h 9"/>
                <a:gd name="T2" fmla="*/ 64 w 9"/>
                <a:gd name="T3" fmla="*/ 113 h 9"/>
                <a:gd name="T4" fmla="*/ 0 w 9"/>
                <a:gd name="T5" fmla="*/ 64 h 9"/>
                <a:gd name="T6" fmla="*/ 0 w 9"/>
                <a:gd name="T7" fmla="*/ 49 h 9"/>
                <a:gd name="T8" fmla="*/ 64 w 9"/>
                <a:gd name="T9" fmla="*/ 0 h 9"/>
                <a:gd name="T10" fmla="*/ 113 w 9"/>
                <a:gd name="T11" fmla="*/ 49 h 9"/>
                <a:gd name="T12" fmla="*/ 64 w 9"/>
                <a:gd name="T13" fmla="*/ 113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5" y="9"/>
                    <a:pt x="5" y="9"/>
                    <a:pt x="5" y="9"/>
                  </a:cubicBez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491" name="Freeform 474"/>
            <p:cNvSpPr>
              <a:spLocks noChangeArrowheads="1"/>
            </p:cNvSpPr>
            <p:nvPr/>
          </p:nvSpPr>
          <p:spPr bwMode="auto">
            <a:xfrm>
              <a:off x="5640" y="408"/>
              <a:ext cx="12" cy="12"/>
            </a:xfrm>
            <a:custGeom>
              <a:avLst/>
              <a:gdLst>
                <a:gd name="T0" fmla="*/ 120 w 8"/>
                <a:gd name="T1" fmla="*/ 113 h 9"/>
                <a:gd name="T2" fmla="*/ 0 w 8"/>
                <a:gd name="T3" fmla="*/ 49 h 9"/>
                <a:gd name="T4" fmla="*/ 0 w 8"/>
                <a:gd name="T5" fmla="*/ 49 h 9"/>
                <a:gd name="T6" fmla="*/ 120 w 8"/>
                <a:gd name="T7" fmla="*/ 0 h 9"/>
                <a:gd name="T8" fmla="*/ 230 w 8"/>
                <a:gd name="T9" fmla="*/ 49 h 9"/>
                <a:gd name="T10" fmla="*/ 230 w 8"/>
                <a:gd name="T11" fmla="*/ 49 h 9"/>
                <a:gd name="T12" fmla="*/ 120 w 8"/>
                <a:gd name="T13" fmla="*/ 113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2" y="9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492" name="Freeform 475"/>
            <p:cNvSpPr>
              <a:spLocks noChangeArrowheads="1"/>
            </p:cNvSpPr>
            <p:nvPr/>
          </p:nvSpPr>
          <p:spPr bwMode="auto">
            <a:xfrm>
              <a:off x="5621" y="394"/>
              <a:ext cx="12" cy="12"/>
            </a:xfrm>
            <a:custGeom>
              <a:avLst/>
              <a:gdLst>
                <a:gd name="T0" fmla="*/ 49 w 9"/>
                <a:gd name="T1" fmla="*/ 113 h 9"/>
                <a:gd name="T2" fmla="*/ 49 w 9"/>
                <a:gd name="T3" fmla="*/ 113 h 9"/>
                <a:gd name="T4" fmla="*/ 0 w 9"/>
                <a:gd name="T5" fmla="*/ 49 h 9"/>
                <a:gd name="T6" fmla="*/ 49 w 9"/>
                <a:gd name="T7" fmla="*/ 0 h 9"/>
                <a:gd name="T8" fmla="*/ 113 w 9"/>
                <a:gd name="T9" fmla="*/ 49 h 9"/>
                <a:gd name="T10" fmla="*/ 49 w 9"/>
                <a:gd name="T11" fmla="*/ 113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493" name="Freeform 476"/>
            <p:cNvSpPr>
              <a:spLocks noChangeArrowheads="1"/>
            </p:cNvSpPr>
            <p:nvPr/>
          </p:nvSpPr>
          <p:spPr bwMode="auto">
            <a:xfrm>
              <a:off x="5393" y="408"/>
              <a:ext cx="13" cy="12"/>
            </a:xfrm>
            <a:custGeom>
              <a:avLst/>
              <a:gdLst>
                <a:gd name="T0" fmla="*/ 108 w 9"/>
                <a:gd name="T1" fmla="*/ 113 h 9"/>
                <a:gd name="T2" fmla="*/ 0 w 9"/>
                <a:gd name="T3" fmla="*/ 49 h 9"/>
                <a:gd name="T4" fmla="*/ 0 w 9"/>
                <a:gd name="T5" fmla="*/ 49 h 9"/>
                <a:gd name="T6" fmla="*/ 108 w 9"/>
                <a:gd name="T7" fmla="*/ 0 h 9"/>
                <a:gd name="T8" fmla="*/ 188 w 9"/>
                <a:gd name="T9" fmla="*/ 49 h 9"/>
                <a:gd name="T10" fmla="*/ 108 w 9"/>
                <a:gd name="T11" fmla="*/ 113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2" y="9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494" name="Freeform 477"/>
            <p:cNvSpPr>
              <a:spLocks noChangeArrowheads="1"/>
            </p:cNvSpPr>
            <p:nvPr/>
          </p:nvSpPr>
          <p:spPr bwMode="auto">
            <a:xfrm>
              <a:off x="5312" y="408"/>
              <a:ext cx="11" cy="12"/>
            </a:xfrm>
            <a:custGeom>
              <a:avLst/>
              <a:gdLst>
                <a:gd name="T0" fmla="*/ 69 w 8"/>
                <a:gd name="T1" fmla="*/ 113 h 9"/>
                <a:gd name="T2" fmla="*/ 0 w 8"/>
                <a:gd name="T3" fmla="*/ 49 h 9"/>
                <a:gd name="T4" fmla="*/ 0 w 8"/>
                <a:gd name="T5" fmla="*/ 49 h 9"/>
                <a:gd name="T6" fmla="*/ 69 w 8"/>
                <a:gd name="T7" fmla="*/ 0 h 9"/>
                <a:gd name="T8" fmla="*/ 131 w 8"/>
                <a:gd name="T9" fmla="*/ 49 h 9"/>
                <a:gd name="T10" fmla="*/ 69 w 8"/>
                <a:gd name="T11" fmla="*/ 113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2" y="9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495" name="Freeform 478"/>
            <p:cNvSpPr>
              <a:spLocks noChangeArrowheads="1"/>
            </p:cNvSpPr>
            <p:nvPr/>
          </p:nvSpPr>
          <p:spPr bwMode="auto">
            <a:xfrm>
              <a:off x="5250" y="394"/>
              <a:ext cx="11" cy="12"/>
            </a:xfrm>
            <a:custGeom>
              <a:avLst/>
              <a:gdLst>
                <a:gd name="T0" fmla="*/ 69 w 8"/>
                <a:gd name="T1" fmla="*/ 113 h 9"/>
                <a:gd name="T2" fmla="*/ 69 w 8"/>
                <a:gd name="T3" fmla="*/ 113 h 9"/>
                <a:gd name="T4" fmla="*/ 0 w 8"/>
                <a:gd name="T5" fmla="*/ 64 h 9"/>
                <a:gd name="T6" fmla="*/ 0 w 8"/>
                <a:gd name="T7" fmla="*/ 49 h 9"/>
                <a:gd name="T8" fmla="*/ 69 w 8"/>
                <a:gd name="T9" fmla="*/ 0 h 9"/>
                <a:gd name="T10" fmla="*/ 131 w 8"/>
                <a:gd name="T11" fmla="*/ 49 h 9"/>
                <a:gd name="T12" fmla="*/ 69 w 8"/>
                <a:gd name="T13" fmla="*/ 113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1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496" name="Freeform 479"/>
            <p:cNvSpPr>
              <a:spLocks noChangeArrowheads="1"/>
            </p:cNvSpPr>
            <p:nvPr/>
          </p:nvSpPr>
          <p:spPr bwMode="auto">
            <a:xfrm>
              <a:off x="5168" y="394"/>
              <a:ext cx="11" cy="12"/>
            </a:xfrm>
            <a:custGeom>
              <a:avLst/>
              <a:gdLst>
                <a:gd name="T0" fmla="*/ 69 w 8"/>
                <a:gd name="T1" fmla="*/ 113 h 9"/>
                <a:gd name="T2" fmla="*/ 69 w 8"/>
                <a:gd name="T3" fmla="*/ 113 h 9"/>
                <a:gd name="T4" fmla="*/ 0 w 8"/>
                <a:gd name="T5" fmla="*/ 64 h 9"/>
                <a:gd name="T6" fmla="*/ 0 w 8"/>
                <a:gd name="T7" fmla="*/ 49 h 9"/>
                <a:gd name="T8" fmla="*/ 69 w 8"/>
                <a:gd name="T9" fmla="*/ 0 h 9"/>
                <a:gd name="T10" fmla="*/ 131 w 8"/>
                <a:gd name="T11" fmla="*/ 49 h 9"/>
                <a:gd name="T12" fmla="*/ 69 w 8"/>
                <a:gd name="T13" fmla="*/ 113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8" y="2"/>
                    <a:pt x="8" y="4"/>
                  </a:cubicBezTo>
                  <a:cubicBezTo>
                    <a:pt x="8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497" name="Freeform 480"/>
            <p:cNvSpPr>
              <a:spLocks noChangeArrowheads="1"/>
            </p:cNvSpPr>
            <p:nvPr/>
          </p:nvSpPr>
          <p:spPr bwMode="auto">
            <a:xfrm>
              <a:off x="5374" y="394"/>
              <a:ext cx="11" cy="12"/>
            </a:xfrm>
            <a:custGeom>
              <a:avLst/>
              <a:gdLst>
                <a:gd name="T0" fmla="*/ 69 w 8"/>
                <a:gd name="T1" fmla="*/ 113 h 9"/>
                <a:gd name="T2" fmla="*/ 69 w 8"/>
                <a:gd name="T3" fmla="*/ 113 h 9"/>
                <a:gd name="T4" fmla="*/ 0 w 8"/>
                <a:gd name="T5" fmla="*/ 64 h 9"/>
                <a:gd name="T6" fmla="*/ 0 w 8"/>
                <a:gd name="T7" fmla="*/ 49 h 9"/>
                <a:gd name="T8" fmla="*/ 69 w 8"/>
                <a:gd name="T9" fmla="*/ 0 h 9"/>
                <a:gd name="T10" fmla="*/ 131 w 8"/>
                <a:gd name="T11" fmla="*/ 49 h 9"/>
                <a:gd name="T12" fmla="*/ 69 w 8"/>
                <a:gd name="T13" fmla="*/ 113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498" name="Freeform 481"/>
            <p:cNvSpPr>
              <a:spLocks noChangeArrowheads="1"/>
            </p:cNvSpPr>
            <p:nvPr/>
          </p:nvSpPr>
          <p:spPr bwMode="auto">
            <a:xfrm>
              <a:off x="5291" y="394"/>
              <a:ext cx="13" cy="12"/>
            </a:xfrm>
            <a:custGeom>
              <a:avLst/>
              <a:gdLst>
                <a:gd name="T0" fmla="*/ 81 w 9"/>
                <a:gd name="T1" fmla="*/ 113 h 9"/>
                <a:gd name="T2" fmla="*/ 81 w 9"/>
                <a:gd name="T3" fmla="*/ 113 h 9"/>
                <a:gd name="T4" fmla="*/ 0 w 9"/>
                <a:gd name="T5" fmla="*/ 64 h 9"/>
                <a:gd name="T6" fmla="*/ 0 w 9"/>
                <a:gd name="T7" fmla="*/ 49 h 9"/>
                <a:gd name="T8" fmla="*/ 81 w 9"/>
                <a:gd name="T9" fmla="*/ 0 h 9"/>
                <a:gd name="T10" fmla="*/ 188 w 9"/>
                <a:gd name="T11" fmla="*/ 49 h 9"/>
                <a:gd name="T12" fmla="*/ 81 w 9"/>
                <a:gd name="T13" fmla="*/ 113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499" name="Oval 482"/>
            <p:cNvSpPr>
              <a:spLocks noChangeArrowheads="1"/>
            </p:cNvSpPr>
            <p:nvPr/>
          </p:nvSpPr>
          <p:spPr bwMode="auto">
            <a:xfrm>
              <a:off x="5229" y="408"/>
              <a:ext cx="13" cy="12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US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500" name="Freeform 483"/>
            <p:cNvSpPr>
              <a:spLocks noChangeArrowheads="1"/>
            </p:cNvSpPr>
            <p:nvPr/>
          </p:nvSpPr>
          <p:spPr bwMode="auto">
            <a:xfrm>
              <a:off x="5146" y="408"/>
              <a:ext cx="14" cy="12"/>
            </a:xfrm>
            <a:custGeom>
              <a:avLst/>
              <a:gdLst>
                <a:gd name="T0" fmla="*/ 148 w 9"/>
                <a:gd name="T1" fmla="*/ 113 h 9"/>
                <a:gd name="T2" fmla="*/ 0 w 9"/>
                <a:gd name="T3" fmla="*/ 49 h 9"/>
                <a:gd name="T4" fmla="*/ 0 w 9"/>
                <a:gd name="T5" fmla="*/ 49 h 9"/>
                <a:gd name="T6" fmla="*/ 148 w 9"/>
                <a:gd name="T7" fmla="*/ 0 h 9"/>
                <a:gd name="T8" fmla="*/ 327 w 9"/>
                <a:gd name="T9" fmla="*/ 49 h 9"/>
                <a:gd name="T10" fmla="*/ 148 w 9"/>
                <a:gd name="T11" fmla="*/ 113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2" y="9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501" name="Freeform 484"/>
            <p:cNvSpPr>
              <a:spLocks noChangeArrowheads="1"/>
            </p:cNvSpPr>
            <p:nvPr/>
          </p:nvSpPr>
          <p:spPr bwMode="auto">
            <a:xfrm>
              <a:off x="5106" y="408"/>
              <a:ext cx="11" cy="12"/>
            </a:xfrm>
            <a:custGeom>
              <a:avLst/>
              <a:gdLst>
                <a:gd name="T0" fmla="*/ 69 w 8"/>
                <a:gd name="T1" fmla="*/ 113 h 9"/>
                <a:gd name="T2" fmla="*/ 0 w 8"/>
                <a:gd name="T3" fmla="*/ 49 h 9"/>
                <a:gd name="T4" fmla="*/ 0 w 8"/>
                <a:gd name="T5" fmla="*/ 49 h 9"/>
                <a:gd name="T6" fmla="*/ 69 w 8"/>
                <a:gd name="T7" fmla="*/ 0 h 9"/>
                <a:gd name="T8" fmla="*/ 131 w 8"/>
                <a:gd name="T9" fmla="*/ 49 h 9"/>
                <a:gd name="T10" fmla="*/ 69 w 8"/>
                <a:gd name="T11" fmla="*/ 113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2" y="9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502" name="Freeform 485"/>
            <p:cNvSpPr>
              <a:spLocks noChangeArrowheads="1"/>
            </p:cNvSpPr>
            <p:nvPr/>
          </p:nvSpPr>
          <p:spPr bwMode="auto">
            <a:xfrm>
              <a:off x="5353" y="408"/>
              <a:ext cx="12" cy="12"/>
            </a:xfrm>
            <a:custGeom>
              <a:avLst/>
              <a:gdLst>
                <a:gd name="T0" fmla="*/ 49 w 9"/>
                <a:gd name="T1" fmla="*/ 113 h 9"/>
                <a:gd name="T2" fmla="*/ 0 w 9"/>
                <a:gd name="T3" fmla="*/ 49 h 9"/>
                <a:gd name="T4" fmla="*/ 0 w 9"/>
                <a:gd name="T5" fmla="*/ 49 h 9"/>
                <a:gd name="T6" fmla="*/ 49 w 9"/>
                <a:gd name="T7" fmla="*/ 0 h 9"/>
                <a:gd name="T8" fmla="*/ 113 w 9"/>
                <a:gd name="T9" fmla="*/ 49 h 9"/>
                <a:gd name="T10" fmla="*/ 49 w 9"/>
                <a:gd name="T11" fmla="*/ 113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2" y="9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503" name="Freeform 486"/>
            <p:cNvSpPr>
              <a:spLocks noChangeArrowheads="1"/>
            </p:cNvSpPr>
            <p:nvPr/>
          </p:nvSpPr>
          <p:spPr bwMode="auto">
            <a:xfrm>
              <a:off x="5270" y="408"/>
              <a:ext cx="12" cy="12"/>
            </a:xfrm>
            <a:custGeom>
              <a:avLst/>
              <a:gdLst>
                <a:gd name="T0" fmla="*/ 65 w 9"/>
                <a:gd name="T1" fmla="*/ 113 h 9"/>
                <a:gd name="T2" fmla="*/ 0 w 9"/>
                <a:gd name="T3" fmla="*/ 49 h 9"/>
                <a:gd name="T4" fmla="*/ 0 w 9"/>
                <a:gd name="T5" fmla="*/ 49 h 9"/>
                <a:gd name="T6" fmla="*/ 65 w 9"/>
                <a:gd name="T7" fmla="*/ 0 h 9"/>
                <a:gd name="T8" fmla="*/ 116 w 9"/>
                <a:gd name="T9" fmla="*/ 49 h 9"/>
                <a:gd name="T10" fmla="*/ 65 w 9"/>
                <a:gd name="T11" fmla="*/ 113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2" y="9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504" name="Freeform 487"/>
            <p:cNvSpPr>
              <a:spLocks noChangeArrowheads="1"/>
            </p:cNvSpPr>
            <p:nvPr/>
          </p:nvSpPr>
          <p:spPr bwMode="auto">
            <a:xfrm>
              <a:off x="5208" y="394"/>
              <a:ext cx="12" cy="12"/>
            </a:xfrm>
            <a:custGeom>
              <a:avLst/>
              <a:gdLst>
                <a:gd name="T0" fmla="*/ 65 w 9"/>
                <a:gd name="T1" fmla="*/ 113 h 9"/>
                <a:gd name="T2" fmla="*/ 49 w 9"/>
                <a:gd name="T3" fmla="*/ 113 h 9"/>
                <a:gd name="T4" fmla="*/ 0 w 9"/>
                <a:gd name="T5" fmla="*/ 64 h 9"/>
                <a:gd name="T6" fmla="*/ 0 w 9"/>
                <a:gd name="T7" fmla="*/ 49 h 9"/>
                <a:gd name="T8" fmla="*/ 65 w 9"/>
                <a:gd name="T9" fmla="*/ 0 h 9"/>
                <a:gd name="T10" fmla="*/ 116 w 9"/>
                <a:gd name="T11" fmla="*/ 49 h 9"/>
                <a:gd name="T12" fmla="*/ 65 w 9"/>
                <a:gd name="T13" fmla="*/ 113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505" name="Freeform 488"/>
            <p:cNvSpPr>
              <a:spLocks noChangeArrowheads="1"/>
            </p:cNvSpPr>
            <p:nvPr/>
          </p:nvSpPr>
          <p:spPr bwMode="auto">
            <a:xfrm>
              <a:off x="5125" y="394"/>
              <a:ext cx="13" cy="12"/>
            </a:xfrm>
            <a:custGeom>
              <a:avLst/>
              <a:gdLst>
                <a:gd name="T0" fmla="*/ 108 w 9"/>
                <a:gd name="T1" fmla="*/ 113 h 9"/>
                <a:gd name="T2" fmla="*/ 108 w 9"/>
                <a:gd name="T3" fmla="*/ 113 h 9"/>
                <a:gd name="T4" fmla="*/ 0 w 9"/>
                <a:gd name="T5" fmla="*/ 49 h 9"/>
                <a:gd name="T6" fmla="*/ 108 w 9"/>
                <a:gd name="T7" fmla="*/ 0 h 9"/>
                <a:gd name="T8" fmla="*/ 188 w 9"/>
                <a:gd name="T9" fmla="*/ 49 h 9"/>
                <a:gd name="T10" fmla="*/ 108 w 9"/>
                <a:gd name="T11" fmla="*/ 113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5" y="9"/>
                    <a:pt x="5" y="9"/>
                    <a:pt x="5" y="9"/>
                  </a:cubicBezTo>
                  <a:cubicBezTo>
                    <a:pt x="2" y="9"/>
                    <a:pt x="0" y="7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506" name="Freeform 489"/>
            <p:cNvSpPr>
              <a:spLocks noChangeArrowheads="1"/>
            </p:cNvSpPr>
            <p:nvPr/>
          </p:nvSpPr>
          <p:spPr bwMode="auto">
            <a:xfrm>
              <a:off x="5476" y="429"/>
              <a:ext cx="12" cy="12"/>
            </a:xfrm>
            <a:custGeom>
              <a:avLst/>
              <a:gdLst>
                <a:gd name="T0" fmla="*/ 49 w 9"/>
                <a:gd name="T1" fmla="*/ 230 h 8"/>
                <a:gd name="T2" fmla="*/ 0 w 9"/>
                <a:gd name="T3" fmla="*/ 120 h 8"/>
                <a:gd name="T4" fmla="*/ 0 w 9"/>
                <a:gd name="T5" fmla="*/ 120 h 8"/>
                <a:gd name="T6" fmla="*/ 49 w 9"/>
                <a:gd name="T7" fmla="*/ 0 h 8"/>
                <a:gd name="T8" fmla="*/ 116 w 9"/>
                <a:gd name="T9" fmla="*/ 120 h 8"/>
                <a:gd name="T10" fmla="*/ 49 w 9"/>
                <a:gd name="T11" fmla="*/ 230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8">
                  <a:moveTo>
                    <a:pt x="4" y="8"/>
                  </a:moveTo>
                  <a:cubicBezTo>
                    <a:pt x="2" y="8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6"/>
                    <a:pt x="7" y="8"/>
                    <a:pt x="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507" name="Freeform 490"/>
            <p:cNvSpPr>
              <a:spLocks noChangeArrowheads="1"/>
            </p:cNvSpPr>
            <p:nvPr/>
          </p:nvSpPr>
          <p:spPr bwMode="auto">
            <a:xfrm>
              <a:off x="5436" y="429"/>
              <a:ext cx="12" cy="12"/>
            </a:xfrm>
            <a:custGeom>
              <a:avLst/>
              <a:gdLst>
                <a:gd name="T0" fmla="*/ 120 w 8"/>
                <a:gd name="T1" fmla="*/ 230 h 8"/>
                <a:gd name="T2" fmla="*/ 0 w 8"/>
                <a:gd name="T3" fmla="*/ 120 h 8"/>
                <a:gd name="T4" fmla="*/ 0 w 8"/>
                <a:gd name="T5" fmla="*/ 120 h 8"/>
                <a:gd name="T6" fmla="*/ 120 w 8"/>
                <a:gd name="T7" fmla="*/ 0 h 8"/>
                <a:gd name="T8" fmla="*/ 230 w 8"/>
                <a:gd name="T9" fmla="*/ 120 h 8"/>
                <a:gd name="T10" fmla="*/ 120 w 8"/>
                <a:gd name="T11" fmla="*/ 230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" h="8">
                  <a:moveTo>
                    <a:pt x="4" y="8"/>
                  </a:moveTo>
                  <a:cubicBezTo>
                    <a:pt x="2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6"/>
                    <a:pt x="6" y="8"/>
                    <a:pt x="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508" name="Freeform 491"/>
            <p:cNvSpPr>
              <a:spLocks noChangeArrowheads="1"/>
            </p:cNvSpPr>
            <p:nvPr/>
          </p:nvSpPr>
          <p:spPr bwMode="auto">
            <a:xfrm>
              <a:off x="5415" y="415"/>
              <a:ext cx="12" cy="13"/>
            </a:xfrm>
            <a:custGeom>
              <a:avLst/>
              <a:gdLst>
                <a:gd name="T0" fmla="*/ 49 w 9"/>
                <a:gd name="T1" fmla="*/ 188 h 9"/>
                <a:gd name="T2" fmla="*/ 0 w 9"/>
                <a:gd name="T3" fmla="*/ 81 h 9"/>
                <a:gd name="T4" fmla="*/ 0 w 9"/>
                <a:gd name="T5" fmla="*/ 81 h 9"/>
                <a:gd name="T6" fmla="*/ 49 w 9"/>
                <a:gd name="T7" fmla="*/ 0 h 9"/>
                <a:gd name="T8" fmla="*/ 64 w 9"/>
                <a:gd name="T9" fmla="*/ 0 h 9"/>
                <a:gd name="T10" fmla="*/ 113 w 9"/>
                <a:gd name="T11" fmla="*/ 81 h 9"/>
                <a:gd name="T12" fmla="*/ 49 w 9"/>
                <a:gd name="T13" fmla="*/ 188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2" y="9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509" name="Freeform 492"/>
            <p:cNvSpPr>
              <a:spLocks noChangeArrowheads="1"/>
            </p:cNvSpPr>
            <p:nvPr/>
          </p:nvSpPr>
          <p:spPr bwMode="auto">
            <a:xfrm>
              <a:off x="5331" y="415"/>
              <a:ext cx="14" cy="13"/>
            </a:xfrm>
            <a:custGeom>
              <a:avLst/>
              <a:gdLst>
                <a:gd name="T0" fmla="*/ 182 w 9"/>
                <a:gd name="T1" fmla="*/ 188 h 9"/>
                <a:gd name="T2" fmla="*/ 0 w 9"/>
                <a:gd name="T3" fmla="*/ 81 h 9"/>
                <a:gd name="T4" fmla="*/ 0 w 9"/>
                <a:gd name="T5" fmla="*/ 81 h 9"/>
                <a:gd name="T6" fmla="*/ 182 w 9"/>
                <a:gd name="T7" fmla="*/ 0 h 9"/>
                <a:gd name="T8" fmla="*/ 182 w 9"/>
                <a:gd name="T9" fmla="*/ 0 h 9"/>
                <a:gd name="T10" fmla="*/ 327 w 9"/>
                <a:gd name="T11" fmla="*/ 81 h 9"/>
                <a:gd name="T12" fmla="*/ 182 w 9"/>
                <a:gd name="T13" fmla="*/ 188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2" y="9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510" name="Freeform 493"/>
            <p:cNvSpPr>
              <a:spLocks noChangeArrowheads="1"/>
            </p:cNvSpPr>
            <p:nvPr/>
          </p:nvSpPr>
          <p:spPr bwMode="auto">
            <a:xfrm>
              <a:off x="5189" y="429"/>
              <a:ext cx="11" cy="12"/>
            </a:xfrm>
            <a:custGeom>
              <a:avLst/>
              <a:gdLst>
                <a:gd name="T0" fmla="*/ 69 w 8"/>
                <a:gd name="T1" fmla="*/ 230 h 8"/>
                <a:gd name="T2" fmla="*/ 0 w 8"/>
                <a:gd name="T3" fmla="*/ 120 h 8"/>
                <a:gd name="T4" fmla="*/ 0 w 8"/>
                <a:gd name="T5" fmla="*/ 120 h 8"/>
                <a:gd name="T6" fmla="*/ 69 w 8"/>
                <a:gd name="T7" fmla="*/ 0 h 8"/>
                <a:gd name="T8" fmla="*/ 131 w 8"/>
                <a:gd name="T9" fmla="*/ 120 h 8"/>
                <a:gd name="T10" fmla="*/ 69 w 8"/>
                <a:gd name="T11" fmla="*/ 230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" h="8">
                  <a:moveTo>
                    <a:pt x="4" y="8"/>
                  </a:moveTo>
                  <a:cubicBezTo>
                    <a:pt x="1" y="8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6"/>
                    <a:pt x="6" y="8"/>
                    <a:pt x="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511" name="Freeform 494"/>
            <p:cNvSpPr>
              <a:spLocks noChangeArrowheads="1"/>
            </p:cNvSpPr>
            <p:nvPr/>
          </p:nvSpPr>
          <p:spPr bwMode="auto">
            <a:xfrm>
              <a:off x="5044" y="415"/>
              <a:ext cx="11" cy="13"/>
            </a:xfrm>
            <a:custGeom>
              <a:avLst/>
              <a:gdLst>
                <a:gd name="T0" fmla="*/ 69 w 8"/>
                <a:gd name="T1" fmla="*/ 188 h 9"/>
                <a:gd name="T2" fmla="*/ 0 w 8"/>
                <a:gd name="T3" fmla="*/ 81 h 9"/>
                <a:gd name="T4" fmla="*/ 0 w 8"/>
                <a:gd name="T5" fmla="*/ 81 h 9"/>
                <a:gd name="T6" fmla="*/ 69 w 8"/>
                <a:gd name="T7" fmla="*/ 0 h 9"/>
                <a:gd name="T8" fmla="*/ 69 w 8"/>
                <a:gd name="T9" fmla="*/ 0 h 9"/>
                <a:gd name="T10" fmla="*/ 131 w 8"/>
                <a:gd name="T11" fmla="*/ 81 h 9"/>
                <a:gd name="T12" fmla="*/ 69 w 8"/>
                <a:gd name="T13" fmla="*/ 188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2" y="9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512" name="Oval 495"/>
            <p:cNvSpPr>
              <a:spLocks noChangeArrowheads="1"/>
            </p:cNvSpPr>
            <p:nvPr/>
          </p:nvSpPr>
          <p:spPr bwMode="auto">
            <a:xfrm>
              <a:off x="5600" y="429"/>
              <a:ext cx="12" cy="12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US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513" name="Freeform 496"/>
            <p:cNvSpPr>
              <a:spLocks noChangeArrowheads="1"/>
            </p:cNvSpPr>
            <p:nvPr/>
          </p:nvSpPr>
          <p:spPr bwMode="auto">
            <a:xfrm>
              <a:off x="5580" y="415"/>
              <a:ext cx="11" cy="13"/>
            </a:xfrm>
            <a:custGeom>
              <a:avLst/>
              <a:gdLst>
                <a:gd name="T0" fmla="*/ 69 w 8"/>
                <a:gd name="T1" fmla="*/ 188 h 9"/>
                <a:gd name="T2" fmla="*/ 0 w 8"/>
                <a:gd name="T3" fmla="*/ 81 h 9"/>
                <a:gd name="T4" fmla="*/ 0 w 8"/>
                <a:gd name="T5" fmla="*/ 81 h 9"/>
                <a:gd name="T6" fmla="*/ 69 w 8"/>
                <a:gd name="T7" fmla="*/ 0 h 9"/>
                <a:gd name="T8" fmla="*/ 69 w 8"/>
                <a:gd name="T9" fmla="*/ 0 h 9"/>
                <a:gd name="T10" fmla="*/ 131 w 8"/>
                <a:gd name="T11" fmla="*/ 81 h 9"/>
                <a:gd name="T12" fmla="*/ 69 w 8"/>
                <a:gd name="T13" fmla="*/ 188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2" y="9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514" name="Freeform 497"/>
            <p:cNvSpPr>
              <a:spLocks noChangeArrowheads="1"/>
            </p:cNvSpPr>
            <p:nvPr/>
          </p:nvSpPr>
          <p:spPr bwMode="auto">
            <a:xfrm>
              <a:off x="5558" y="429"/>
              <a:ext cx="12" cy="12"/>
            </a:xfrm>
            <a:custGeom>
              <a:avLst/>
              <a:gdLst>
                <a:gd name="T0" fmla="*/ 49 w 9"/>
                <a:gd name="T1" fmla="*/ 230 h 8"/>
                <a:gd name="T2" fmla="*/ 0 w 9"/>
                <a:gd name="T3" fmla="*/ 120 h 8"/>
                <a:gd name="T4" fmla="*/ 0 w 9"/>
                <a:gd name="T5" fmla="*/ 120 h 8"/>
                <a:gd name="T6" fmla="*/ 49 w 9"/>
                <a:gd name="T7" fmla="*/ 0 h 8"/>
                <a:gd name="T8" fmla="*/ 113 w 9"/>
                <a:gd name="T9" fmla="*/ 120 h 8"/>
                <a:gd name="T10" fmla="*/ 49 w 9"/>
                <a:gd name="T11" fmla="*/ 230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8">
                  <a:moveTo>
                    <a:pt x="4" y="8"/>
                  </a:moveTo>
                  <a:cubicBezTo>
                    <a:pt x="2" y="8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6"/>
                    <a:pt x="7" y="8"/>
                    <a:pt x="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515" name="Freeform 498"/>
            <p:cNvSpPr>
              <a:spLocks noChangeArrowheads="1"/>
            </p:cNvSpPr>
            <p:nvPr/>
          </p:nvSpPr>
          <p:spPr bwMode="auto">
            <a:xfrm>
              <a:off x="5538" y="415"/>
              <a:ext cx="12" cy="13"/>
            </a:xfrm>
            <a:custGeom>
              <a:avLst/>
              <a:gdLst>
                <a:gd name="T0" fmla="*/ 64 w 9"/>
                <a:gd name="T1" fmla="*/ 188 h 9"/>
                <a:gd name="T2" fmla="*/ 0 w 9"/>
                <a:gd name="T3" fmla="*/ 81 h 9"/>
                <a:gd name="T4" fmla="*/ 0 w 9"/>
                <a:gd name="T5" fmla="*/ 81 h 9"/>
                <a:gd name="T6" fmla="*/ 49 w 9"/>
                <a:gd name="T7" fmla="*/ 0 h 9"/>
                <a:gd name="T8" fmla="*/ 64 w 9"/>
                <a:gd name="T9" fmla="*/ 0 h 9"/>
                <a:gd name="T10" fmla="*/ 113 w 9"/>
                <a:gd name="T11" fmla="*/ 81 h 9"/>
                <a:gd name="T12" fmla="*/ 64 w 9"/>
                <a:gd name="T13" fmla="*/ 188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2" y="9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516" name="Freeform 499"/>
            <p:cNvSpPr>
              <a:spLocks noChangeArrowheads="1"/>
            </p:cNvSpPr>
            <p:nvPr/>
          </p:nvSpPr>
          <p:spPr bwMode="auto">
            <a:xfrm>
              <a:off x="5518" y="429"/>
              <a:ext cx="12" cy="12"/>
            </a:xfrm>
            <a:custGeom>
              <a:avLst/>
              <a:gdLst>
                <a:gd name="T0" fmla="*/ 120 w 8"/>
                <a:gd name="T1" fmla="*/ 230 h 8"/>
                <a:gd name="T2" fmla="*/ 0 w 8"/>
                <a:gd name="T3" fmla="*/ 120 h 8"/>
                <a:gd name="T4" fmla="*/ 0 w 8"/>
                <a:gd name="T5" fmla="*/ 120 h 8"/>
                <a:gd name="T6" fmla="*/ 120 w 8"/>
                <a:gd name="T7" fmla="*/ 0 h 8"/>
                <a:gd name="T8" fmla="*/ 230 w 8"/>
                <a:gd name="T9" fmla="*/ 120 h 8"/>
                <a:gd name="T10" fmla="*/ 120 w 8"/>
                <a:gd name="T11" fmla="*/ 230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" h="8">
                  <a:moveTo>
                    <a:pt x="4" y="8"/>
                  </a:moveTo>
                  <a:cubicBezTo>
                    <a:pt x="2" y="8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6"/>
                    <a:pt x="6" y="8"/>
                    <a:pt x="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517" name="Freeform 500"/>
            <p:cNvSpPr>
              <a:spLocks noChangeArrowheads="1"/>
            </p:cNvSpPr>
            <p:nvPr/>
          </p:nvSpPr>
          <p:spPr bwMode="auto">
            <a:xfrm>
              <a:off x="5496" y="415"/>
              <a:ext cx="12" cy="13"/>
            </a:xfrm>
            <a:custGeom>
              <a:avLst/>
              <a:gdLst>
                <a:gd name="T0" fmla="*/ 49 w 9"/>
                <a:gd name="T1" fmla="*/ 188 h 9"/>
                <a:gd name="T2" fmla="*/ 0 w 9"/>
                <a:gd name="T3" fmla="*/ 81 h 9"/>
                <a:gd name="T4" fmla="*/ 0 w 9"/>
                <a:gd name="T5" fmla="*/ 81 h 9"/>
                <a:gd name="T6" fmla="*/ 49 w 9"/>
                <a:gd name="T7" fmla="*/ 0 h 9"/>
                <a:gd name="T8" fmla="*/ 49 w 9"/>
                <a:gd name="T9" fmla="*/ 0 h 9"/>
                <a:gd name="T10" fmla="*/ 113 w 9"/>
                <a:gd name="T11" fmla="*/ 81 h 9"/>
                <a:gd name="T12" fmla="*/ 49 w 9"/>
                <a:gd name="T13" fmla="*/ 188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2" y="9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518" name="Freeform 501"/>
            <p:cNvSpPr>
              <a:spLocks noChangeArrowheads="1"/>
            </p:cNvSpPr>
            <p:nvPr/>
          </p:nvSpPr>
          <p:spPr bwMode="auto">
            <a:xfrm>
              <a:off x="5455" y="415"/>
              <a:ext cx="13" cy="13"/>
            </a:xfrm>
            <a:custGeom>
              <a:avLst/>
              <a:gdLst>
                <a:gd name="T0" fmla="*/ 108 w 9"/>
                <a:gd name="T1" fmla="*/ 188 h 9"/>
                <a:gd name="T2" fmla="*/ 0 w 9"/>
                <a:gd name="T3" fmla="*/ 81 h 9"/>
                <a:gd name="T4" fmla="*/ 108 w 9"/>
                <a:gd name="T5" fmla="*/ 0 h 9"/>
                <a:gd name="T6" fmla="*/ 108 w 9"/>
                <a:gd name="T7" fmla="*/ 0 h 9"/>
                <a:gd name="T8" fmla="*/ 188 w 9"/>
                <a:gd name="T9" fmla="*/ 81 h 9"/>
                <a:gd name="T10" fmla="*/ 108 w 9"/>
                <a:gd name="T11" fmla="*/ 188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2" y="9"/>
                    <a:pt x="0" y="7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519" name="Freeform 502"/>
            <p:cNvSpPr>
              <a:spLocks noChangeArrowheads="1"/>
            </p:cNvSpPr>
            <p:nvPr/>
          </p:nvSpPr>
          <p:spPr bwMode="auto">
            <a:xfrm>
              <a:off x="5744" y="415"/>
              <a:ext cx="13" cy="13"/>
            </a:xfrm>
            <a:custGeom>
              <a:avLst/>
              <a:gdLst>
                <a:gd name="T0" fmla="*/ 81 w 9"/>
                <a:gd name="T1" fmla="*/ 188 h 9"/>
                <a:gd name="T2" fmla="*/ 0 w 9"/>
                <a:gd name="T3" fmla="*/ 81 h 9"/>
                <a:gd name="T4" fmla="*/ 81 w 9"/>
                <a:gd name="T5" fmla="*/ 0 h 9"/>
                <a:gd name="T6" fmla="*/ 108 w 9"/>
                <a:gd name="T7" fmla="*/ 0 h 9"/>
                <a:gd name="T8" fmla="*/ 188 w 9"/>
                <a:gd name="T9" fmla="*/ 81 h 9"/>
                <a:gd name="T10" fmla="*/ 81 w 9"/>
                <a:gd name="T11" fmla="*/ 188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2" y="9"/>
                    <a:pt x="0" y="7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520" name="Freeform 503"/>
            <p:cNvSpPr>
              <a:spLocks noChangeArrowheads="1"/>
            </p:cNvSpPr>
            <p:nvPr/>
          </p:nvSpPr>
          <p:spPr bwMode="auto">
            <a:xfrm>
              <a:off x="5723" y="429"/>
              <a:ext cx="12" cy="12"/>
            </a:xfrm>
            <a:custGeom>
              <a:avLst/>
              <a:gdLst>
                <a:gd name="T0" fmla="*/ 64 w 9"/>
                <a:gd name="T1" fmla="*/ 230 h 8"/>
                <a:gd name="T2" fmla="*/ 0 w 9"/>
                <a:gd name="T3" fmla="*/ 120 h 8"/>
                <a:gd name="T4" fmla="*/ 0 w 9"/>
                <a:gd name="T5" fmla="*/ 120 h 8"/>
                <a:gd name="T6" fmla="*/ 64 w 9"/>
                <a:gd name="T7" fmla="*/ 0 h 8"/>
                <a:gd name="T8" fmla="*/ 113 w 9"/>
                <a:gd name="T9" fmla="*/ 120 h 8"/>
                <a:gd name="T10" fmla="*/ 64 w 9"/>
                <a:gd name="T11" fmla="*/ 230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8">
                  <a:moveTo>
                    <a:pt x="5" y="8"/>
                  </a:moveTo>
                  <a:cubicBezTo>
                    <a:pt x="2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6"/>
                    <a:pt x="7" y="8"/>
                    <a:pt x="5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521" name="Freeform 504"/>
            <p:cNvSpPr>
              <a:spLocks noChangeArrowheads="1"/>
            </p:cNvSpPr>
            <p:nvPr/>
          </p:nvSpPr>
          <p:spPr bwMode="auto">
            <a:xfrm>
              <a:off x="5703" y="415"/>
              <a:ext cx="11" cy="13"/>
            </a:xfrm>
            <a:custGeom>
              <a:avLst/>
              <a:gdLst>
                <a:gd name="T0" fmla="*/ 69 w 8"/>
                <a:gd name="T1" fmla="*/ 188 h 9"/>
                <a:gd name="T2" fmla="*/ 0 w 8"/>
                <a:gd name="T3" fmla="*/ 81 h 9"/>
                <a:gd name="T4" fmla="*/ 0 w 8"/>
                <a:gd name="T5" fmla="*/ 81 h 9"/>
                <a:gd name="T6" fmla="*/ 69 w 8"/>
                <a:gd name="T7" fmla="*/ 0 h 9"/>
                <a:gd name="T8" fmla="*/ 69 w 8"/>
                <a:gd name="T9" fmla="*/ 0 h 9"/>
                <a:gd name="T10" fmla="*/ 131 w 8"/>
                <a:gd name="T11" fmla="*/ 81 h 9"/>
                <a:gd name="T12" fmla="*/ 69 w 8"/>
                <a:gd name="T13" fmla="*/ 188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2" y="9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7" y="0"/>
                    <a:pt x="8" y="2"/>
                    <a:pt x="8" y="4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522" name="Oval 505"/>
            <p:cNvSpPr>
              <a:spLocks noChangeArrowheads="1"/>
            </p:cNvSpPr>
            <p:nvPr/>
          </p:nvSpPr>
          <p:spPr bwMode="auto">
            <a:xfrm>
              <a:off x="5682" y="429"/>
              <a:ext cx="12" cy="12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US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523" name="Freeform 506"/>
            <p:cNvSpPr>
              <a:spLocks noChangeArrowheads="1"/>
            </p:cNvSpPr>
            <p:nvPr/>
          </p:nvSpPr>
          <p:spPr bwMode="auto">
            <a:xfrm>
              <a:off x="5661" y="415"/>
              <a:ext cx="12" cy="13"/>
            </a:xfrm>
            <a:custGeom>
              <a:avLst/>
              <a:gdLst>
                <a:gd name="T0" fmla="*/ 64 w 9"/>
                <a:gd name="T1" fmla="*/ 188 h 9"/>
                <a:gd name="T2" fmla="*/ 0 w 9"/>
                <a:gd name="T3" fmla="*/ 81 h 9"/>
                <a:gd name="T4" fmla="*/ 0 w 9"/>
                <a:gd name="T5" fmla="*/ 81 h 9"/>
                <a:gd name="T6" fmla="*/ 64 w 9"/>
                <a:gd name="T7" fmla="*/ 0 h 9"/>
                <a:gd name="T8" fmla="*/ 64 w 9"/>
                <a:gd name="T9" fmla="*/ 0 h 9"/>
                <a:gd name="T10" fmla="*/ 113 w 9"/>
                <a:gd name="T11" fmla="*/ 81 h 9"/>
                <a:gd name="T12" fmla="*/ 64 w 9"/>
                <a:gd name="T13" fmla="*/ 188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2" y="9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524" name="Freeform 507"/>
            <p:cNvSpPr>
              <a:spLocks noChangeArrowheads="1"/>
            </p:cNvSpPr>
            <p:nvPr/>
          </p:nvSpPr>
          <p:spPr bwMode="auto">
            <a:xfrm>
              <a:off x="5640" y="429"/>
              <a:ext cx="12" cy="12"/>
            </a:xfrm>
            <a:custGeom>
              <a:avLst/>
              <a:gdLst>
                <a:gd name="T0" fmla="*/ 120 w 8"/>
                <a:gd name="T1" fmla="*/ 230 h 8"/>
                <a:gd name="T2" fmla="*/ 0 w 8"/>
                <a:gd name="T3" fmla="*/ 120 h 8"/>
                <a:gd name="T4" fmla="*/ 0 w 8"/>
                <a:gd name="T5" fmla="*/ 120 h 8"/>
                <a:gd name="T6" fmla="*/ 120 w 8"/>
                <a:gd name="T7" fmla="*/ 0 h 8"/>
                <a:gd name="T8" fmla="*/ 230 w 8"/>
                <a:gd name="T9" fmla="*/ 120 h 8"/>
                <a:gd name="T10" fmla="*/ 230 w 8"/>
                <a:gd name="T11" fmla="*/ 120 h 8"/>
                <a:gd name="T12" fmla="*/ 120 w 8"/>
                <a:gd name="T13" fmla="*/ 230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" h="8">
                  <a:moveTo>
                    <a:pt x="4" y="8"/>
                  </a:moveTo>
                  <a:cubicBezTo>
                    <a:pt x="2" y="8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6" y="8"/>
                    <a:pt x="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525" name="Freeform 508"/>
            <p:cNvSpPr>
              <a:spLocks noChangeArrowheads="1"/>
            </p:cNvSpPr>
            <p:nvPr/>
          </p:nvSpPr>
          <p:spPr bwMode="auto">
            <a:xfrm>
              <a:off x="5621" y="415"/>
              <a:ext cx="12" cy="13"/>
            </a:xfrm>
            <a:custGeom>
              <a:avLst/>
              <a:gdLst>
                <a:gd name="T0" fmla="*/ 49 w 9"/>
                <a:gd name="T1" fmla="*/ 188 h 9"/>
                <a:gd name="T2" fmla="*/ 0 w 9"/>
                <a:gd name="T3" fmla="*/ 81 h 9"/>
                <a:gd name="T4" fmla="*/ 49 w 9"/>
                <a:gd name="T5" fmla="*/ 0 h 9"/>
                <a:gd name="T6" fmla="*/ 49 w 9"/>
                <a:gd name="T7" fmla="*/ 0 h 9"/>
                <a:gd name="T8" fmla="*/ 113 w 9"/>
                <a:gd name="T9" fmla="*/ 81 h 9"/>
                <a:gd name="T10" fmla="*/ 49 w 9"/>
                <a:gd name="T11" fmla="*/ 188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2" y="9"/>
                    <a:pt x="0" y="7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526" name="Freeform 509"/>
            <p:cNvSpPr>
              <a:spLocks noChangeArrowheads="1"/>
            </p:cNvSpPr>
            <p:nvPr/>
          </p:nvSpPr>
          <p:spPr bwMode="auto">
            <a:xfrm>
              <a:off x="5393" y="429"/>
              <a:ext cx="13" cy="12"/>
            </a:xfrm>
            <a:custGeom>
              <a:avLst/>
              <a:gdLst>
                <a:gd name="T0" fmla="*/ 108 w 9"/>
                <a:gd name="T1" fmla="*/ 230 h 8"/>
                <a:gd name="T2" fmla="*/ 0 w 9"/>
                <a:gd name="T3" fmla="*/ 120 h 8"/>
                <a:gd name="T4" fmla="*/ 0 w 9"/>
                <a:gd name="T5" fmla="*/ 120 h 8"/>
                <a:gd name="T6" fmla="*/ 108 w 9"/>
                <a:gd name="T7" fmla="*/ 0 h 8"/>
                <a:gd name="T8" fmla="*/ 188 w 9"/>
                <a:gd name="T9" fmla="*/ 120 h 8"/>
                <a:gd name="T10" fmla="*/ 108 w 9"/>
                <a:gd name="T11" fmla="*/ 230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8">
                  <a:moveTo>
                    <a:pt x="5" y="8"/>
                  </a:moveTo>
                  <a:cubicBezTo>
                    <a:pt x="2" y="8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6"/>
                    <a:pt x="7" y="8"/>
                    <a:pt x="5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527" name="Freeform 510"/>
            <p:cNvSpPr>
              <a:spLocks noChangeArrowheads="1"/>
            </p:cNvSpPr>
            <p:nvPr/>
          </p:nvSpPr>
          <p:spPr bwMode="auto">
            <a:xfrm>
              <a:off x="5312" y="429"/>
              <a:ext cx="11" cy="12"/>
            </a:xfrm>
            <a:custGeom>
              <a:avLst/>
              <a:gdLst>
                <a:gd name="T0" fmla="*/ 69 w 8"/>
                <a:gd name="T1" fmla="*/ 230 h 8"/>
                <a:gd name="T2" fmla="*/ 0 w 8"/>
                <a:gd name="T3" fmla="*/ 120 h 8"/>
                <a:gd name="T4" fmla="*/ 0 w 8"/>
                <a:gd name="T5" fmla="*/ 120 h 8"/>
                <a:gd name="T6" fmla="*/ 69 w 8"/>
                <a:gd name="T7" fmla="*/ 0 h 8"/>
                <a:gd name="T8" fmla="*/ 131 w 8"/>
                <a:gd name="T9" fmla="*/ 120 h 8"/>
                <a:gd name="T10" fmla="*/ 69 w 8"/>
                <a:gd name="T11" fmla="*/ 230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" h="8">
                  <a:moveTo>
                    <a:pt x="4" y="8"/>
                  </a:moveTo>
                  <a:cubicBezTo>
                    <a:pt x="2" y="8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6"/>
                    <a:pt x="6" y="8"/>
                    <a:pt x="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528" name="Freeform 511"/>
            <p:cNvSpPr>
              <a:spLocks noChangeArrowheads="1"/>
            </p:cNvSpPr>
            <p:nvPr/>
          </p:nvSpPr>
          <p:spPr bwMode="auto">
            <a:xfrm>
              <a:off x="5250" y="415"/>
              <a:ext cx="11" cy="13"/>
            </a:xfrm>
            <a:custGeom>
              <a:avLst/>
              <a:gdLst>
                <a:gd name="T0" fmla="*/ 69 w 8"/>
                <a:gd name="T1" fmla="*/ 188 h 9"/>
                <a:gd name="T2" fmla="*/ 0 w 8"/>
                <a:gd name="T3" fmla="*/ 81 h 9"/>
                <a:gd name="T4" fmla="*/ 0 w 8"/>
                <a:gd name="T5" fmla="*/ 81 h 9"/>
                <a:gd name="T6" fmla="*/ 69 w 8"/>
                <a:gd name="T7" fmla="*/ 0 h 9"/>
                <a:gd name="T8" fmla="*/ 69 w 8"/>
                <a:gd name="T9" fmla="*/ 0 h 9"/>
                <a:gd name="T10" fmla="*/ 131 w 8"/>
                <a:gd name="T11" fmla="*/ 81 h 9"/>
                <a:gd name="T12" fmla="*/ 69 w 8"/>
                <a:gd name="T13" fmla="*/ 188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2" y="9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529" name="Freeform 512"/>
            <p:cNvSpPr>
              <a:spLocks noChangeArrowheads="1"/>
            </p:cNvSpPr>
            <p:nvPr/>
          </p:nvSpPr>
          <p:spPr bwMode="auto">
            <a:xfrm>
              <a:off x="5168" y="415"/>
              <a:ext cx="11" cy="13"/>
            </a:xfrm>
            <a:custGeom>
              <a:avLst/>
              <a:gdLst>
                <a:gd name="T0" fmla="*/ 69 w 8"/>
                <a:gd name="T1" fmla="*/ 188 h 9"/>
                <a:gd name="T2" fmla="*/ 0 w 8"/>
                <a:gd name="T3" fmla="*/ 81 h 9"/>
                <a:gd name="T4" fmla="*/ 0 w 8"/>
                <a:gd name="T5" fmla="*/ 81 h 9"/>
                <a:gd name="T6" fmla="*/ 69 w 8"/>
                <a:gd name="T7" fmla="*/ 0 h 9"/>
                <a:gd name="T8" fmla="*/ 69 w 8"/>
                <a:gd name="T9" fmla="*/ 0 h 9"/>
                <a:gd name="T10" fmla="*/ 131 w 8"/>
                <a:gd name="T11" fmla="*/ 81 h 9"/>
                <a:gd name="T12" fmla="*/ 69 w 8"/>
                <a:gd name="T13" fmla="*/ 188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2" y="9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7" y="0"/>
                    <a:pt x="8" y="2"/>
                    <a:pt x="8" y="4"/>
                  </a:cubicBezTo>
                  <a:cubicBezTo>
                    <a:pt x="8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530" name="Freeform 513"/>
            <p:cNvSpPr>
              <a:spLocks noChangeArrowheads="1"/>
            </p:cNvSpPr>
            <p:nvPr/>
          </p:nvSpPr>
          <p:spPr bwMode="auto">
            <a:xfrm>
              <a:off x="5106" y="429"/>
              <a:ext cx="11" cy="12"/>
            </a:xfrm>
            <a:custGeom>
              <a:avLst/>
              <a:gdLst>
                <a:gd name="T0" fmla="*/ 69 w 8"/>
                <a:gd name="T1" fmla="*/ 230 h 8"/>
                <a:gd name="T2" fmla="*/ 0 w 8"/>
                <a:gd name="T3" fmla="*/ 120 h 8"/>
                <a:gd name="T4" fmla="*/ 0 w 8"/>
                <a:gd name="T5" fmla="*/ 120 h 8"/>
                <a:gd name="T6" fmla="*/ 69 w 8"/>
                <a:gd name="T7" fmla="*/ 0 h 8"/>
                <a:gd name="T8" fmla="*/ 131 w 8"/>
                <a:gd name="T9" fmla="*/ 120 h 8"/>
                <a:gd name="T10" fmla="*/ 69 w 8"/>
                <a:gd name="T11" fmla="*/ 230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" h="8">
                  <a:moveTo>
                    <a:pt x="4" y="8"/>
                  </a:moveTo>
                  <a:cubicBezTo>
                    <a:pt x="2" y="8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6"/>
                    <a:pt x="6" y="8"/>
                    <a:pt x="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531" name="Freeform 514"/>
            <p:cNvSpPr>
              <a:spLocks noChangeArrowheads="1"/>
            </p:cNvSpPr>
            <p:nvPr/>
          </p:nvSpPr>
          <p:spPr bwMode="auto">
            <a:xfrm>
              <a:off x="5374" y="415"/>
              <a:ext cx="11" cy="13"/>
            </a:xfrm>
            <a:custGeom>
              <a:avLst/>
              <a:gdLst>
                <a:gd name="T0" fmla="*/ 69 w 8"/>
                <a:gd name="T1" fmla="*/ 188 h 9"/>
                <a:gd name="T2" fmla="*/ 0 w 8"/>
                <a:gd name="T3" fmla="*/ 81 h 9"/>
                <a:gd name="T4" fmla="*/ 0 w 8"/>
                <a:gd name="T5" fmla="*/ 81 h 9"/>
                <a:gd name="T6" fmla="*/ 69 w 8"/>
                <a:gd name="T7" fmla="*/ 0 h 9"/>
                <a:gd name="T8" fmla="*/ 69 w 8"/>
                <a:gd name="T9" fmla="*/ 0 h 9"/>
                <a:gd name="T10" fmla="*/ 131 w 8"/>
                <a:gd name="T11" fmla="*/ 81 h 9"/>
                <a:gd name="T12" fmla="*/ 69 w 8"/>
                <a:gd name="T13" fmla="*/ 188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2" y="9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532" name="Freeform 515"/>
            <p:cNvSpPr>
              <a:spLocks noChangeArrowheads="1"/>
            </p:cNvSpPr>
            <p:nvPr/>
          </p:nvSpPr>
          <p:spPr bwMode="auto">
            <a:xfrm>
              <a:off x="5291" y="415"/>
              <a:ext cx="13" cy="13"/>
            </a:xfrm>
            <a:custGeom>
              <a:avLst/>
              <a:gdLst>
                <a:gd name="T0" fmla="*/ 81 w 9"/>
                <a:gd name="T1" fmla="*/ 188 h 9"/>
                <a:gd name="T2" fmla="*/ 0 w 9"/>
                <a:gd name="T3" fmla="*/ 81 h 9"/>
                <a:gd name="T4" fmla="*/ 0 w 9"/>
                <a:gd name="T5" fmla="*/ 81 h 9"/>
                <a:gd name="T6" fmla="*/ 81 w 9"/>
                <a:gd name="T7" fmla="*/ 0 h 9"/>
                <a:gd name="T8" fmla="*/ 81 w 9"/>
                <a:gd name="T9" fmla="*/ 0 h 9"/>
                <a:gd name="T10" fmla="*/ 188 w 9"/>
                <a:gd name="T11" fmla="*/ 81 h 9"/>
                <a:gd name="T12" fmla="*/ 81 w 9"/>
                <a:gd name="T13" fmla="*/ 188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2" y="9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533" name="Oval 516"/>
            <p:cNvSpPr>
              <a:spLocks noChangeArrowheads="1"/>
            </p:cNvSpPr>
            <p:nvPr/>
          </p:nvSpPr>
          <p:spPr bwMode="auto">
            <a:xfrm>
              <a:off x="5229" y="429"/>
              <a:ext cx="13" cy="12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US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534" name="Freeform 517"/>
            <p:cNvSpPr>
              <a:spLocks noChangeArrowheads="1"/>
            </p:cNvSpPr>
            <p:nvPr/>
          </p:nvSpPr>
          <p:spPr bwMode="auto">
            <a:xfrm>
              <a:off x="5146" y="429"/>
              <a:ext cx="14" cy="12"/>
            </a:xfrm>
            <a:custGeom>
              <a:avLst/>
              <a:gdLst>
                <a:gd name="T0" fmla="*/ 148 w 9"/>
                <a:gd name="T1" fmla="*/ 230 h 8"/>
                <a:gd name="T2" fmla="*/ 0 w 9"/>
                <a:gd name="T3" fmla="*/ 120 h 8"/>
                <a:gd name="T4" fmla="*/ 0 w 9"/>
                <a:gd name="T5" fmla="*/ 120 h 8"/>
                <a:gd name="T6" fmla="*/ 148 w 9"/>
                <a:gd name="T7" fmla="*/ 0 h 8"/>
                <a:gd name="T8" fmla="*/ 327 w 9"/>
                <a:gd name="T9" fmla="*/ 120 h 8"/>
                <a:gd name="T10" fmla="*/ 148 w 9"/>
                <a:gd name="T11" fmla="*/ 230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8">
                  <a:moveTo>
                    <a:pt x="4" y="8"/>
                  </a:moveTo>
                  <a:cubicBezTo>
                    <a:pt x="2" y="8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6"/>
                    <a:pt x="7" y="8"/>
                    <a:pt x="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535" name="Freeform 518"/>
            <p:cNvSpPr>
              <a:spLocks noChangeArrowheads="1"/>
            </p:cNvSpPr>
            <p:nvPr/>
          </p:nvSpPr>
          <p:spPr bwMode="auto">
            <a:xfrm>
              <a:off x="5085" y="415"/>
              <a:ext cx="13" cy="13"/>
            </a:xfrm>
            <a:custGeom>
              <a:avLst/>
              <a:gdLst>
                <a:gd name="T0" fmla="*/ 81 w 9"/>
                <a:gd name="T1" fmla="*/ 188 h 9"/>
                <a:gd name="T2" fmla="*/ 0 w 9"/>
                <a:gd name="T3" fmla="*/ 81 h 9"/>
                <a:gd name="T4" fmla="*/ 0 w 9"/>
                <a:gd name="T5" fmla="*/ 81 h 9"/>
                <a:gd name="T6" fmla="*/ 81 w 9"/>
                <a:gd name="T7" fmla="*/ 0 h 9"/>
                <a:gd name="T8" fmla="*/ 108 w 9"/>
                <a:gd name="T9" fmla="*/ 0 h 9"/>
                <a:gd name="T10" fmla="*/ 188 w 9"/>
                <a:gd name="T11" fmla="*/ 81 h 9"/>
                <a:gd name="T12" fmla="*/ 81 w 9"/>
                <a:gd name="T13" fmla="*/ 188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2" y="9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536" name="Freeform 519"/>
            <p:cNvSpPr>
              <a:spLocks noChangeArrowheads="1"/>
            </p:cNvSpPr>
            <p:nvPr/>
          </p:nvSpPr>
          <p:spPr bwMode="auto">
            <a:xfrm>
              <a:off x="5353" y="429"/>
              <a:ext cx="12" cy="12"/>
            </a:xfrm>
            <a:custGeom>
              <a:avLst/>
              <a:gdLst>
                <a:gd name="T0" fmla="*/ 49 w 9"/>
                <a:gd name="T1" fmla="*/ 230 h 8"/>
                <a:gd name="T2" fmla="*/ 0 w 9"/>
                <a:gd name="T3" fmla="*/ 120 h 8"/>
                <a:gd name="T4" fmla="*/ 0 w 9"/>
                <a:gd name="T5" fmla="*/ 120 h 8"/>
                <a:gd name="T6" fmla="*/ 49 w 9"/>
                <a:gd name="T7" fmla="*/ 0 h 8"/>
                <a:gd name="T8" fmla="*/ 113 w 9"/>
                <a:gd name="T9" fmla="*/ 120 h 8"/>
                <a:gd name="T10" fmla="*/ 49 w 9"/>
                <a:gd name="T11" fmla="*/ 230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8">
                  <a:moveTo>
                    <a:pt x="4" y="8"/>
                  </a:moveTo>
                  <a:cubicBezTo>
                    <a:pt x="2" y="8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6"/>
                    <a:pt x="7" y="8"/>
                    <a:pt x="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537" name="Freeform 520"/>
            <p:cNvSpPr>
              <a:spLocks noChangeArrowheads="1"/>
            </p:cNvSpPr>
            <p:nvPr/>
          </p:nvSpPr>
          <p:spPr bwMode="auto">
            <a:xfrm>
              <a:off x="5270" y="429"/>
              <a:ext cx="12" cy="12"/>
            </a:xfrm>
            <a:custGeom>
              <a:avLst/>
              <a:gdLst>
                <a:gd name="T0" fmla="*/ 65 w 9"/>
                <a:gd name="T1" fmla="*/ 230 h 8"/>
                <a:gd name="T2" fmla="*/ 0 w 9"/>
                <a:gd name="T3" fmla="*/ 120 h 8"/>
                <a:gd name="T4" fmla="*/ 0 w 9"/>
                <a:gd name="T5" fmla="*/ 120 h 8"/>
                <a:gd name="T6" fmla="*/ 65 w 9"/>
                <a:gd name="T7" fmla="*/ 0 h 8"/>
                <a:gd name="T8" fmla="*/ 116 w 9"/>
                <a:gd name="T9" fmla="*/ 120 h 8"/>
                <a:gd name="T10" fmla="*/ 65 w 9"/>
                <a:gd name="T11" fmla="*/ 230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8">
                  <a:moveTo>
                    <a:pt x="5" y="8"/>
                  </a:moveTo>
                  <a:cubicBezTo>
                    <a:pt x="2" y="8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6"/>
                    <a:pt x="7" y="8"/>
                    <a:pt x="5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538" name="Freeform 521"/>
            <p:cNvSpPr>
              <a:spLocks noChangeArrowheads="1"/>
            </p:cNvSpPr>
            <p:nvPr/>
          </p:nvSpPr>
          <p:spPr bwMode="auto">
            <a:xfrm>
              <a:off x="5208" y="415"/>
              <a:ext cx="12" cy="13"/>
            </a:xfrm>
            <a:custGeom>
              <a:avLst/>
              <a:gdLst>
                <a:gd name="T0" fmla="*/ 65 w 9"/>
                <a:gd name="T1" fmla="*/ 188 h 9"/>
                <a:gd name="T2" fmla="*/ 0 w 9"/>
                <a:gd name="T3" fmla="*/ 81 h 9"/>
                <a:gd name="T4" fmla="*/ 0 w 9"/>
                <a:gd name="T5" fmla="*/ 81 h 9"/>
                <a:gd name="T6" fmla="*/ 49 w 9"/>
                <a:gd name="T7" fmla="*/ 0 h 9"/>
                <a:gd name="T8" fmla="*/ 65 w 9"/>
                <a:gd name="T9" fmla="*/ 0 h 9"/>
                <a:gd name="T10" fmla="*/ 116 w 9"/>
                <a:gd name="T11" fmla="*/ 81 h 9"/>
                <a:gd name="T12" fmla="*/ 65 w 9"/>
                <a:gd name="T13" fmla="*/ 188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2" y="9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539" name="Freeform 522"/>
            <p:cNvSpPr>
              <a:spLocks noChangeArrowheads="1"/>
            </p:cNvSpPr>
            <p:nvPr/>
          </p:nvSpPr>
          <p:spPr bwMode="auto">
            <a:xfrm>
              <a:off x="5125" y="415"/>
              <a:ext cx="13" cy="13"/>
            </a:xfrm>
            <a:custGeom>
              <a:avLst/>
              <a:gdLst>
                <a:gd name="T0" fmla="*/ 108 w 9"/>
                <a:gd name="T1" fmla="*/ 188 h 9"/>
                <a:gd name="T2" fmla="*/ 0 w 9"/>
                <a:gd name="T3" fmla="*/ 81 h 9"/>
                <a:gd name="T4" fmla="*/ 108 w 9"/>
                <a:gd name="T5" fmla="*/ 0 h 9"/>
                <a:gd name="T6" fmla="*/ 108 w 9"/>
                <a:gd name="T7" fmla="*/ 0 h 9"/>
                <a:gd name="T8" fmla="*/ 188 w 9"/>
                <a:gd name="T9" fmla="*/ 81 h 9"/>
                <a:gd name="T10" fmla="*/ 108 w 9"/>
                <a:gd name="T11" fmla="*/ 188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2" y="9"/>
                    <a:pt x="0" y="7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540" name="Freeform 523"/>
            <p:cNvSpPr>
              <a:spLocks noChangeArrowheads="1"/>
            </p:cNvSpPr>
            <p:nvPr/>
          </p:nvSpPr>
          <p:spPr bwMode="auto">
            <a:xfrm>
              <a:off x="5063" y="429"/>
              <a:ext cx="14" cy="12"/>
            </a:xfrm>
            <a:custGeom>
              <a:avLst/>
              <a:gdLst>
                <a:gd name="T0" fmla="*/ 182 w 9"/>
                <a:gd name="T1" fmla="*/ 230 h 8"/>
                <a:gd name="T2" fmla="*/ 0 w 9"/>
                <a:gd name="T3" fmla="*/ 120 h 8"/>
                <a:gd name="T4" fmla="*/ 0 w 9"/>
                <a:gd name="T5" fmla="*/ 120 h 8"/>
                <a:gd name="T6" fmla="*/ 182 w 9"/>
                <a:gd name="T7" fmla="*/ 0 h 8"/>
                <a:gd name="T8" fmla="*/ 327 w 9"/>
                <a:gd name="T9" fmla="*/ 120 h 8"/>
                <a:gd name="T10" fmla="*/ 182 w 9"/>
                <a:gd name="T11" fmla="*/ 230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8">
                  <a:moveTo>
                    <a:pt x="5" y="8"/>
                  </a:moveTo>
                  <a:cubicBezTo>
                    <a:pt x="2" y="8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6"/>
                    <a:pt x="7" y="8"/>
                    <a:pt x="5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541" name="Freeform 524"/>
            <p:cNvSpPr>
              <a:spLocks noChangeArrowheads="1"/>
            </p:cNvSpPr>
            <p:nvPr/>
          </p:nvSpPr>
          <p:spPr bwMode="auto">
            <a:xfrm>
              <a:off x="5023" y="429"/>
              <a:ext cx="13" cy="12"/>
            </a:xfrm>
            <a:custGeom>
              <a:avLst/>
              <a:gdLst>
                <a:gd name="T0" fmla="*/ 81 w 9"/>
                <a:gd name="T1" fmla="*/ 230 h 8"/>
                <a:gd name="T2" fmla="*/ 0 w 9"/>
                <a:gd name="T3" fmla="*/ 120 h 8"/>
                <a:gd name="T4" fmla="*/ 0 w 9"/>
                <a:gd name="T5" fmla="*/ 120 h 8"/>
                <a:gd name="T6" fmla="*/ 81 w 9"/>
                <a:gd name="T7" fmla="*/ 0 h 8"/>
                <a:gd name="T8" fmla="*/ 188 w 9"/>
                <a:gd name="T9" fmla="*/ 120 h 8"/>
                <a:gd name="T10" fmla="*/ 81 w 9"/>
                <a:gd name="T11" fmla="*/ 230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8">
                  <a:moveTo>
                    <a:pt x="4" y="8"/>
                  </a:moveTo>
                  <a:cubicBezTo>
                    <a:pt x="2" y="8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6"/>
                    <a:pt x="7" y="8"/>
                    <a:pt x="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542" name="Freeform 525"/>
            <p:cNvSpPr>
              <a:spLocks noChangeArrowheads="1"/>
            </p:cNvSpPr>
            <p:nvPr/>
          </p:nvSpPr>
          <p:spPr bwMode="auto">
            <a:xfrm>
              <a:off x="5476" y="450"/>
              <a:ext cx="12" cy="12"/>
            </a:xfrm>
            <a:custGeom>
              <a:avLst/>
              <a:gdLst>
                <a:gd name="T0" fmla="*/ 65 w 9"/>
                <a:gd name="T1" fmla="*/ 230 h 8"/>
                <a:gd name="T2" fmla="*/ 49 w 9"/>
                <a:gd name="T3" fmla="*/ 230 h 8"/>
                <a:gd name="T4" fmla="*/ 0 w 9"/>
                <a:gd name="T5" fmla="*/ 120 h 8"/>
                <a:gd name="T6" fmla="*/ 0 w 9"/>
                <a:gd name="T7" fmla="*/ 120 h 8"/>
                <a:gd name="T8" fmla="*/ 49 w 9"/>
                <a:gd name="T9" fmla="*/ 0 h 8"/>
                <a:gd name="T10" fmla="*/ 116 w 9"/>
                <a:gd name="T11" fmla="*/ 120 h 8"/>
                <a:gd name="T12" fmla="*/ 65 w 9"/>
                <a:gd name="T13" fmla="*/ 230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8">
                  <a:moveTo>
                    <a:pt x="5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7" y="0"/>
                    <a:pt x="9" y="1"/>
                    <a:pt x="9" y="4"/>
                  </a:cubicBezTo>
                  <a:cubicBezTo>
                    <a:pt x="9" y="6"/>
                    <a:pt x="7" y="8"/>
                    <a:pt x="5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543" name="Freeform 526"/>
            <p:cNvSpPr>
              <a:spLocks noChangeArrowheads="1"/>
            </p:cNvSpPr>
            <p:nvPr/>
          </p:nvSpPr>
          <p:spPr bwMode="auto">
            <a:xfrm>
              <a:off x="5436" y="450"/>
              <a:ext cx="12" cy="12"/>
            </a:xfrm>
            <a:custGeom>
              <a:avLst/>
              <a:gdLst>
                <a:gd name="T0" fmla="*/ 120 w 8"/>
                <a:gd name="T1" fmla="*/ 230 h 8"/>
                <a:gd name="T2" fmla="*/ 120 w 8"/>
                <a:gd name="T3" fmla="*/ 230 h 8"/>
                <a:gd name="T4" fmla="*/ 0 w 8"/>
                <a:gd name="T5" fmla="*/ 120 h 8"/>
                <a:gd name="T6" fmla="*/ 0 w 8"/>
                <a:gd name="T7" fmla="*/ 120 h 8"/>
                <a:gd name="T8" fmla="*/ 120 w 8"/>
                <a:gd name="T9" fmla="*/ 0 h 8"/>
                <a:gd name="T10" fmla="*/ 230 w 8"/>
                <a:gd name="T11" fmla="*/ 120 h 8"/>
                <a:gd name="T12" fmla="*/ 120 w 8"/>
                <a:gd name="T13" fmla="*/ 230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" h="8">
                  <a:moveTo>
                    <a:pt x="4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6" y="0"/>
                    <a:pt x="8" y="1"/>
                    <a:pt x="8" y="4"/>
                  </a:cubicBezTo>
                  <a:cubicBezTo>
                    <a:pt x="8" y="6"/>
                    <a:pt x="7" y="8"/>
                    <a:pt x="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544" name="Freeform 527"/>
            <p:cNvSpPr>
              <a:spLocks noChangeArrowheads="1"/>
            </p:cNvSpPr>
            <p:nvPr/>
          </p:nvSpPr>
          <p:spPr bwMode="auto">
            <a:xfrm>
              <a:off x="5415" y="436"/>
              <a:ext cx="12" cy="11"/>
            </a:xfrm>
            <a:custGeom>
              <a:avLst/>
              <a:gdLst>
                <a:gd name="T0" fmla="*/ 49 w 9"/>
                <a:gd name="T1" fmla="*/ 131 h 8"/>
                <a:gd name="T2" fmla="*/ 0 w 9"/>
                <a:gd name="T3" fmla="*/ 69 h 8"/>
                <a:gd name="T4" fmla="*/ 0 w 9"/>
                <a:gd name="T5" fmla="*/ 69 h 8"/>
                <a:gd name="T6" fmla="*/ 49 w 9"/>
                <a:gd name="T7" fmla="*/ 0 h 8"/>
                <a:gd name="T8" fmla="*/ 113 w 9"/>
                <a:gd name="T9" fmla="*/ 69 h 8"/>
                <a:gd name="T10" fmla="*/ 49 w 9"/>
                <a:gd name="T11" fmla="*/ 131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8">
                  <a:moveTo>
                    <a:pt x="4" y="8"/>
                  </a:moveTo>
                  <a:cubicBezTo>
                    <a:pt x="2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6"/>
                    <a:pt x="7" y="8"/>
                    <a:pt x="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545" name="Freeform 528"/>
            <p:cNvSpPr>
              <a:spLocks noChangeArrowheads="1"/>
            </p:cNvSpPr>
            <p:nvPr/>
          </p:nvSpPr>
          <p:spPr bwMode="auto">
            <a:xfrm>
              <a:off x="5331" y="436"/>
              <a:ext cx="14" cy="11"/>
            </a:xfrm>
            <a:custGeom>
              <a:avLst/>
              <a:gdLst>
                <a:gd name="T0" fmla="*/ 182 w 9"/>
                <a:gd name="T1" fmla="*/ 131 h 8"/>
                <a:gd name="T2" fmla="*/ 0 w 9"/>
                <a:gd name="T3" fmla="*/ 69 h 8"/>
                <a:gd name="T4" fmla="*/ 0 w 9"/>
                <a:gd name="T5" fmla="*/ 69 h 8"/>
                <a:gd name="T6" fmla="*/ 182 w 9"/>
                <a:gd name="T7" fmla="*/ 0 h 8"/>
                <a:gd name="T8" fmla="*/ 327 w 9"/>
                <a:gd name="T9" fmla="*/ 69 h 8"/>
                <a:gd name="T10" fmla="*/ 182 w 9"/>
                <a:gd name="T11" fmla="*/ 131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8">
                  <a:moveTo>
                    <a:pt x="5" y="8"/>
                  </a:moveTo>
                  <a:cubicBezTo>
                    <a:pt x="2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6"/>
                    <a:pt x="7" y="8"/>
                    <a:pt x="5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546" name="Freeform 529"/>
            <p:cNvSpPr>
              <a:spLocks noChangeArrowheads="1"/>
            </p:cNvSpPr>
            <p:nvPr/>
          </p:nvSpPr>
          <p:spPr bwMode="auto">
            <a:xfrm>
              <a:off x="5189" y="450"/>
              <a:ext cx="11" cy="12"/>
            </a:xfrm>
            <a:custGeom>
              <a:avLst/>
              <a:gdLst>
                <a:gd name="T0" fmla="*/ 69 w 8"/>
                <a:gd name="T1" fmla="*/ 230 h 8"/>
                <a:gd name="T2" fmla="*/ 69 w 8"/>
                <a:gd name="T3" fmla="*/ 230 h 8"/>
                <a:gd name="T4" fmla="*/ 0 w 8"/>
                <a:gd name="T5" fmla="*/ 120 h 8"/>
                <a:gd name="T6" fmla="*/ 0 w 8"/>
                <a:gd name="T7" fmla="*/ 120 h 8"/>
                <a:gd name="T8" fmla="*/ 69 w 8"/>
                <a:gd name="T9" fmla="*/ 0 h 8"/>
                <a:gd name="T10" fmla="*/ 131 w 8"/>
                <a:gd name="T11" fmla="*/ 120 h 8"/>
                <a:gd name="T12" fmla="*/ 69 w 8"/>
                <a:gd name="T13" fmla="*/ 230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" h="8">
                  <a:moveTo>
                    <a:pt x="4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1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"/>
                    <a:pt x="1" y="0"/>
                    <a:pt x="4" y="0"/>
                  </a:cubicBezTo>
                  <a:cubicBezTo>
                    <a:pt x="6" y="0"/>
                    <a:pt x="8" y="1"/>
                    <a:pt x="8" y="4"/>
                  </a:cubicBezTo>
                  <a:cubicBezTo>
                    <a:pt x="8" y="6"/>
                    <a:pt x="6" y="8"/>
                    <a:pt x="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547" name="Freeform 530"/>
            <p:cNvSpPr>
              <a:spLocks noChangeArrowheads="1"/>
            </p:cNvSpPr>
            <p:nvPr/>
          </p:nvSpPr>
          <p:spPr bwMode="auto">
            <a:xfrm>
              <a:off x="5044" y="436"/>
              <a:ext cx="11" cy="11"/>
            </a:xfrm>
            <a:custGeom>
              <a:avLst/>
              <a:gdLst>
                <a:gd name="T0" fmla="*/ 69 w 8"/>
                <a:gd name="T1" fmla="*/ 131 h 8"/>
                <a:gd name="T2" fmla="*/ 0 w 8"/>
                <a:gd name="T3" fmla="*/ 69 h 8"/>
                <a:gd name="T4" fmla="*/ 0 w 8"/>
                <a:gd name="T5" fmla="*/ 69 h 8"/>
                <a:gd name="T6" fmla="*/ 69 w 8"/>
                <a:gd name="T7" fmla="*/ 0 h 8"/>
                <a:gd name="T8" fmla="*/ 131 w 8"/>
                <a:gd name="T9" fmla="*/ 69 h 8"/>
                <a:gd name="T10" fmla="*/ 69 w 8"/>
                <a:gd name="T11" fmla="*/ 131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" h="8">
                  <a:moveTo>
                    <a:pt x="4" y="8"/>
                  </a:moveTo>
                  <a:cubicBezTo>
                    <a:pt x="2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6"/>
                    <a:pt x="6" y="8"/>
                    <a:pt x="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548" name="Freeform 531"/>
            <p:cNvSpPr>
              <a:spLocks noChangeArrowheads="1"/>
            </p:cNvSpPr>
            <p:nvPr/>
          </p:nvSpPr>
          <p:spPr bwMode="auto">
            <a:xfrm>
              <a:off x="5600" y="450"/>
              <a:ext cx="12" cy="12"/>
            </a:xfrm>
            <a:custGeom>
              <a:avLst/>
              <a:gdLst>
                <a:gd name="T0" fmla="*/ 64 w 9"/>
                <a:gd name="T1" fmla="*/ 230 h 8"/>
                <a:gd name="T2" fmla="*/ 49 w 9"/>
                <a:gd name="T3" fmla="*/ 230 h 8"/>
                <a:gd name="T4" fmla="*/ 0 w 9"/>
                <a:gd name="T5" fmla="*/ 120 h 8"/>
                <a:gd name="T6" fmla="*/ 64 w 9"/>
                <a:gd name="T7" fmla="*/ 0 h 8"/>
                <a:gd name="T8" fmla="*/ 113 w 9"/>
                <a:gd name="T9" fmla="*/ 120 h 8"/>
                <a:gd name="T10" fmla="*/ 64 w 9"/>
                <a:gd name="T11" fmla="*/ 230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8">
                  <a:moveTo>
                    <a:pt x="5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1"/>
                    <a:pt x="2" y="0"/>
                    <a:pt x="5" y="0"/>
                  </a:cubicBezTo>
                  <a:cubicBezTo>
                    <a:pt x="7" y="0"/>
                    <a:pt x="9" y="1"/>
                    <a:pt x="9" y="4"/>
                  </a:cubicBezTo>
                  <a:cubicBezTo>
                    <a:pt x="9" y="6"/>
                    <a:pt x="7" y="8"/>
                    <a:pt x="5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549" name="Freeform 532"/>
            <p:cNvSpPr>
              <a:spLocks noChangeArrowheads="1"/>
            </p:cNvSpPr>
            <p:nvPr/>
          </p:nvSpPr>
          <p:spPr bwMode="auto">
            <a:xfrm>
              <a:off x="5580" y="436"/>
              <a:ext cx="11" cy="11"/>
            </a:xfrm>
            <a:custGeom>
              <a:avLst/>
              <a:gdLst>
                <a:gd name="T0" fmla="*/ 69 w 8"/>
                <a:gd name="T1" fmla="*/ 131 h 8"/>
                <a:gd name="T2" fmla="*/ 0 w 8"/>
                <a:gd name="T3" fmla="*/ 69 h 8"/>
                <a:gd name="T4" fmla="*/ 0 w 8"/>
                <a:gd name="T5" fmla="*/ 69 h 8"/>
                <a:gd name="T6" fmla="*/ 69 w 8"/>
                <a:gd name="T7" fmla="*/ 0 h 8"/>
                <a:gd name="T8" fmla="*/ 131 w 8"/>
                <a:gd name="T9" fmla="*/ 69 h 8"/>
                <a:gd name="T10" fmla="*/ 69 w 8"/>
                <a:gd name="T11" fmla="*/ 131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" h="8">
                  <a:moveTo>
                    <a:pt x="4" y="8"/>
                  </a:moveTo>
                  <a:cubicBezTo>
                    <a:pt x="2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6"/>
                    <a:pt x="6" y="8"/>
                    <a:pt x="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550" name="Freeform 533"/>
            <p:cNvSpPr>
              <a:spLocks noChangeArrowheads="1"/>
            </p:cNvSpPr>
            <p:nvPr/>
          </p:nvSpPr>
          <p:spPr bwMode="auto">
            <a:xfrm>
              <a:off x="5558" y="450"/>
              <a:ext cx="12" cy="12"/>
            </a:xfrm>
            <a:custGeom>
              <a:avLst/>
              <a:gdLst>
                <a:gd name="T0" fmla="*/ 49 w 9"/>
                <a:gd name="T1" fmla="*/ 230 h 8"/>
                <a:gd name="T2" fmla="*/ 49 w 9"/>
                <a:gd name="T3" fmla="*/ 230 h 8"/>
                <a:gd name="T4" fmla="*/ 0 w 9"/>
                <a:gd name="T5" fmla="*/ 120 h 8"/>
                <a:gd name="T6" fmla="*/ 0 w 9"/>
                <a:gd name="T7" fmla="*/ 120 h 8"/>
                <a:gd name="T8" fmla="*/ 49 w 9"/>
                <a:gd name="T9" fmla="*/ 0 h 8"/>
                <a:gd name="T10" fmla="*/ 113 w 9"/>
                <a:gd name="T11" fmla="*/ 120 h 8"/>
                <a:gd name="T12" fmla="*/ 49 w 9"/>
                <a:gd name="T13" fmla="*/ 230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8">
                  <a:moveTo>
                    <a:pt x="4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7" y="0"/>
                    <a:pt x="9" y="1"/>
                    <a:pt x="9" y="4"/>
                  </a:cubicBezTo>
                  <a:cubicBezTo>
                    <a:pt x="9" y="6"/>
                    <a:pt x="7" y="8"/>
                    <a:pt x="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551" name="Freeform 534"/>
            <p:cNvSpPr>
              <a:spLocks noChangeArrowheads="1"/>
            </p:cNvSpPr>
            <p:nvPr/>
          </p:nvSpPr>
          <p:spPr bwMode="auto">
            <a:xfrm>
              <a:off x="5538" y="436"/>
              <a:ext cx="12" cy="11"/>
            </a:xfrm>
            <a:custGeom>
              <a:avLst/>
              <a:gdLst>
                <a:gd name="T0" fmla="*/ 64 w 9"/>
                <a:gd name="T1" fmla="*/ 131 h 8"/>
                <a:gd name="T2" fmla="*/ 0 w 9"/>
                <a:gd name="T3" fmla="*/ 69 h 8"/>
                <a:gd name="T4" fmla="*/ 0 w 9"/>
                <a:gd name="T5" fmla="*/ 69 h 8"/>
                <a:gd name="T6" fmla="*/ 64 w 9"/>
                <a:gd name="T7" fmla="*/ 0 h 8"/>
                <a:gd name="T8" fmla="*/ 113 w 9"/>
                <a:gd name="T9" fmla="*/ 69 h 8"/>
                <a:gd name="T10" fmla="*/ 64 w 9"/>
                <a:gd name="T11" fmla="*/ 131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8">
                  <a:moveTo>
                    <a:pt x="5" y="8"/>
                  </a:moveTo>
                  <a:cubicBezTo>
                    <a:pt x="2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6"/>
                    <a:pt x="7" y="8"/>
                    <a:pt x="5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552" name="Freeform 535"/>
            <p:cNvSpPr>
              <a:spLocks noChangeArrowheads="1"/>
            </p:cNvSpPr>
            <p:nvPr/>
          </p:nvSpPr>
          <p:spPr bwMode="auto">
            <a:xfrm>
              <a:off x="5518" y="450"/>
              <a:ext cx="12" cy="12"/>
            </a:xfrm>
            <a:custGeom>
              <a:avLst/>
              <a:gdLst>
                <a:gd name="T0" fmla="*/ 120 w 8"/>
                <a:gd name="T1" fmla="*/ 230 h 8"/>
                <a:gd name="T2" fmla="*/ 120 w 8"/>
                <a:gd name="T3" fmla="*/ 230 h 8"/>
                <a:gd name="T4" fmla="*/ 0 w 8"/>
                <a:gd name="T5" fmla="*/ 120 h 8"/>
                <a:gd name="T6" fmla="*/ 0 w 8"/>
                <a:gd name="T7" fmla="*/ 120 h 8"/>
                <a:gd name="T8" fmla="*/ 120 w 8"/>
                <a:gd name="T9" fmla="*/ 0 h 8"/>
                <a:gd name="T10" fmla="*/ 230 w 8"/>
                <a:gd name="T11" fmla="*/ 120 h 8"/>
                <a:gd name="T12" fmla="*/ 120 w 8"/>
                <a:gd name="T13" fmla="*/ 230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" h="8">
                  <a:moveTo>
                    <a:pt x="4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1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6" y="0"/>
                    <a:pt x="8" y="1"/>
                    <a:pt x="8" y="4"/>
                  </a:cubicBezTo>
                  <a:cubicBezTo>
                    <a:pt x="8" y="6"/>
                    <a:pt x="6" y="8"/>
                    <a:pt x="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553" name="Freeform 536"/>
            <p:cNvSpPr>
              <a:spLocks noChangeArrowheads="1"/>
            </p:cNvSpPr>
            <p:nvPr/>
          </p:nvSpPr>
          <p:spPr bwMode="auto">
            <a:xfrm>
              <a:off x="5496" y="436"/>
              <a:ext cx="12" cy="11"/>
            </a:xfrm>
            <a:custGeom>
              <a:avLst/>
              <a:gdLst>
                <a:gd name="T0" fmla="*/ 49 w 9"/>
                <a:gd name="T1" fmla="*/ 131 h 8"/>
                <a:gd name="T2" fmla="*/ 0 w 9"/>
                <a:gd name="T3" fmla="*/ 69 h 8"/>
                <a:gd name="T4" fmla="*/ 0 w 9"/>
                <a:gd name="T5" fmla="*/ 69 h 8"/>
                <a:gd name="T6" fmla="*/ 49 w 9"/>
                <a:gd name="T7" fmla="*/ 0 h 8"/>
                <a:gd name="T8" fmla="*/ 113 w 9"/>
                <a:gd name="T9" fmla="*/ 69 h 8"/>
                <a:gd name="T10" fmla="*/ 49 w 9"/>
                <a:gd name="T11" fmla="*/ 131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8">
                  <a:moveTo>
                    <a:pt x="4" y="8"/>
                  </a:moveTo>
                  <a:cubicBezTo>
                    <a:pt x="2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6"/>
                    <a:pt x="7" y="8"/>
                    <a:pt x="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554" name="Oval 537"/>
            <p:cNvSpPr>
              <a:spLocks noChangeArrowheads="1"/>
            </p:cNvSpPr>
            <p:nvPr/>
          </p:nvSpPr>
          <p:spPr bwMode="auto">
            <a:xfrm>
              <a:off x="5455" y="436"/>
              <a:ext cx="13" cy="11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US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555" name="Oval 538"/>
            <p:cNvSpPr>
              <a:spLocks noChangeArrowheads="1"/>
            </p:cNvSpPr>
            <p:nvPr/>
          </p:nvSpPr>
          <p:spPr bwMode="auto">
            <a:xfrm>
              <a:off x="5744" y="436"/>
              <a:ext cx="13" cy="11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US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556" name="Freeform 539"/>
            <p:cNvSpPr>
              <a:spLocks noChangeArrowheads="1"/>
            </p:cNvSpPr>
            <p:nvPr/>
          </p:nvSpPr>
          <p:spPr bwMode="auto">
            <a:xfrm>
              <a:off x="5723" y="450"/>
              <a:ext cx="12" cy="12"/>
            </a:xfrm>
            <a:custGeom>
              <a:avLst/>
              <a:gdLst>
                <a:gd name="T0" fmla="*/ 64 w 9"/>
                <a:gd name="T1" fmla="*/ 230 h 8"/>
                <a:gd name="T2" fmla="*/ 64 w 9"/>
                <a:gd name="T3" fmla="*/ 230 h 8"/>
                <a:gd name="T4" fmla="*/ 0 w 9"/>
                <a:gd name="T5" fmla="*/ 120 h 8"/>
                <a:gd name="T6" fmla="*/ 0 w 9"/>
                <a:gd name="T7" fmla="*/ 120 h 8"/>
                <a:gd name="T8" fmla="*/ 64 w 9"/>
                <a:gd name="T9" fmla="*/ 0 h 8"/>
                <a:gd name="T10" fmla="*/ 113 w 9"/>
                <a:gd name="T11" fmla="*/ 120 h 8"/>
                <a:gd name="T12" fmla="*/ 64 w 9"/>
                <a:gd name="T13" fmla="*/ 230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8">
                  <a:moveTo>
                    <a:pt x="5" y="8"/>
                  </a:moveTo>
                  <a:cubicBezTo>
                    <a:pt x="5" y="8"/>
                    <a:pt x="5" y="8"/>
                    <a:pt x="5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"/>
                    <a:pt x="2" y="0"/>
                    <a:pt x="5" y="0"/>
                  </a:cubicBezTo>
                  <a:cubicBezTo>
                    <a:pt x="7" y="0"/>
                    <a:pt x="9" y="1"/>
                    <a:pt x="9" y="4"/>
                  </a:cubicBezTo>
                  <a:cubicBezTo>
                    <a:pt x="9" y="6"/>
                    <a:pt x="7" y="8"/>
                    <a:pt x="5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557" name="Freeform 540"/>
            <p:cNvSpPr>
              <a:spLocks noChangeArrowheads="1"/>
            </p:cNvSpPr>
            <p:nvPr/>
          </p:nvSpPr>
          <p:spPr bwMode="auto">
            <a:xfrm>
              <a:off x="5703" y="436"/>
              <a:ext cx="11" cy="11"/>
            </a:xfrm>
            <a:custGeom>
              <a:avLst/>
              <a:gdLst>
                <a:gd name="T0" fmla="*/ 69 w 8"/>
                <a:gd name="T1" fmla="*/ 131 h 8"/>
                <a:gd name="T2" fmla="*/ 0 w 8"/>
                <a:gd name="T3" fmla="*/ 69 h 8"/>
                <a:gd name="T4" fmla="*/ 0 w 8"/>
                <a:gd name="T5" fmla="*/ 69 h 8"/>
                <a:gd name="T6" fmla="*/ 69 w 8"/>
                <a:gd name="T7" fmla="*/ 0 h 8"/>
                <a:gd name="T8" fmla="*/ 131 w 8"/>
                <a:gd name="T9" fmla="*/ 69 h 8"/>
                <a:gd name="T10" fmla="*/ 69 w 8"/>
                <a:gd name="T11" fmla="*/ 131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" h="8">
                  <a:moveTo>
                    <a:pt x="4" y="8"/>
                  </a:moveTo>
                  <a:cubicBezTo>
                    <a:pt x="2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6"/>
                    <a:pt x="6" y="8"/>
                    <a:pt x="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558" name="Freeform 541"/>
            <p:cNvSpPr>
              <a:spLocks noChangeArrowheads="1"/>
            </p:cNvSpPr>
            <p:nvPr/>
          </p:nvSpPr>
          <p:spPr bwMode="auto">
            <a:xfrm>
              <a:off x="5682" y="450"/>
              <a:ext cx="12" cy="12"/>
            </a:xfrm>
            <a:custGeom>
              <a:avLst/>
              <a:gdLst>
                <a:gd name="T0" fmla="*/ 49 w 9"/>
                <a:gd name="T1" fmla="*/ 230 h 8"/>
                <a:gd name="T2" fmla="*/ 49 w 9"/>
                <a:gd name="T3" fmla="*/ 230 h 8"/>
                <a:gd name="T4" fmla="*/ 0 w 9"/>
                <a:gd name="T5" fmla="*/ 120 h 8"/>
                <a:gd name="T6" fmla="*/ 49 w 9"/>
                <a:gd name="T7" fmla="*/ 0 h 8"/>
                <a:gd name="T8" fmla="*/ 113 w 9"/>
                <a:gd name="T9" fmla="*/ 120 h 8"/>
                <a:gd name="T10" fmla="*/ 49 w 9"/>
                <a:gd name="T11" fmla="*/ 230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8">
                  <a:moveTo>
                    <a:pt x="4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7" y="0"/>
                    <a:pt x="9" y="1"/>
                    <a:pt x="9" y="4"/>
                  </a:cubicBezTo>
                  <a:cubicBezTo>
                    <a:pt x="9" y="6"/>
                    <a:pt x="7" y="8"/>
                    <a:pt x="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559" name="Freeform 542"/>
            <p:cNvSpPr>
              <a:spLocks noChangeArrowheads="1"/>
            </p:cNvSpPr>
            <p:nvPr/>
          </p:nvSpPr>
          <p:spPr bwMode="auto">
            <a:xfrm>
              <a:off x="5661" y="436"/>
              <a:ext cx="12" cy="11"/>
            </a:xfrm>
            <a:custGeom>
              <a:avLst/>
              <a:gdLst>
                <a:gd name="T0" fmla="*/ 64 w 9"/>
                <a:gd name="T1" fmla="*/ 131 h 8"/>
                <a:gd name="T2" fmla="*/ 0 w 9"/>
                <a:gd name="T3" fmla="*/ 69 h 8"/>
                <a:gd name="T4" fmla="*/ 0 w 9"/>
                <a:gd name="T5" fmla="*/ 69 h 8"/>
                <a:gd name="T6" fmla="*/ 64 w 9"/>
                <a:gd name="T7" fmla="*/ 0 h 8"/>
                <a:gd name="T8" fmla="*/ 113 w 9"/>
                <a:gd name="T9" fmla="*/ 69 h 8"/>
                <a:gd name="T10" fmla="*/ 64 w 9"/>
                <a:gd name="T11" fmla="*/ 131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8">
                  <a:moveTo>
                    <a:pt x="5" y="8"/>
                  </a:moveTo>
                  <a:cubicBezTo>
                    <a:pt x="2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6"/>
                    <a:pt x="7" y="8"/>
                    <a:pt x="5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560" name="Freeform 543"/>
            <p:cNvSpPr>
              <a:spLocks noChangeArrowheads="1"/>
            </p:cNvSpPr>
            <p:nvPr/>
          </p:nvSpPr>
          <p:spPr bwMode="auto">
            <a:xfrm>
              <a:off x="5640" y="450"/>
              <a:ext cx="12" cy="12"/>
            </a:xfrm>
            <a:custGeom>
              <a:avLst/>
              <a:gdLst>
                <a:gd name="T0" fmla="*/ 120 w 8"/>
                <a:gd name="T1" fmla="*/ 230 h 8"/>
                <a:gd name="T2" fmla="*/ 120 w 8"/>
                <a:gd name="T3" fmla="*/ 230 h 8"/>
                <a:gd name="T4" fmla="*/ 0 w 8"/>
                <a:gd name="T5" fmla="*/ 120 h 8"/>
                <a:gd name="T6" fmla="*/ 0 w 8"/>
                <a:gd name="T7" fmla="*/ 120 h 8"/>
                <a:gd name="T8" fmla="*/ 120 w 8"/>
                <a:gd name="T9" fmla="*/ 0 h 8"/>
                <a:gd name="T10" fmla="*/ 230 w 8"/>
                <a:gd name="T11" fmla="*/ 120 h 8"/>
                <a:gd name="T12" fmla="*/ 230 w 8"/>
                <a:gd name="T13" fmla="*/ 120 h 8"/>
                <a:gd name="T14" fmla="*/ 120 w 8"/>
                <a:gd name="T15" fmla="*/ 230 h 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8" h="8">
                  <a:moveTo>
                    <a:pt x="4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6" y="0"/>
                    <a:pt x="8" y="1"/>
                    <a:pt x="8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6" y="8"/>
                    <a:pt x="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561" name="Oval 544"/>
            <p:cNvSpPr>
              <a:spLocks noChangeArrowheads="1"/>
            </p:cNvSpPr>
            <p:nvPr/>
          </p:nvSpPr>
          <p:spPr bwMode="auto">
            <a:xfrm>
              <a:off x="5621" y="436"/>
              <a:ext cx="12" cy="11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US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562" name="Freeform 545"/>
            <p:cNvSpPr>
              <a:spLocks noChangeArrowheads="1"/>
            </p:cNvSpPr>
            <p:nvPr/>
          </p:nvSpPr>
          <p:spPr bwMode="auto">
            <a:xfrm>
              <a:off x="5393" y="450"/>
              <a:ext cx="13" cy="12"/>
            </a:xfrm>
            <a:custGeom>
              <a:avLst/>
              <a:gdLst>
                <a:gd name="T0" fmla="*/ 108 w 9"/>
                <a:gd name="T1" fmla="*/ 230 h 8"/>
                <a:gd name="T2" fmla="*/ 108 w 9"/>
                <a:gd name="T3" fmla="*/ 230 h 8"/>
                <a:gd name="T4" fmla="*/ 0 w 9"/>
                <a:gd name="T5" fmla="*/ 120 h 8"/>
                <a:gd name="T6" fmla="*/ 0 w 9"/>
                <a:gd name="T7" fmla="*/ 120 h 8"/>
                <a:gd name="T8" fmla="*/ 108 w 9"/>
                <a:gd name="T9" fmla="*/ 0 h 8"/>
                <a:gd name="T10" fmla="*/ 188 w 9"/>
                <a:gd name="T11" fmla="*/ 120 h 8"/>
                <a:gd name="T12" fmla="*/ 108 w 9"/>
                <a:gd name="T13" fmla="*/ 230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8">
                  <a:moveTo>
                    <a:pt x="5" y="8"/>
                  </a:moveTo>
                  <a:cubicBezTo>
                    <a:pt x="5" y="8"/>
                    <a:pt x="5" y="8"/>
                    <a:pt x="5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"/>
                    <a:pt x="2" y="0"/>
                    <a:pt x="5" y="0"/>
                  </a:cubicBezTo>
                  <a:cubicBezTo>
                    <a:pt x="7" y="0"/>
                    <a:pt x="9" y="1"/>
                    <a:pt x="9" y="4"/>
                  </a:cubicBezTo>
                  <a:cubicBezTo>
                    <a:pt x="9" y="6"/>
                    <a:pt x="7" y="8"/>
                    <a:pt x="5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563" name="Freeform 546"/>
            <p:cNvSpPr>
              <a:spLocks noChangeArrowheads="1"/>
            </p:cNvSpPr>
            <p:nvPr/>
          </p:nvSpPr>
          <p:spPr bwMode="auto">
            <a:xfrm>
              <a:off x="5312" y="450"/>
              <a:ext cx="11" cy="12"/>
            </a:xfrm>
            <a:custGeom>
              <a:avLst/>
              <a:gdLst>
                <a:gd name="T0" fmla="*/ 69 w 8"/>
                <a:gd name="T1" fmla="*/ 230 h 8"/>
                <a:gd name="T2" fmla="*/ 69 w 8"/>
                <a:gd name="T3" fmla="*/ 230 h 8"/>
                <a:gd name="T4" fmla="*/ 0 w 8"/>
                <a:gd name="T5" fmla="*/ 120 h 8"/>
                <a:gd name="T6" fmla="*/ 0 w 8"/>
                <a:gd name="T7" fmla="*/ 120 h 8"/>
                <a:gd name="T8" fmla="*/ 69 w 8"/>
                <a:gd name="T9" fmla="*/ 0 h 8"/>
                <a:gd name="T10" fmla="*/ 131 w 8"/>
                <a:gd name="T11" fmla="*/ 120 h 8"/>
                <a:gd name="T12" fmla="*/ 69 w 8"/>
                <a:gd name="T13" fmla="*/ 230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" h="8">
                  <a:moveTo>
                    <a:pt x="4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6" y="0"/>
                    <a:pt x="8" y="1"/>
                    <a:pt x="8" y="4"/>
                  </a:cubicBezTo>
                  <a:cubicBezTo>
                    <a:pt x="8" y="6"/>
                    <a:pt x="6" y="8"/>
                    <a:pt x="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564" name="Freeform 547"/>
            <p:cNvSpPr>
              <a:spLocks noChangeArrowheads="1"/>
            </p:cNvSpPr>
            <p:nvPr/>
          </p:nvSpPr>
          <p:spPr bwMode="auto">
            <a:xfrm>
              <a:off x="5250" y="436"/>
              <a:ext cx="11" cy="11"/>
            </a:xfrm>
            <a:custGeom>
              <a:avLst/>
              <a:gdLst>
                <a:gd name="T0" fmla="*/ 69 w 8"/>
                <a:gd name="T1" fmla="*/ 131 h 8"/>
                <a:gd name="T2" fmla="*/ 0 w 8"/>
                <a:gd name="T3" fmla="*/ 69 h 8"/>
                <a:gd name="T4" fmla="*/ 0 w 8"/>
                <a:gd name="T5" fmla="*/ 69 h 8"/>
                <a:gd name="T6" fmla="*/ 69 w 8"/>
                <a:gd name="T7" fmla="*/ 0 h 8"/>
                <a:gd name="T8" fmla="*/ 131 w 8"/>
                <a:gd name="T9" fmla="*/ 69 h 8"/>
                <a:gd name="T10" fmla="*/ 69 w 8"/>
                <a:gd name="T11" fmla="*/ 131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" h="8">
                  <a:moveTo>
                    <a:pt x="4" y="8"/>
                  </a:moveTo>
                  <a:cubicBezTo>
                    <a:pt x="2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6"/>
                    <a:pt x="6" y="8"/>
                    <a:pt x="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565" name="Freeform 548"/>
            <p:cNvSpPr>
              <a:spLocks noChangeArrowheads="1"/>
            </p:cNvSpPr>
            <p:nvPr/>
          </p:nvSpPr>
          <p:spPr bwMode="auto">
            <a:xfrm>
              <a:off x="5168" y="436"/>
              <a:ext cx="11" cy="11"/>
            </a:xfrm>
            <a:custGeom>
              <a:avLst/>
              <a:gdLst>
                <a:gd name="T0" fmla="*/ 69 w 8"/>
                <a:gd name="T1" fmla="*/ 131 h 8"/>
                <a:gd name="T2" fmla="*/ 0 w 8"/>
                <a:gd name="T3" fmla="*/ 69 h 8"/>
                <a:gd name="T4" fmla="*/ 0 w 8"/>
                <a:gd name="T5" fmla="*/ 69 h 8"/>
                <a:gd name="T6" fmla="*/ 69 w 8"/>
                <a:gd name="T7" fmla="*/ 0 h 8"/>
                <a:gd name="T8" fmla="*/ 131 w 8"/>
                <a:gd name="T9" fmla="*/ 69 h 8"/>
                <a:gd name="T10" fmla="*/ 69 w 8"/>
                <a:gd name="T11" fmla="*/ 131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" h="8">
                  <a:moveTo>
                    <a:pt x="4" y="8"/>
                  </a:moveTo>
                  <a:cubicBezTo>
                    <a:pt x="2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8" y="2"/>
                    <a:pt x="8" y="4"/>
                  </a:cubicBezTo>
                  <a:cubicBezTo>
                    <a:pt x="8" y="6"/>
                    <a:pt x="7" y="8"/>
                    <a:pt x="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566" name="Freeform 549"/>
            <p:cNvSpPr>
              <a:spLocks noChangeArrowheads="1"/>
            </p:cNvSpPr>
            <p:nvPr/>
          </p:nvSpPr>
          <p:spPr bwMode="auto">
            <a:xfrm>
              <a:off x="5106" y="450"/>
              <a:ext cx="11" cy="12"/>
            </a:xfrm>
            <a:custGeom>
              <a:avLst/>
              <a:gdLst>
                <a:gd name="T0" fmla="*/ 69 w 8"/>
                <a:gd name="T1" fmla="*/ 230 h 8"/>
                <a:gd name="T2" fmla="*/ 69 w 8"/>
                <a:gd name="T3" fmla="*/ 230 h 8"/>
                <a:gd name="T4" fmla="*/ 0 w 8"/>
                <a:gd name="T5" fmla="*/ 120 h 8"/>
                <a:gd name="T6" fmla="*/ 0 w 8"/>
                <a:gd name="T7" fmla="*/ 120 h 8"/>
                <a:gd name="T8" fmla="*/ 69 w 8"/>
                <a:gd name="T9" fmla="*/ 0 h 8"/>
                <a:gd name="T10" fmla="*/ 131 w 8"/>
                <a:gd name="T11" fmla="*/ 120 h 8"/>
                <a:gd name="T12" fmla="*/ 69 w 8"/>
                <a:gd name="T13" fmla="*/ 230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" h="8">
                  <a:moveTo>
                    <a:pt x="4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6" y="0"/>
                    <a:pt x="8" y="1"/>
                    <a:pt x="8" y="4"/>
                  </a:cubicBezTo>
                  <a:cubicBezTo>
                    <a:pt x="8" y="6"/>
                    <a:pt x="7" y="8"/>
                    <a:pt x="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567" name="Freeform 550"/>
            <p:cNvSpPr>
              <a:spLocks noChangeArrowheads="1"/>
            </p:cNvSpPr>
            <p:nvPr/>
          </p:nvSpPr>
          <p:spPr bwMode="auto">
            <a:xfrm>
              <a:off x="5374" y="436"/>
              <a:ext cx="11" cy="11"/>
            </a:xfrm>
            <a:custGeom>
              <a:avLst/>
              <a:gdLst>
                <a:gd name="T0" fmla="*/ 69 w 8"/>
                <a:gd name="T1" fmla="*/ 131 h 8"/>
                <a:gd name="T2" fmla="*/ 0 w 8"/>
                <a:gd name="T3" fmla="*/ 69 h 8"/>
                <a:gd name="T4" fmla="*/ 0 w 8"/>
                <a:gd name="T5" fmla="*/ 69 h 8"/>
                <a:gd name="T6" fmla="*/ 69 w 8"/>
                <a:gd name="T7" fmla="*/ 0 h 8"/>
                <a:gd name="T8" fmla="*/ 131 w 8"/>
                <a:gd name="T9" fmla="*/ 69 h 8"/>
                <a:gd name="T10" fmla="*/ 69 w 8"/>
                <a:gd name="T11" fmla="*/ 131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" h="8">
                  <a:moveTo>
                    <a:pt x="4" y="8"/>
                  </a:moveTo>
                  <a:cubicBezTo>
                    <a:pt x="2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6"/>
                    <a:pt x="6" y="8"/>
                    <a:pt x="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568" name="Freeform 551"/>
            <p:cNvSpPr>
              <a:spLocks noChangeArrowheads="1"/>
            </p:cNvSpPr>
            <p:nvPr/>
          </p:nvSpPr>
          <p:spPr bwMode="auto">
            <a:xfrm>
              <a:off x="5291" y="436"/>
              <a:ext cx="13" cy="11"/>
            </a:xfrm>
            <a:custGeom>
              <a:avLst/>
              <a:gdLst>
                <a:gd name="T0" fmla="*/ 81 w 9"/>
                <a:gd name="T1" fmla="*/ 131 h 8"/>
                <a:gd name="T2" fmla="*/ 0 w 9"/>
                <a:gd name="T3" fmla="*/ 69 h 8"/>
                <a:gd name="T4" fmla="*/ 0 w 9"/>
                <a:gd name="T5" fmla="*/ 69 h 8"/>
                <a:gd name="T6" fmla="*/ 81 w 9"/>
                <a:gd name="T7" fmla="*/ 0 h 8"/>
                <a:gd name="T8" fmla="*/ 188 w 9"/>
                <a:gd name="T9" fmla="*/ 69 h 8"/>
                <a:gd name="T10" fmla="*/ 81 w 9"/>
                <a:gd name="T11" fmla="*/ 131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8">
                  <a:moveTo>
                    <a:pt x="4" y="8"/>
                  </a:moveTo>
                  <a:cubicBezTo>
                    <a:pt x="2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6"/>
                    <a:pt x="7" y="8"/>
                    <a:pt x="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569" name="Freeform 552"/>
            <p:cNvSpPr>
              <a:spLocks noChangeArrowheads="1"/>
            </p:cNvSpPr>
            <p:nvPr/>
          </p:nvSpPr>
          <p:spPr bwMode="auto">
            <a:xfrm>
              <a:off x="5229" y="450"/>
              <a:ext cx="13" cy="12"/>
            </a:xfrm>
            <a:custGeom>
              <a:avLst/>
              <a:gdLst>
                <a:gd name="T0" fmla="*/ 81 w 9"/>
                <a:gd name="T1" fmla="*/ 230 h 8"/>
                <a:gd name="T2" fmla="*/ 81 w 9"/>
                <a:gd name="T3" fmla="*/ 230 h 8"/>
                <a:gd name="T4" fmla="*/ 0 w 9"/>
                <a:gd name="T5" fmla="*/ 120 h 8"/>
                <a:gd name="T6" fmla="*/ 81 w 9"/>
                <a:gd name="T7" fmla="*/ 0 h 8"/>
                <a:gd name="T8" fmla="*/ 188 w 9"/>
                <a:gd name="T9" fmla="*/ 120 h 8"/>
                <a:gd name="T10" fmla="*/ 81 w 9"/>
                <a:gd name="T11" fmla="*/ 230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8">
                  <a:moveTo>
                    <a:pt x="4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7" y="0"/>
                    <a:pt x="9" y="1"/>
                    <a:pt x="9" y="4"/>
                  </a:cubicBezTo>
                  <a:cubicBezTo>
                    <a:pt x="9" y="6"/>
                    <a:pt x="7" y="8"/>
                    <a:pt x="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570" name="Freeform 553"/>
            <p:cNvSpPr>
              <a:spLocks noChangeArrowheads="1"/>
            </p:cNvSpPr>
            <p:nvPr/>
          </p:nvSpPr>
          <p:spPr bwMode="auto">
            <a:xfrm>
              <a:off x="5146" y="450"/>
              <a:ext cx="14" cy="12"/>
            </a:xfrm>
            <a:custGeom>
              <a:avLst/>
              <a:gdLst>
                <a:gd name="T0" fmla="*/ 182 w 9"/>
                <a:gd name="T1" fmla="*/ 230 h 8"/>
                <a:gd name="T2" fmla="*/ 148 w 9"/>
                <a:gd name="T3" fmla="*/ 230 h 8"/>
                <a:gd name="T4" fmla="*/ 0 w 9"/>
                <a:gd name="T5" fmla="*/ 120 h 8"/>
                <a:gd name="T6" fmla="*/ 0 w 9"/>
                <a:gd name="T7" fmla="*/ 120 h 8"/>
                <a:gd name="T8" fmla="*/ 148 w 9"/>
                <a:gd name="T9" fmla="*/ 0 h 8"/>
                <a:gd name="T10" fmla="*/ 327 w 9"/>
                <a:gd name="T11" fmla="*/ 120 h 8"/>
                <a:gd name="T12" fmla="*/ 182 w 9"/>
                <a:gd name="T13" fmla="*/ 230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8">
                  <a:moveTo>
                    <a:pt x="5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7" y="0"/>
                    <a:pt x="9" y="1"/>
                    <a:pt x="9" y="4"/>
                  </a:cubicBezTo>
                  <a:cubicBezTo>
                    <a:pt x="9" y="6"/>
                    <a:pt x="7" y="8"/>
                    <a:pt x="5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571" name="Freeform 554"/>
            <p:cNvSpPr>
              <a:spLocks noChangeArrowheads="1"/>
            </p:cNvSpPr>
            <p:nvPr/>
          </p:nvSpPr>
          <p:spPr bwMode="auto">
            <a:xfrm>
              <a:off x="5085" y="436"/>
              <a:ext cx="13" cy="11"/>
            </a:xfrm>
            <a:custGeom>
              <a:avLst/>
              <a:gdLst>
                <a:gd name="T0" fmla="*/ 81 w 9"/>
                <a:gd name="T1" fmla="*/ 131 h 8"/>
                <a:gd name="T2" fmla="*/ 0 w 9"/>
                <a:gd name="T3" fmla="*/ 69 h 8"/>
                <a:gd name="T4" fmla="*/ 0 w 9"/>
                <a:gd name="T5" fmla="*/ 69 h 8"/>
                <a:gd name="T6" fmla="*/ 81 w 9"/>
                <a:gd name="T7" fmla="*/ 0 h 8"/>
                <a:gd name="T8" fmla="*/ 188 w 9"/>
                <a:gd name="T9" fmla="*/ 69 h 8"/>
                <a:gd name="T10" fmla="*/ 81 w 9"/>
                <a:gd name="T11" fmla="*/ 131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8">
                  <a:moveTo>
                    <a:pt x="4" y="8"/>
                  </a:moveTo>
                  <a:cubicBezTo>
                    <a:pt x="2" y="8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6"/>
                    <a:pt x="7" y="8"/>
                    <a:pt x="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572" name="Freeform 555"/>
            <p:cNvSpPr>
              <a:spLocks noChangeArrowheads="1"/>
            </p:cNvSpPr>
            <p:nvPr/>
          </p:nvSpPr>
          <p:spPr bwMode="auto">
            <a:xfrm>
              <a:off x="5353" y="450"/>
              <a:ext cx="12" cy="12"/>
            </a:xfrm>
            <a:custGeom>
              <a:avLst/>
              <a:gdLst>
                <a:gd name="T0" fmla="*/ 49 w 9"/>
                <a:gd name="T1" fmla="*/ 230 h 8"/>
                <a:gd name="T2" fmla="*/ 49 w 9"/>
                <a:gd name="T3" fmla="*/ 230 h 8"/>
                <a:gd name="T4" fmla="*/ 0 w 9"/>
                <a:gd name="T5" fmla="*/ 120 h 8"/>
                <a:gd name="T6" fmla="*/ 0 w 9"/>
                <a:gd name="T7" fmla="*/ 120 h 8"/>
                <a:gd name="T8" fmla="*/ 49 w 9"/>
                <a:gd name="T9" fmla="*/ 0 h 8"/>
                <a:gd name="T10" fmla="*/ 113 w 9"/>
                <a:gd name="T11" fmla="*/ 120 h 8"/>
                <a:gd name="T12" fmla="*/ 49 w 9"/>
                <a:gd name="T13" fmla="*/ 230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8">
                  <a:moveTo>
                    <a:pt x="4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7" y="0"/>
                    <a:pt x="9" y="1"/>
                    <a:pt x="9" y="4"/>
                  </a:cubicBezTo>
                  <a:cubicBezTo>
                    <a:pt x="9" y="6"/>
                    <a:pt x="7" y="8"/>
                    <a:pt x="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573" name="Freeform 556"/>
            <p:cNvSpPr>
              <a:spLocks noChangeArrowheads="1"/>
            </p:cNvSpPr>
            <p:nvPr/>
          </p:nvSpPr>
          <p:spPr bwMode="auto">
            <a:xfrm>
              <a:off x="5270" y="450"/>
              <a:ext cx="12" cy="12"/>
            </a:xfrm>
            <a:custGeom>
              <a:avLst/>
              <a:gdLst>
                <a:gd name="T0" fmla="*/ 65 w 9"/>
                <a:gd name="T1" fmla="*/ 230 h 8"/>
                <a:gd name="T2" fmla="*/ 49 w 9"/>
                <a:gd name="T3" fmla="*/ 230 h 8"/>
                <a:gd name="T4" fmla="*/ 0 w 9"/>
                <a:gd name="T5" fmla="*/ 120 h 8"/>
                <a:gd name="T6" fmla="*/ 0 w 9"/>
                <a:gd name="T7" fmla="*/ 120 h 8"/>
                <a:gd name="T8" fmla="*/ 65 w 9"/>
                <a:gd name="T9" fmla="*/ 0 h 8"/>
                <a:gd name="T10" fmla="*/ 116 w 9"/>
                <a:gd name="T11" fmla="*/ 120 h 8"/>
                <a:gd name="T12" fmla="*/ 65 w 9"/>
                <a:gd name="T13" fmla="*/ 230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8">
                  <a:moveTo>
                    <a:pt x="5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"/>
                    <a:pt x="2" y="0"/>
                    <a:pt x="5" y="0"/>
                  </a:cubicBezTo>
                  <a:cubicBezTo>
                    <a:pt x="7" y="0"/>
                    <a:pt x="9" y="1"/>
                    <a:pt x="9" y="4"/>
                  </a:cubicBezTo>
                  <a:cubicBezTo>
                    <a:pt x="9" y="6"/>
                    <a:pt x="7" y="8"/>
                    <a:pt x="5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574" name="Freeform 557"/>
            <p:cNvSpPr>
              <a:spLocks noChangeArrowheads="1"/>
            </p:cNvSpPr>
            <p:nvPr/>
          </p:nvSpPr>
          <p:spPr bwMode="auto">
            <a:xfrm>
              <a:off x="5208" y="436"/>
              <a:ext cx="12" cy="11"/>
            </a:xfrm>
            <a:custGeom>
              <a:avLst/>
              <a:gdLst>
                <a:gd name="T0" fmla="*/ 65 w 9"/>
                <a:gd name="T1" fmla="*/ 131 h 8"/>
                <a:gd name="T2" fmla="*/ 0 w 9"/>
                <a:gd name="T3" fmla="*/ 69 h 8"/>
                <a:gd name="T4" fmla="*/ 0 w 9"/>
                <a:gd name="T5" fmla="*/ 69 h 8"/>
                <a:gd name="T6" fmla="*/ 65 w 9"/>
                <a:gd name="T7" fmla="*/ 0 h 8"/>
                <a:gd name="T8" fmla="*/ 116 w 9"/>
                <a:gd name="T9" fmla="*/ 69 h 8"/>
                <a:gd name="T10" fmla="*/ 65 w 9"/>
                <a:gd name="T11" fmla="*/ 131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8">
                  <a:moveTo>
                    <a:pt x="5" y="8"/>
                  </a:moveTo>
                  <a:cubicBezTo>
                    <a:pt x="2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6"/>
                    <a:pt x="7" y="8"/>
                    <a:pt x="5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575" name="Oval 558"/>
            <p:cNvSpPr>
              <a:spLocks noChangeArrowheads="1"/>
            </p:cNvSpPr>
            <p:nvPr/>
          </p:nvSpPr>
          <p:spPr bwMode="auto">
            <a:xfrm>
              <a:off x="5125" y="436"/>
              <a:ext cx="13" cy="11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US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576" name="Freeform 559"/>
            <p:cNvSpPr>
              <a:spLocks noChangeArrowheads="1"/>
            </p:cNvSpPr>
            <p:nvPr/>
          </p:nvSpPr>
          <p:spPr bwMode="auto">
            <a:xfrm>
              <a:off x="5063" y="450"/>
              <a:ext cx="14" cy="12"/>
            </a:xfrm>
            <a:custGeom>
              <a:avLst/>
              <a:gdLst>
                <a:gd name="T0" fmla="*/ 182 w 9"/>
                <a:gd name="T1" fmla="*/ 230 h 8"/>
                <a:gd name="T2" fmla="*/ 182 w 9"/>
                <a:gd name="T3" fmla="*/ 230 h 8"/>
                <a:gd name="T4" fmla="*/ 0 w 9"/>
                <a:gd name="T5" fmla="*/ 120 h 8"/>
                <a:gd name="T6" fmla="*/ 0 w 9"/>
                <a:gd name="T7" fmla="*/ 120 h 8"/>
                <a:gd name="T8" fmla="*/ 182 w 9"/>
                <a:gd name="T9" fmla="*/ 0 h 8"/>
                <a:gd name="T10" fmla="*/ 327 w 9"/>
                <a:gd name="T11" fmla="*/ 120 h 8"/>
                <a:gd name="T12" fmla="*/ 182 w 9"/>
                <a:gd name="T13" fmla="*/ 230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8">
                  <a:moveTo>
                    <a:pt x="5" y="8"/>
                  </a:moveTo>
                  <a:cubicBezTo>
                    <a:pt x="5" y="8"/>
                    <a:pt x="5" y="8"/>
                    <a:pt x="5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"/>
                    <a:pt x="2" y="0"/>
                    <a:pt x="5" y="0"/>
                  </a:cubicBezTo>
                  <a:cubicBezTo>
                    <a:pt x="7" y="0"/>
                    <a:pt x="9" y="1"/>
                    <a:pt x="9" y="4"/>
                  </a:cubicBezTo>
                  <a:cubicBezTo>
                    <a:pt x="9" y="6"/>
                    <a:pt x="7" y="8"/>
                    <a:pt x="5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577" name="Freeform 560"/>
            <p:cNvSpPr>
              <a:spLocks noChangeArrowheads="1"/>
            </p:cNvSpPr>
            <p:nvPr/>
          </p:nvSpPr>
          <p:spPr bwMode="auto">
            <a:xfrm>
              <a:off x="5476" y="470"/>
              <a:ext cx="12" cy="12"/>
            </a:xfrm>
            <a:custGeom>
              <a:avLst/>
              <a:gdLst>
                <a:gd name="T0" fmla="*/ 49 w 9"/>
                <a:gd name="T1" fmla="*/ 113 h 9"/>
                <a:gd name="T2" fmla="*/ 0 w 9"/>
                <a:gd name="T3" fmla="*/ 64 h 9"/>
                <a:gd name="T4" fmla="*/ 0 w 9"/>
                <a:gd name="T5" fmla="*/ 64 h 9"/>
                <a:gd name="T6" fmla="*/ 49 w 9"/>
                <a:gd name="T7" fmla="*/ 0 h 9"/>
                <a:gd name="T8" fmla="*/ 65 w 9"/>
                <a:gd name="T9" fmla="*/ 0 h 9"/>
                <a:gd name="T10" fmla="*/ 116 w 9"/>
                <a:gd name="T11" fmla="*/ 64 h 9"/>
                <a:gd name="T12" fmla="*/ 49 w 9"/>
                <a:gd name="T13" fmla="*/ 113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578" name="Freeform 561"/>
            <p:cNvSpPr>
              <a:spLocks noChangeArrowheads="1"/>
            </p:cNvSpPr>
            <p:nvPr/>
          </p:nvSpPr>
          <p:spPr bwMode="auto">
            <a:xfrm>
              <a:off x="5436" y="470"/>
              <a:ext cx="12" cy="12"/>
            </a:xfrm>
            <a:custGeom>
              <a:avLst/>
              <a:gdLst>
                <a:gd name="T0" fmla="*/ 120 w 8"/>
                <a:gd name="T1" fmla="*/ 113 h 9"/>
                <a:gd name="T2" fmla="*/ 0 w 8"/>
                <a:gd name="T3" fmla="*/ 64 h 9"/>
                <a:gd name="T4" fmla="*/ 0 w 8"/>
                <a:gd name="T5" fmla="*/ 64 h 9"/>
                <a:gd name="T6" fmla="*/ 120 w 8"/>
                <a:gd name="T7" fmla="*/ 0 h 9"/>
                <a:gd name="T8" fmla="*/ 120 w 8"/>
                <a:gd name="T9" fmla="*/ 0 h 9"/>
                <a:gd name="T10" fmla="*/ 230 w 8"/>
                <a:gd name="T11" fmla="*/ 64 h 9"/>
                <a:gd name="T12" fmla="*/ 120 w 8"/>
                <a:gd name="T13" fmla="*/ 113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7" y="0"/>
                    <a:pt x="8" y="2"/>
                    <a:pt x="8" y="5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579" name="Freeform 562"/>
            <p:cNvSpPr>
              <a:spLocks noChangeArrowheads="1"/>
            </p:cNvSpPr>
            <p:nvPr/>
          </p:nvSpPr>
          <p:spPr bwMode="auto">
            <a:xfrm>
              <a:off x="5415" y="456"/>
              <a:ext cx="12" cy="12"/>
            </a:xfrm>
            <a:custGeom>
              <a:avLst/>
              <a:gdLst>
                <a:gd name="T0" fmla="*/ 49 w 9"/>
                <a:gd name="T1" fmla="*/ 113 h 9"/>
                <a:gd name="T2" fmla="*/ 0 w 9"/>
                <a:gd name="T3" fmla="*/ 64 h 9"/>
                <a:gd name="T4" fmla="*/ 0 w 9"/>
                <a:gd name="T5" fmla="*/ 64 h 9"/>
                <a:gd name="T6" fmla="*/ 49 w 9"/>
                <a:gd name="T7" fmla="*/ 0 h 9"/>
                <a:gd name="T8" fmla="*/ 113 w 9"/>
                <a:gd name="T9" fmla="*/ 64 h 9"/>
                <a:gd name="T10" fmla="*/ 49 w 9"/>
                <a:gd name="T11" fmla="*/ 113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580" name="Freeform 563"/>
            <p:cNvSpPr>
              <a:spLocks noChangeArrowheads="1"/>
            </p:cNvSpPr>
            <p:nvPr/>
          </p:nvSpPr>
          <p:spPr bwMode="auto">
            <a:xfrm>
              <a:off x="5331" y="456"/>
              <a:ext cx="14" cy="12"/>
            </a:xfrm>
            <a:custGeom>
              <a:avLst/>
              <a:gdLst>
                <a:gd name="T0" fmla="*/ 182 w 9"/>
                <a:gd name="T1" fmla="*/ 113 h 9"/>
                <a:gd name="T2" fmla="*/ 0 w 9"/>
                <a:gd name="T3" fmla="*/ 64 h 9"/>
                <a:gd name="T4" fmla="*/ 0 w 9"/>
                <a:gd name="T5" fmla="*/ 64 h 9"/>
                <a:gd name="T6" fmla="*/ 182 w 9"/>
                <a:gd name="T7" fmla="*/ 0 h 9"/>
                <a:gd name="T8" fmla="*/ 327 w 9"/>
                <a:gd name="T9" fmla="*/ 64 h 9"/>
                <a:gd name="T10" fmla="*/ 182 w 9"/>
                <a:gd name="T11" fmla="*/ 113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581" name="Freeform 564"/>
            <p:cNvSpPr>
              <a:spLocks noChangeArrowheads="1"/>
            </p:cNvSpPr>
            <p:nvPr/>
          </p:nvSpPr>
          <p:spPr bwMode="auto">
            <a:xfrm>
              <a:off x="5189" y="470"/>
              <a:ext cx="11" cy="12"/>
            </a:xfrm>
            <a:custGeom>
              <a:avLst/>
              <a:gdLst>
                <a:gd name="T0" fmla="*/ 69 w 8"/>
                <a:gd name="T1" fmla="*/ 113 h 9"/>
                <a:gd name="T2" fmla="*/ 0 w 8"/>
                <a:gd name="T3" fmla="*/ 64 h 9"/>
                <a:gd name="T4" fmla="*/ 0 w 8"/>
                <a:gd name="T5" fmla="*/ 64 h 9"/>
                <a:gd name="T6" fmla="*/ 69 w 8"/>
                <a:gd name="T7" fmla="*/ 0 h 9"/>
                <a:gd name="T8" fmla="*/ 69 w 8"/>
                <a:gd name="T9" fmla="*/ 0 h 9"/>
                <a:gd name="T10" fmla="*/ 131 w 8"/>
                <a:gd name="T11" fmla="*/ 64 h 9"/>
                <a:gd name="T12" fmla="*/ 69 w 8"/>
                <a:gd name="T13" fmla="*/ 113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1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1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6" y="0"/>
                    <a:pt x="8" y="2"/>
                    <a:pt x="8" y="5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582" name="Freeform 565"/>
            <p:cNvSpPr>
              <a:spLocks noChangeArrowheads="1"/>
            </p:cNvSpPr>
            <p:nvPr/>
          </p:nvSpPr>
          <p:spPr bwMode="auto">
            <a:xfrm>
              <a:off x="5600" y="470"/>
              <a:ext cx="12" cy="12"/>
            </a:xfrm>
            <a:custGeom>
              <a:avLst/>
              <a:gdLst>
                <a:gd name="T0" fmla="*/ 64 w 9"/>
                <a:gd name="T1" fmla="*/ 113 h 9"/>
                <a:gd name="T2" fmla="*/ 0 w 9"/>
                <a:gd name="T3" fmla="*/ 64 h 9"/>
                <a:gd name="T4" fmla="*/ 49 w 9"/>
                <a:gd name="T5" fmla="*/ 0 h 9"/>
                <a:gd name="T6" fmla="*/ 64 w 9"/>
                <a:gd name="T7" fmla="*/ 0 h 9"/>
                <a:gd name="T8" fmla="*/ 113 w 9"/>
                <a:gd name="T9" fmla="*/ 64 h 9"/>
                <a:gd name="T10" fmla="*/ 64 w 9"/>
                <a:gd name="T11" fmla="*/ 113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583" name="Freeform 566"/>
            <p:cNvSpPr>
              <a:spLocks noChangeArrowheads="1"/>
            </p:cNvSpPr>
            <p:nvPr/>
          </p:nvSpPr>
          <p:spPr bwMode="auto">
            <a:xfrm>
              <a:off x="5580" y="456"/>
              <a:ext cx="11" cy="12"/>
            </a:xfrm>
            <a:custGeom>
              <a:avLst/>
              <a:gdLst>
                <a:gd name="T0" fmla="*/ 69 w 8"/>
                <a:gd name="T1" fmla="*/ 113 h 9"/>
                <a:gd name="T2" fmla="*/ 0 w 8"/>
                <a:gd name="T3" fmla="*/ 64 h 9"/>
                <a:gd name="T4" fmla="*/ 0 w 8"/>
                <a:gd name="T5" fmla="*/ 64 h 9"/>
                <a:gd name="T6" fmla="*/ 69 w 8"/>
                <a:gd name="T7" fmla="*/ 0 h 9"/>
                <a:gd name="T8" fmla="*/ 131 w 8"/>
                <a:gd name="T9" fmla="*/ 64 h 9"/>
                <a:gd name="T10" fmla="*/ 69 w 8"/>
                <a:gd name="T11" fmla="*/ 113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5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584" name="Freeform 567"/>
            <p:cNvSpPr>
              <a:spLocks noChangeArrowheads="1"/>
            </p:cNvSpPr>
            <p:nvPr/>
          </p:nvSpPr>
          <p:spPr bwMode="auto">
            <a:xfrm>
              <a:off x="5558" y="470"/>
              <a:ext cx="12" cy="12"/>
            </a:xfrm>
            <a:custGeom>
              <a:avLst/>
              <a:gdLst>
                <a:gd name="T0" fmla="*/ 49 w 9"/>
                <a:gd name="T1" fmla="*/ 113 h 9"/>
                <a:gd name="T2" fmla="*/ 0 w 9"/>
                <a:gd name="T3" fmla="*/ 64 h 9"/>
                <a:gd name="T4" fmla="*/ 0 w 9"/>
                <a:gd name="T5" fmla="*/ 64 h 9"/>
                <a:gd name="T6" fmla="*/ 49 w 9"/>
                <a:gd name="T7" fmla="*/ 0 h 9"/>
                <a:gd name="T8" fmla="*/ 49 w 9"/>
                <a:gd name="T9" fmla="*/ 0 h 9"/>
                <a:gd name="T10" fmla="*/ 113 w 9"/>
                <a:gd name="T11" fmla="*/ 64 h 9"/>
                <a:gd name="T12" fmla="*/ 49 w 9"/>
                <a:gd name="T13" fmla="*/ 113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585" name="Freeform 568"/>
            <p:cNvSpPr>
              <a:spLocks noChangeArrowheads="1"/>
            </p:cNvSpPr>
            <p:nvPr/>
          </p:nvSpPr>
          <p:spPr bwMode="auto">
            <a:xfrm>
              <a:off x="5538" y="456"/>
              <a:ext cx="12" cy="12"/>
            </a:xfrm>
            <a:custGeom>
              <a:avLst/>
              <a:gdLst>
                <a:gd name="T0" fmla="*/ 64 w 9"/>
                <a:gd name="T1" fmla="*/ 113 h 9"/>
                <a:gd name="T2" fmla="*/ 0 w 9"/>
                <a:gd name="T3" fmla="*/ 64 h 9"/>
                <a:gd name="T4" fmla="*/ 0 w 9"/>
                <a:gd name="T5" fmla="*/ 64 h 9"/>
                <a:gd name="T6" fmla="*/ 64 w 9"/>
                <a:gd name="T7" fmla="*/ 0 h 9"/>
                <a:gd name="T8" fmla="*/ 113 w 9"/>
                <a:gd name="T9" fmla="*/ 64 h 9"/>
                <a:gd name="T10" fmla="*/ 64 w 9"/>
                <a:gd name="T11" fmla="*/ 113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586" name="Freeform 569"/>
            <p:cNvSpPr>
              <a:spLocks noChangeArrowheads="1"/>
            </p:cNvSpPr>
            <p:nvPr/>
          </p:nvSpPr>
          <p:spPr bwMode="auto">
            <a:xfrm>
              <a:off x="5518" y="470"/>
              <a:ext cx="12" cy="12"/>
            </a:xfrm>
            <a:custGeom>
              <a:avLst/>
              <a:gdLst>
                <a:gd name="T0" fmla="*/ 120 w 8"/>
                <a:gd name="T1" fmla="*/ 113 h 9"/>
                <a:gd name="T2" fmla="*/ 0 w 8"/>
                <a:gd name="T3" fmla="*/ 64 h 9"/>
                <a:gd name="T4" fmla="*/ 0 w 8"/>
                <a:gd name="T5" fmla="*/ 64 h 9"/>
                <a:gd name="T6" fmla="*/ 120 w 8"/>
                <a:gd name="T7" fmla="*/ 0 h 9"/>
                <a:gd name="T8" fmla="*/ 120 w 8"/>
                <a:gd name="T9" fmla="*/ 0 h 9"/>
                <a:gd name="T10" fmla="*/ 230 w 8"/>
                <a:gd name="T11" fmla="*/ 64 h 9"/>
                <a:gd name="T12" fmla="*/ 120 w 8"/>
                <a:gd name="T13" fmla="*/ 113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1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6" y="0"/>
                    <a:pt x="8" y="2"/>
                    <a:pt x="8" y="5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587" name="Freeform 570"/>
            <p:cNvSpPr>
              <a:spLocks noChangeArrowheads="1"/>
            </p:cNvSpPr>
            <p:nvPr/>
          </p:nvSpPr>
          <p:spPr bwMode="auto">
            <a:xfrm>
              <a:off x="5496" y="456"/>
              <a:ext cx="12" cy="12"/>
            </a:xfrm>
            <a:custGeom>
              <a:avLst/>
              <a:gdLst>
                <a:gd name="T0" fmla="*/ 49 w 9"/>
                <a:gd name="T1" fmla="*/ 113 h 9"/>
                <a:gd name="T2" fmla="*/ 0 w 9"/>
                <a:gd name="T3" fmla="*/ 64 h 9"/>
                <a:gd name="T4" fmla="*/ 0 w 9"/>
                <a:gd name="T5" fmla="*/ 64 h 9"/>
                <a:gd name="T6" fmla="*/ 49 w 9"/>
                <a:gd name="T7" fmla="*/ 0 h 9"/>
                <a:gd name="T8" fmla="*/ 113 w 9"/>
                <a:gd name="T9" fmla="*/ 64 h 9"/>
                <a:gd name="T10" fmla="*/ 49 w 9"/>
                <a:gd name="T11" fmla="*/ 113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588" name="Oval 571"/>
            <p:cNvSpPr>
              <a:spLocks noChangeArrowheads="1"/>
            </p:cNvSpPr>
            <p:nvPr/>
          </p:nvSpPr>
          <p:spPr bwMode="auto">
            <a:xfrm>
              <a:off x="5455" y="456"/>
              <a:ext cx="13" cy="12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US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589" name="Oval 572"/>
            <p:cNvSpPr>
              <a:spLocks noChangeArrowheads="1"/>
            </p:cNvSpPr>
            <p:nvPr/>
          </p:nvSpPr>
          <p:spPr bwMode="auto">
            <a:xfrm>
              <a:off x="5744" y="456"/>
              <a:ext cx="13" cy="12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US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590" name="Freeform 573"/>
            <p:cNvSpPr>
              <a:spLocks noChangeArrowheads="1"/>
            </p:cNvSpPr>
            <p:nvPr/>
          </p:nvSpPr>
          <p:spPr bwMode="auto">
            <a:xfrm>
              <a:off x="5723" y="470"/>
              <a:ext cx="12" cy="12"/>
            </a:xfrm>
            <a:custGeom>
              <a:avLst/>
              <a:gdLst>
                <a:gd name="T0" fmla="*/ 64 w 9"/>
                <a:gd name="T1" fmla="*/ 113 h 9"/>
                <a:gd name="T2" fmla="*/ 0 w 9"/>
                <a:gd name="T3" fmla="*/ 64 h 9"/>
                <a:gd name="T4" fmla="*/ 0 w 9"/>
                <a:gd name="T5" fmla="*/ 64 h 9"/>
                <a:gd name="T6" fmla="*/ 64 w 9"/>
                <a:gd name="T7" fmla="*/ 0 h 9"/>
                <a:gd name="T8" fmla="*/ 64 w 9"/>
                <a:gd name="T9" fmla="*/ 0 h 9"/>
                <a:gd name="T10" fmla="*/ 113 w 9"/>
                <a:gd name="T11" fmla="*/ 64 h 9"/>
                <a:gd name="T12" fmla="*/ 64 w 9"/>
                <a:gd name="T13" fmla="*/ 113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591" name="Freeform 574"/>
            <p:cNvSpPr>
              <a:spLocks noChangeArrowheads="1"/>
            </p:cNvSpPr>
            <p:nvPr/>
          </p:nvSpPr>
          <p:spPr bwMode="auto">
            <a:xfrm>
              <a:off x="5703" y="456"/>
              <a:ext cx="11" cy="12"/>
            </a:xfrm>
            <a:custGeom>
              <a:avLst/>
              <a:gdLst>
                <a:gd name="T0" fmla="*/ 69 w 8"/>
                <a:gd name="T1" fmla="*/ 113 h 9"/>
                <a:gd name="T2" fmla="*/ 0 w 8"/>
                <a:gd name="T3" fmla="*/ 64 h 9"/>
                <a:gd name="T4" fmla="*/ 0 w 8"/>
                <a:gd name="T5" fmla="*/ 64 h 9"/>
                <a:gd name="T6" fmla="*/ 69 w 8"/>
                <a:gd name="T7" fmla="*/ 0 h 9"/>
                <a:gd name="T8" fmla="*/ 131 w 8"/>
                <a:gd name="T9" fmla="*/ 64 h 9"/>
                <a:gd name="T10" fmla="*/ 69 w 8"/>
                <a:gd name="T11" fmla="*/ 113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5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592" name="Freeform 575"/>
            <p:cNvSpPr>
              <a:spLocks noChangeArrowheads="1"/>
            </p:cNvSpPr>
            <p:nvPr/>
          </p:nvSpPr>
          <p:spPr bwMode="auto">
            <a:xfrm>
              <a:off x="5682" y="470"/>
              <a:ext cx="12" cy="12"/>
            </a:xfrm>
            <a:custGeom>
              <a:avLst/>
              <a:gdLst>
                <a:gd name="T0" fmla="*/ 49 w 9"/>
                <a:gd name="T1" fmla="*/ 113 h 9"/>
                <a:gd name="T2" fmla="*/ 0 w 9"/>
                <a:gd name="T3" fmla="*/ 64 h 9"/>
                <a:gd name="T4" fmla="*/ 49 w 9"/>
                <a:gd name="T5" fmla="*/ 0 h 9"/>
                <a:gd name="T6" fmla="*/ 49 w 9"/>
                <a:gd name="T7" fmla="*/ 0 h 9"/>
                <a:gd name="T8" fmla="*/ 113 w 9"/>
                <a:gd name="T9" fmla="*/ 64 h 9"/>
                <a:gd name="T10" fmla="*/ 49 w 9"/>
                <a:gd name="T11" fmla="*/ 113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593" name="Freeform 576"/>
            <p:cNvSpPr>
              <a:spLocks noChangeArrowheads="1"/>
            </p:cNvSpPr>
            <p:nvPr/>
          </p:nvSpPr>
          <p:spPr bwMode="auto">
            <a:xfrm>
              <a:off x="5661" y="456"/>
              <a:ext cx="12" cy="12"/>
            </a:xfrm>
            <a:custGeom>
              <a:avLst/>
              <a:gdLst>
                <a:gd name="T0" fmla="*/ 64 w 9"/>
                <a:gd name="T1" fmla="*/ 113 h 9"/>
                <a:gd name="T2" fmla="*/ 0 w 9"/>
                <a:gd name="T3" fmla="*/ 64 h 9"/>
                <a:gd name="T4" fmla="*/ 0 w 9"/>
                <a:gd name="T5" fmla="*/ 64 h 9"/>
                <a:gd name="T6" fmla="*/ 64 w 9"/>
                <a:gd name="T7" fmla="*/ 0 h 9"/>
                <a:gd name="T8" fmla="*/ 113 w 9"/>
                <a:gd name="T9" fmla="*/ 64 h 9"/>
                <a:gd name="T10" fmla="*/ 64 w 9"/>
                <a:gd name="T11" fmla="*/ 113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594" name="Freeform 577"/>
            <p:cNvSpPr>
              <a:spLocks noChangeArrowheads="1"/>
            </p:cNvSpPr>
            <p:nvPr/>
          </p:nvSpPr>
          <p:spPr bwMode="auto">
            <a:xfrm>
              <a:off x="5640" y="470"/>
              <a:ext cx="12" cy="12"/>
            </a:xfrm>
            <a:custGeom>
              <a:avLst/>
              <a:gdLst>
                <a:gd name="T0" fmla="*/ 120 w 8"/>
                <a:gd name="T1" fmla="*/ 113 h 9"/>
                <a:gd name="T2" fmla="*/ 0 w 8"/>
                <a:gd name="T3" fmla="*/ 64 h 9"/>
                <a:gd name="T4" fmla="*/ 0 w 8"/>
                <a:gd name="T5" fmla="*/ 49 h 9"/>
                <a:gd name="T6" fmla="*/ 120 w 8"/>
                <a:gd name="T7" fmla="*/ 0 h 9"/>
                <a:gd name="T8" fmla="*/ 120 w 8"/>
                <a:gd name="T9" fmla="*/ 0 h 9"/>
                <a:gd name="T10" fmla="*/ 230 w 8"/>
                <a:gd name="T11" fmla="*/ 64 h 9"/>
                <a:gd name="T12" fmla="*/ 230 w 8"/>
                <a:gd name="T13" fmla="*/ 64 h 9"/>
                <a:gd name="T14" fmla="*/ 120 w 8"/>
                <a:gd name="T15" fmla="*/ 113 h 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6" y="0"/>
                    <a:pt x="8" y="2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595" name="Oval 578"/>
            <p:cNvSpPr>
              <a:spLocks noChangeArrowheads="1"/>
            </p:cNvSpPr>
            <p:nvPr/>
          </p:nvSpPr>
          <p:spPr bwMode="auto">
            <a:xfrm>
              <a:off x="5621" y="456"/>
              <a:ext cx="12" cy="12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US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596" name="Freeform 579"/>
            <p:cNvSpPr>
              <a:spLocks noChangeArrowheads="1"/>
            </p:cNvSpPr>
            <p:nvPr/>
          </p:nvSpPr>
          <p:spPr bwMode="auto">
            <a:xfrm>
              <a:off x="5393" y="470"/>
              <a:ext cx="13" cy="12"/>
            </a:xfrm>
            <a:custGeom>
              <a:avLst/>
              <a:gdLst>
                <a:gd name="T0" fmla="*/ 108 w 9"/>
                <a:gd name="T1" fmla="*/ 113 h 9"/>
                <a:gd name="T2" fmla="*/ 0 w 9"/>
                <a:gd name="T3" fmla="*/ 64 h 9"/>
                <a:gd name="T4" fmla="*/ 0 w 9"/>
                <a:gd name="T5" fmla="*/ 64 h 9"/>
                <a:gd name="T6" fmla="*/ 108 w 9"/>
                <a:gd name="T7" fmla="*/ 0 h 9"/>
                <a:gd name="T8" fmla="*/ 108 w 9"/>
                <a:gd name="T9" fmla="*/ 0 h 9"/>
                <a:gd name="T10" fmla="*/ 188 w 9"/>
                <a:gd name="T11" fmla="*/ 64 h 9"/>
                <a:gd name="T12" fmla="*/ 108 w 9"/>
                <a:gd name="T13" fmla="*/ 113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597" name="Freeform 580"/>
            <p:cNvSpPr>
              <a:spLocks noChangeArrowheads="1"/>
            </p:cNvSpPr>
            <p:nvPr/>
          </p:nvSpPr>
          <p:spPr bwMode="auto">
            <a:xfrm>
              <a:off x="5312" y="470"/>
              <a:ext cx="11" cy="12"/>
            </a:xfrm>
            <a:custGeom>
              <a:avLst/>
              <a:gdLst>
                <a:gd name="T0" fmla="*/ 69 w 8"/>
                <a:gd name="T1" fmla="*/ 113 h 9"/>
                <a:gd name="T2" fmla="*/ 0 w 8"/>
                <a:gd name="T3" fmla="*/ 64 h 9"/>
                <a:gd name="T4" fmla="*/ 0 w 8"/>
                <a:gd name="T5" fmla="*/ 64 h 9"/>
                <a:gd name="T6" fmla="*/ 69 w 8"/>
                <a:gd name="T7" fmla="*/ 0 h 9"/>
                <a:gd name="T8" fmla="*/ 69 w 8"/>
                <a:gd name="T9" fmla="*/ 0 h 9"/>
                <a:gd name="T10" fmla="*/ 131 w 8"/>
                <a:gd name="T11" fmla="*/ 64 h 9"/>
                <a:gd name="T12" fmla="*/ 69 w 8"/>
                <a:gd name="T13" fmla="*/ 113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6" y="0"/>
                    <a:pt x="8" y="2"/>
                    <a:pt x="8" y="5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598" name="Freeform 581"/>
            <p:cNvSpPr>
              <a:spLocks noChangeArrowheads="1"/>
            </p:cNvSpPr>
            <p:nvPr/>
          </p:nvSpPr>
          <p:spPr bwMode="auto">
            <a:xfrm>
              <a:off x="5250" y="456"/>
              <a:ext cx="11" cy="12"/>
            </a:xfrm>
            <a:custGeom>
              <a:avLst/>
              <a:gdLst>
                <a:gd name="T0" fmla="*/ 69 w 8"/>
                <a:gd name="T1" fmla="*/ 113 h 9"/>
                <a:gd name="T2" fmla="*/ 0 w 8"/>
                <a:gd name="T3" fmla="*/ 64 h 9"/>
                <a:gd name="T4" fmla="*/ 0 w 8"/>
                <a:gd name="T5" fmla="*/ 64 h 9"/>
                <a:gd name="T6" fmla="*/ 69 w 8"/>
                <a:gd name="T7" fmla="*/ 0 h 9"/>
                <a:gd name="T8" fmla="*/ 131 w 8"/>
                <a:gd name="T9" fmla="*/ 64 h 9"/>
                <a:gd name="T10" fmla="*/ 69 w 8"/>
                <a:gd name="T11" fmla="*/ 113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5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599" name="Freeform 582"/>
            <p:cNvSpPr>
              <a:spLocks noChangeArrowheads="1"/>
            </p:cNvSpPr>
            <p:nvPr/>
          </p:nvSpPr>
          <p:spPr bwMode="auto">
            <a:xfrm>
              <a:off x="5168" y="456"/>
              <a:ext cx="11" cy="12"/>
            </a:xfrm>
            <a:custGeom>
              <a:avLst/>
              <a:gdLst>
                <a:gd name="T0" fmla="*/ 69 w 8"/>
                <a:gd name="T1" fmla="*/ 113 h 9"/>
                <a:gd name="T2" fmla="*/ 0 w 8"/>
                <a:gd name="T3" fmla="*/ 64 h 9"/>
                <a:gd name="T4" fmla="*/ 0 w 8"/>
                <a:gd name="T5" fmla="*/ 64 h 9"/>
                <a:gd name="T6" fmla="*/ 69 w 8"/>
                <a:gd name="T7" fmla="*/ 0 h 9"/>
                <a:gd name="T8" fmla="*/ 131 w 8"/>
                <a:gd name="T9" fmla="*/ 64 h 9"/>
                <a:gd name="T10" fmla="*/ 69 w 8"/>
                <a:gd name="T11" fmla="*/ 113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8" y="2"/>
                    <a:pt x="8" y="5"/>
                  </a:cubicBezTo>
                  <a:cubicBezTo>
                    <a:pt x="8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600" name="Freeform 583"/>
            <p:cNvSpPr>
              <a:spLocks noChangeArrowheads="1"/>
            </p:cNvSpPr>
            <p:nvPr/>
          </p:nvSpPr>
          <p:spPr bwMode="auto">
            <a:xfrm>
              <a:off x="5106" y="470"/>
              <a:ext cx="11" cy="12"/>
            </a:xfrm>
            <a:custGeom>
              <a:avLst/>
              <a:gdLst>
                <a:gd name="T0" fmla="*/ 69 w 8"/>
                <a:gd name="T1" fmla="*/ 113 h 9"/>
                <a:gd name="T2" fmla="*/ 0 w 8"/>
                <a:gd name="T3" fmla="*/ 64 h 9"/>
                <a:gd name="T4" fmla="*/ 0 w 8"/>
                <a:gd name="T5" fmla="*/ 64 h 9"/>
                <a:gd name="T6" fmla="*/ 69 w 8"/>
                <a:gd name="T7" fmla="*/ 0 h 9"/>
                <a:gd name="T8" fmla="*/ 69 w 8"/>
                <a:gd name="T9" fmla="*/ 0 h 9"/>
                <a:gd name="T10" fmla="*/ 131 w 8"/>
                <a:gd name="T11" fmla="*/ 64 h 9"/>
                <a:gd name="T12" fmla="*/ 69 w 8"/>
                <a:gd name="T13" fmla="*/ 113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7" y="0"/>
                    <a:pt x="8" y="2"/>
                    <a:pt x="8" y="5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601" name="Freeform 584"/>
            <p:cNvSpPr>
              <a:spLocks noChangeArrowheads="1"/>
            </p:cNvSpPr>
            <p:nvPr/>
          </p:nvSpPr>
          <p:spPr bwMode="auto">
            <a:xfrm>
              <a:off x="5374" y="456"/>
              <a:ext cx="11" cy="12"/>
            </a:xfrm>
            <a:custGeom>
              <a:avLst/>
              <a:gdLst>
                <a:gd name="T0" fmla="*/ 69 w 8"/>
                <a:gd name="T1" fmla="*/ 113 h 9"/>
                <a:gd name="T2" fmla="*/ 0 w 8"/>
                <a:gd name="T3" fmla="*/ 64 h 9"/>
                <a:gd name="T4" fmla="*/ 0 w 8"/>
                <a:gd name="T5" fmla="*/ 64 h 9"/>
                <a:gd name="T6" fmla="*/ 69 w 8"/>
                <a:gd name="T7" fmla="*/ 0 h 9"/>
                <a:gd name="T8" fmla="*/ 131 w 8"/>
                <a:gd name="T9" fmla="*/ 64 h 9"/>
                <a:gd name="T10" fmla="*/ 69 w 8"/>
                <a:gd name="T11" fmla="*/ 113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5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602" name="Freeform 585"/>
            <p:cNvSpPr>
              <a:spLocks noChangeArrowheads="1"/>
            </p:cNvSpPr>
            <p:nvPr/>
          </p:nvSpPr>
          <p:spPr bwMode="auto">
            <a:xfrm>
              <a:off x="5291" y="456"/>
              <a:ext cx="13" cy="12"/>
            </a:xfrm>
            <a:custGeom>
              <a:avLst/>
              <a:gdLst>
                <a:gd name="T0" fmla="*/ 81 w 9"/>
                <a:gd name="T1" fmla="*/ 113 h 9"/>
                <a:gd name="T2" fmla="*/ 0 w 9"/>
                <a:gd name="T3" fmla="*/ 64 h 9"/>
                <a:gd name="T4" fmla="*/ 0 w 9"/>
                <a:gd name="T5" fmla="*/ 64 h 9"/>
                <a:gd name="T6" fmla="*/ 81 w 9"/>
                <a:gd name="T7" fmla="*/ 0 h 9"/>
                <a:gd name="T8" fmla="*/ 188 w 9"/>
                <a:gd name="T9" fmla="*/ 64 h 9"/>
                <a:gd name="T10" fmla="*/ 81 w 9"/>
                <a:gd name="T11" fmla="*/ 113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603" name="Freeform 586"/>
            <p:cNvSpPr>
              <a:spLocks noChangeArrowheads="1"/>
            </p:cNvSpPr>
            <p:nvPr/>
          </p:nvSpPr>
          <p:spPr bwMode="auto">
            <a:xfrm>
              <a:off x="5229" y="470"/>
              <a:ext cx="13" cy="12"/>
            </a:xfrm>
            <a:custGeom>
              <a:avLst/>
              <a:gdLst>
                <a:gd name="T0" fmla="*/ 81 w 9"/>
                <a:gd name="T1" fmla="*/ 113 h 9"/>
                <a:gd name="T2" fmla="*/ 0 w 9"/>
                <a:gd name="T3" fmla="*/ 64 h 9"/>
                <a:gd name="T4" fmla="*/ 81 w 9"/>
                <a:gd name="T5" fmla="*/ 0 h 9"/>
                <a:gd name="T6" fmla="*/ 81 w 9"/>
                <a:gd name="T7" fmla="*/ 0 h 9"/>
                <a:gd name="T8" fmla="*/ 188 w 9"/>
                <a:gd name="T9" fmla="*/ 64 h 9"/>
                <a:gd name="T10" fmla="*/ 81 w 9"/>
                <a:gd name="T11" fmla="*/ 113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604" name="Freeform 587"/>
            <p:cNvSpPr>
              <a:spLocks noChangeArrowheads="1"/>
            </p:cNvSpPr>
            <p:nvPr/>
          </p:nvSpPr>
          <p:spPr bwMode="auto">
            <a:xfrm>
              <a:off x="5146" y="470"/>
              <a:ext cx="14" cy="12"/>
            </a:xfrm>
            <a:custGeom>
              <a:avLst/>
              <a:gdLst>
                <a:gd name="T0" fmla="*/ 148 w 9"/>
                <a:gd name="T1" fmla="*/ 113 h 9"/>
                <a:gd name="T2" fmla="*/ 0 w 9"/>
                <a:gd name="T3" fmla="*/ 64 h 9"/>
                <a:gd name="T4" fmla="*/ 0 w 9"/>
                <a:gd name="T5" fmla="*/ 64 h 9"/>
                <a:gd name="T6" fmla="*/ 148 w 9"/>
                <a:gd name="T7" fmla="*/ 0 h 9"/>
                <a:gd name="T8" fmla="*/ 182 w 9"/>
                <a:gd name="T9" fmla="*/ 0 h 9"/>
                <a:gd name="T10" fmla="*/ 327 w 9"/>
                <a:gd name="T11" fmla="*/ 64 h 9"/>
                <a:gd name="T12" fmla="*/ 148 w 9"/>
                <a:gd name="T13" fmla="*/ 113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605" name="Freeform 588"/>
            <p:cNvSpPr>
              <a:spLocks noChangeArrowheads="1"/>
            </p:cNvSpPr>
            <p:nvPr/>
          </p:nvSpPr>
          <p:spPr bwMode="auto">
            <a:xfrm>
              <a:off x="5085" y="456"/>
              <a:ext cx="13" cy="12"/>
            </a:xfrm>
            <a:custGeom>
              <a:avLst/>
              <a:gdLst>
                <a:gd name="T0" fmla="*/ 81 w 9"/>
                <a:gd name="T1" fmla="*/ 113 h 9"/>
                <a:gd name="T2" fmla="*/ 0 w 9"/>
                <a:gd name="T3" fmla="*/ 64 h 9"/>
                <a:gd name="T4" fmla="*/ 0 w 9"/>
                <a:gd name="T5" fmla="*/ 64 h 9"/>
                <a:gd name="T6" fmla="*/ 81 w 9"/>
                <a:gd name="T7" fmla="*/ 0 h 9"/>
                <a:gd name="T8" fmla="*/ 188 w 9"/>
                <a:gd name="T9" fmla="*/ 64 h 9"/>
                <a:gd name="T10" fmla="*/ 81 w 9"/>
                <a:gd name="T11" fmla="*/ 113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606" name="Freeform 589"/>
            <p:cNvSpPr>
              <a:spLocks noChangeArrowheads="1"/>
            </p:cNvSpPr>
            <p:nvPr/>
          </p:nvSpPr>
          <p:spPr bwMode="auto">
            <a:xfrm>
              <a:off x="5044" y="456"/>
              <a:ext cx="11" cy="12"/>
            </a:xfrm>
            <a:custGeom>
              <a:avLst/>
              <a:gdLst>
                <a:gd name="T0" fmla="*/ 69 w 8"/>
                <a:gd name="T1" fmla="*/ 113 h 9"/>
                <a:gd name="T2" fmla="*/ 0 w 8"/>
                <a:gd name="T3" fmla="*/ 64 h 9"/>
                <a:gd name="T4" fmla="*/ 0 w 8"/>
                <a:gd name="T5" fmla="*/ 64 h 9"/>
                <a:gd name="T6" fmla="*/ 69 w 8"/>
                <a:gd name="T7" fmla="*/ 0 h 9"/>
                <a:gd name="T8" fmla="*/ 131 w 8"/>
                <a:gd name="T9" fmla="*/ 64 h 9"/>
                <a:gd name="T10" fmla="*/ 69 w 8"/>
                <a:gd name="T11" fmla="*/ 113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5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607" name="Freeform 590"/>
            <p:cNvSpPr>
              <a:spLocks noChangeArrowheads="1"/>
            </p:cNvSpPr>
            <p:nvPr/>
          </p:nvSpPr>
          <p:spPr bwMode="auto">
            <a:xfrm>
              <a:off x="5353" y="470"/>
              <a:ext cx="12" cy="12"/>
            </a:xfrm>
            <a:custGeom>
              <a:avLst/>
              <a:gdLst>
                <a:gd name="T0" fmla="*/ 49 w 9"/>
                <a:gd name="T1" fmla="*/ 113 h 9"/>
                <a:gd name="T2" fmla="*/ 0 w 9"/>
                <a:gd name="T3" fmla="*/ 64 h 9"/>
                <a:gd name="T4" fmla="*/ 0 w 9"/>
                <a:gd name="T5" fmla="*/ 64 h 9"/>
                <a:gd name="T6" fmla="*/ 49 w 9"/>
                <a:gd name="T7" fmla="*/ 0 h 9"/>
                <a:gd name="T8" fmla="*/ 49 w 9"/>
                <a:gd name="T9" fmla="*/ 0 h 9"/>
                <a:gd name="T10" fmla="*/ 113 w 9"/>
                <a:gd name="T11" fmla="*/ 64 h 9"/>
                <a:gd name="T12" fmla="*/ 49 w 9"/>
                <a:gd name="T13" fmla="*/ 113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608" name="Freeform 591"/>
            <p:cNvSpPr>
              <a:spLocks noChangeArrowheads="1"/>
            </p:cNvSpPr>
            <p:nvPr/>
          </p:nvSpPr>
          <p:spPr bwMode="auto">
            <a:xfrm>
              <a:off x="5270" y="470"/>
              <a:ext cx="12" cy="12"/>
            </a:xfrm>
            <a:custGeom>
              <a:avLst/>
              <a:gdLst>
                <a:gd name="T0" fmla="*/ 65 w 9"/>
                <a:gd name="T1" fmla="*/ 113 h 9"/>
                <a:gd name="T2" fmla="*/ 0 w 9"/>
                <a:gd name="T3" fmla="*/ 64 h 9"/>
                <a:gd name="T4" fmla="*/ 0 w 9"/>
                <a:gd name="T5" fmla="*/ 64 h 9"/>
                <a:gd name="T6" fmla="*/ 49 w 9"/>
                <a:gd name="T7" fmla="*/ 0 h 9"/>
                <a:gd name="T8" fmla="*/ 65 w 9"/>
                <a:gd name="T9" fmla="*/ 0 h 9"/>
                <a:gd name="T10" fmla="*/ 116 w 9"/>
                <a:gd name="T11" fmla="*/ 64 h 9"/>
                <a:gd name="T12" fmla="*/ 65 w 9"/>
                <a:gd name="T13" fmla="*/ 113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609" name="Freeform 592"/>
            <p:cNvSpPr>
              <a:spLocks noChangeArrowheads="1"/>
            </p:cNvSpPr>
            <p:nvPr/>
          </p:nvSpPr>
          <p:spPr bwMode="auto">
            <a:xfrm>
              <a:off x="5208" y="456"/>
              <a:ext cx="12" cy="12"/>
            </a:xfrm>
            <a:custGeom>
              <a:avLst/>
              <a:gdLst>
                <a:gd name="T0" fmla="*/ 65 w 9"/>
                <a:gd name="T1" fmla="*/ 113 h 9"/>
                <a:gd name="T2" fmla="*/ 0 w 9"/>
                <a:gd name="T3" fmla="*/ 64 h 9"/>
                <a:gd name="T4" fmla="*/ 0 w 9"/>
                <a:gd name="T5" fmla="*/ 64 h 9"/>
                <a:gd name="T6" fmla="*/ 65 w 9"/>
                <a:gd name="T7" fmla="*/ 0 h 9"/>
                <a:gd name="T8" fmla="*/ 116 w 9"/>
                <a:gd name="T9" fmla="*/ 64 h 9"/>
                <a:gd name="T10" fmla="*/ 65 w 9"/>
                <a:gd name="T11" fmla="*/ 113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610" name="Oval 593"/>
            <p:cNvSpPr>
              <a:spLocks noChangeArrowheads="1"/>
            </p:cNvSpPr>
            <p:nvPr/>
          </p:nvSpPr>
          <p:spPr bwMode="auto">
            <a:xfrm>
              <a:off x="5125" y="456"/>
              <a:ext cx="13" cy="12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US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611" name="Freeform 594"/>
            <p:cNvSpPr>
              <a:spLocks noChangeArrowheads="1"/>
            </p:cNvSpPr>
            <p:nvPr/>
          </p:nvSpPr>
          <p:spPr bwMode="auto">
            <a:xfrm>
              <a:off x="5063" y="470"/>
              <a:ext cx="14" cy="12"/>
            </a:xfrm>
            <a:custGeom>
              <a:avLst/>
              <a:gdLst>
                <a:gd name="T0" fmla="*/ 182 w 9"/>
                <a:gd name="T1" fmla="*/ 113 h 9"/>
                <a:gd name="T2" fmla="*/ 0 w 9"/>
                <a:gd name="T3" fmla="*/ 64 h 9"/>
                <a:gd name="T4" fmla="*/ 0 w 9"/>
                <a:gd name="T5" fmla="*/ 64 h 9"/>
                <a:gd name="T6" fmla="*/ 182 w 9"/>
                <a:gd name="T7" fmla="*/ 0 h 9"/>
                <a:gd name="T8" fmla="*/ 182 w 9"/>
                <a:gd name="T9" fmla="*/ 0 h 9"/>
                <a:gd name="T10" fmla="*/ 327 w 9"/>
                <a:gd name="T11" fmla="*/ 64 h 9"/>
                <a:gd name="T12" fmla="*/ 182 w 9"/>
                <a:gd name="T13" fmla="*/ 113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612" name="Freeform 595"/>
            <p:cNvSpPr>
              <a:spLocks noChangeArrowheads="1"/>
            </p:cNvSpPr>
            <p:nvPr/>
          </p:nvSpPr>
          <p:spPr bwMode="auto">
            <a:xfrm>
              <a:off x="5476" y="491"/>
              <a:ext cx="12" cy="13"/>
            </a:xfrm>
            <a:custGeom>
              <a:avLst/>
              <a:gdLst>
                <a:gd name="T0" fmla="*/ 49 w 9"/>
                <a:gd name="T1" fmla="*/ 188 h 9"/>
                <a:gd name="T2" fmla="*/ 0 w 9"/>
                <a:gd name="T3" fmla="*/ 108 h 9"/>
                <a:gd name="T4" fmla="*/ 0 w 9"/>
                <a:gd name="T5" fmla="*/ 81 h 9"/>
                <a:gd name="T6" fmla="*/ 49 w 9"/>
                <a:gd name="T7" fmla="*/ 0 h 9"/>
                <a:gd name="T8" fmla="*/ 116 w 9"/>
                <a:gd name="T9" fmla="*/ 81 h 9"/>
                <a:gd name="T10" fmla="*/ 49 w 9"/>
                <a:gd name="T11" fmla="*/ 188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613" name="Freeform 596"/>
            <p:cNvSpPr>
              <a:spLocks noChangeArrowheads="1"/>
            </p:cNvSpPr>
            <p:nvPr/>
          </p:nvSpPr>
          <p:spPr bwMode="auto">
            <a:xfrm>
              <a:off x="5436" y="491"/>
              <a:ext cx="12" cy="13"/>
            </a:xfrm>
            <a:custGeom>
              <a:avLst/>
              <a:gdLst>
                <a:gd name="T0" fmla="*/ 120 w 8"/>
                <a:gd name="T1" fmla="*/ 188 h 9"/>
                <a:gd name="T2" fmla="*/ 0 w 8"/>
                <a:gd name="T3" fmla="*/ 108 h 9"/>
                <a:gd name="T4" fmla="*/ 0 w 8"/>
                <a:gd name="T5" fmla="*/ 81 h 9"/>
                <a:gd name="T6" fmla="*/ 120 w 8"/>
                <a:gd name="T7" fmla="*/ 0 h 9"/>
                <a:gd name="T8" fmla="*/ 230 w 8"/>
                <a:gd name="T9" fmla="*/ 81 h 9"/>
                <a:gd name="T10" fmla="*/ 120 w 8"/>
                <a:gd name="T11" fmla="*/ 188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614" name="Freeform 597"/>
            <p:cNvSpPr>
              <a:spLocks noChangeArrowheads="1"/>
            </p:cNvSpPr>
            <p:nvPr/>
          </p:nvSpPr>
          <p:spPr bwMode="auto">
            <a:xfrm>
              <a:off x="5415" y="476"/>
              <a:ext cx="12" cy="14"/>
            </a:xfrm>
            <a:custGeom>
              <a:avLst/>
              <a:gdLst>
                <a:gd name="T0" fmla="*/ 49 w 9"/>
                <a:gd name="T1" fmla="*/ 327 h 9"/>
                <a:gd name="T2" fmla="*/ 0 w 9"/>
                <a:gd name="T3" fmla="*/ 182 h 9"/>
                <a:gd name="T4" fmla="*/ 0 w 9"/>
                <a:gd name="T5" fmla="*/ 148 h 9"/>
                <a:gd name="T6" fmla="*/ 49 w 9"/>
                <a:gd name="T7" fmla="*/ 0 h 9"/>
                <a:gd name="T8" fmla="*/ 113 w 9"/>
                <a:gd name="T9" fmla="*/ 182 h 9"/>
                <a:gd name="T10" fmla="*/ 49 w 9"/>
                <a:gd name="T11" fmla="*/ 327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615" name="Freeform 598"/>
            <p:cNvSpPr>
              <a:spLocks noChangeArrowheads="1"/>
            </p:cNvSpPr>
            <p:nvPr/>
          </p:nvSpPr>
          <p:spPr bwMode="auto">
            <a:xfrm>
              <a:off x="5331" y="476"/>
              <a:ext cx="14" cy="14"/>
            </a:xfrm>
            <a:custGeom>
              <a:avLst/>
              <a:gdLst>
                <a:gd name="T0" fmla="*/ 182 w 9"/>
                <a:gd name="T1" fmla="*/ 327 h 9"/>
                <a:gd name="T2" fmla="*/ 0 w 9"/>
                <a:gd name="T3" fmla="*/ 182 h 9"/>
                <a:gd name="T4" fmla="*/ 0 w 9"/>
                <a:gd name="T5" fmla="*/ 148 h 9"/>
                <a:gd name="T6" fmla="*/ 182 w 9"/>
                <a:gd name="T7" fmla="*/ 0 h 9"/>
                <a:gd name="T8" fmla="*/ 327 w 9"/>
                <a:gd name="T9" fmla="*/ 182 h 9"/>
                <a:gd name="T10" fmla="*/ 182 w 9"/>
                <a:gd name="T11" fmla="*/ 327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616" name="Freeform 599"/>
            <p:cNvSpPr>
              <a:spLocks noChangeArrowheads="1"/>
            </p:cNvSpPr>
            <p:nvPr/>
          </p:nvSpPr>
          <p:spPr bwMode="auto">
            <a:xfrm>
              <a:off x="5189" y="491"/>
              <a:ext cx="11" cy="13"/>
            </a:xfrm>
            <a:custGeom>
              <a:avLst/>
              <a:gdLst>
                <a:gd name="T0" fmla="*/ 69 w 8"/>
                <a:gd name="T1" fmla="*/ 188 h 9"/>
                <a:gd name="T2" fmla="*/ 0 w 8"/>
                <a:gd name="T3" fmla="*/ 108 h 9"/>
                <a:gd name="T4" fmla="*/ 0 w 8"/>
                <a:gd name="T5" fmla="*/ 81 h 9"/>
                <a:gd name="T6" fmla="*/ 69 w 8"/>
                <a:gd name="T7" fmla="*/ 0 h 9"/>
                <a:gd name="T8" fmla="*/ 131 w 8"/>
                <a:gd name="T9" fmla="*/ 81 h 9"/>
                <a:gd name="T10" fmla="*/ 69 w 8"/>
                <a:gd name="T11" fmla="*/ 188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1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617" name="Freeform 600"/>
            <p:cNvSpPr>
              <a:spLocks noChangeArrowheads="1"/>
            </p:cNvSpPr>
            <p:nvPr/>
          </p:nvSpPr>
          <p:spPr bwMode="auto">
            <a:xfrm>
              <a:off x="5558" y="491"/>
              <a:ext cx="12" cy="13"/>
            </a:xfrm>
            <a:custGeom>
              <a:avLst/>
              <a:gdLst>
                <a:gd name="T0" fmla="*/ 49 w 9"/>
                <a:gd name="T1" fmla="*/ 188 h 9"/>
                <a:gd name="T2" fmla="*/ 0 w 9"/>
                <a:gd name="T3" fmla="*/ 108 h 9"/>
                <a:gd name="T4" fmla="*/ 0 w 9"/>
                <a:gd name="T5" fmla="*/ 81 h 9"/>
                <a:gd name="T6" fmla="*/ 49 w 9"/>
                <a:gd name="T7" fmla="*/ 0 h 9"/>
                <a:gd name="T8" fmla="*/ 113 w 9"/>
                <a:gd name="T9" fmla="*/ 81 h 9"/>
                <a:gd name="T10" fmla="*/ 49 w 9"/>
                <a:gd name="T11" fmla="*/ 188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618" name="Freeform 601"/>
            <p:cNvSpPr>
              <a:spLocks noChangeArrowheads="1"/>
            </p:cNvSpPr>
            <p:nvPr/>
          </p:nvSpPr>
          <p:spPr bwMode="auto">
            <a:xfrm>
              <a:off x="5538" y="476"/>
              <a:ext cx="12" cy="14"/>
            </a:xfrm>
            <a:custGeom>
              <a:avLst/>
              <a:gdLst>
                <a:gd name="T0" fmla="*/ 64 w 9"/>
                <a:gd name="T1" fmla="*/ 327 h 9"/>
                <a:gd name="T2" fmla="*/ 0 w 9"/>
                <a:gd name="T3" fmla="*/ 182 h 9"/>
                <a:gd name="T4" fmla="*/ 0 w 9"/>
                <a:gd name="T5" fmla="*/ 148 h 9"/>
                <a:gd name="T6" fmla="*/ 64 w 9"/>
                <a:gd name="T7" fmla="*/ 0 h 9"/>
                <a:gd name="T8" fmla="*/ 113 w 9"/>
                <a:gd name="T9" fmla="*/ 182 h 9"/>
                <a:gd name="T10" fmla="*/ 64 w 9"/>
                <a:gd name="T11" fmla="*/ 327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619" name="Freeform 602"/>
            <p:cNvSpPr>
              <a:spLocks noChangeArrowheads="1"/>
            </p:cNvSpPr>
            <p:nvPr/>
          </p:nvSpPr>
          <p:spPr bwMode="auto">
            <a:xfrm>
              <a:off x="5496" y="476"/>
              <a:ext cx="12" cy="14"/>
            </a:xfrm>
            <a:custGeom>
              <a:avLst/>
              <a:gdLst>
                <a:gd name="T0" fmla="*/ 49 w 9"/>
                <a:gd name="T1" fmla="*/ 327 h 9"/>
                <a:gd name="T2" fmla="*/ 0 w 9"/>
                <a:gd name="T3" fmla="*/ 182 h 9"/>
                <a:gd name="T4" fmla="*/ 0 w 9"/>
                <a:gd name="T5" fmla="*/ 148 h 9"/>
                <a:gd name="T6" fmla="*/ 49 w 9"/>
                <a:gd name="T7" fmla="*/ 0 h 9"/>
                <a:gd name="T8" fmla="*/ 113 w 9"/>
                <a:gd name="T9" fmla="*/ 182 h 9"/>
                <a:gd name="T10" fmla="*/ 49 w 9"/>
                <a:gd name="T11" fmla="*/ 327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620" name="Oval 603"/>
            <p:cNvSpPr>
              <a:spLocks noChangeArrowheads="1"/>
            </p:cNvSpPr>
            <p:nvPr/>
          </p:nvSpPr>
          <p:spPr bwMode="auto">
            <a:xfrm>
              <a:off x="5455" y="476"/>
              <a:ext cx="13" cy="14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US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621" name="Oval 604"/>
            <p:cNvSpPr>
              <a:spLocks noChangeArrowheads="1"/>
            </p:cNvSpPr>
            <p:nvPr/>
          </p:nvSpPr>
          <p:spPr bwMode="auto">
            <a:xfrm>
              <a:off x="5744" y="476"/>
              <a:ext cx="13" cy="14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US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622" name="Freeform 605"/>
            <p:cNvSpPr>
              <a:spLocks noChangeArrowheads="1"/>
            </p:cNvSpPr>
            <p:nvPr/>
          </p:nvSpPr>
          <p:spPr bwMode="auto">
            <a:xfrm>
              <a:off x="5723" y="491"/>
              <a:ext cx="12" cy="13"/>
            </a:xfrm>
            <a:custGeom>
              <a:avLst/>
              <a:gdLst>
                <a:gd name="T0" fmla="*/ 64 w 9"/>
                <a:gd name="T1" fmla="*/ 188 h 9"/>
                <a:gd name="T2" fmla="*/ 0 w 9"/>
                <a:gd name="T3" fmla="*/ 108 h 9"/>
                <a:gd name="T4" fmla="*/ 0 w 9"/>
                <a:gd name="T5" fmla="*/ 81 h 9"/>
                <a:gd name="T6" fmla="*/ 64 w 9"/>
                <a:gd name="T7" fmla="*/ 0 h 9"/>
                <a:gd name="T8" fmla="*/ 113 w 9"/>
                <a:gd name="T9" fmla="*/ 81 h 9"/>
                <a:gd name="T10" fmla="*/ 64 w 9"/>
                <a:gd name="T11" fmla="*/ 188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623" name="Freeform 606"/>
            <p:cNvSpPr>
              <a:spLocks noChangeArrowheads="1"/>
            </p:cNvSpPr>
            <p:nvPr/>
          </p:nvSpPr>
          <p:spPr bwMode="auto">
            <a:xfrm>
              <a:off x="5703" y="476"/>
              <a:ext cx="11" cy="14"/>
            </a:xfrm>
            <a:custGeom>
              <a:avLst/>
              <a:gdLst>
                <a:gd name="T0" fmla="*/ 69 w 8"/>
                <a:gd name="T1" fmla="*/ 327 h 9"/>
                <a:gd name="T2" fmla="*/ 0 w 8"/>
                <a:gd name="T3" fmla="*/ 182 h 9"/>
                <a:gd name="T4" fmla="*/ 0 w 8"/>
                <a:gd name="T5" fmla="*/ 182 h 9"/>
                <a:gd name="T6" fmla="*/ 69 w 8"/>
                <a:gd name="T7" fmla="*/ 0 h 9"/>
                <a:gd name="T8" fmla="*/ 131 w 8"/>
                <a:gd name="T9" fmla="*/ 182 h 9"/>
                <a:gd name="T10" fmla="*/ 69 w 8"/>
                <a:gd name="T11" fmla="*/ 327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5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624" name="Oval 607"/>
            <p:cNvSpPr>
              <a:spLocks noChangeArrowheads="1"/>
            </p:cNvSpPr>
            <p:nvPr/>
          </p:nvSpPr>
          <p:spPr bwMode="auto">
            <a:xfrm>
              <a:off x="5682" y="491"/>
              <a:ext cx="12" cy="1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US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625" name="Freeform 608"/>
            <p:cNvSpPr>
              <a:spLocks noChangeArrowheads="1"/>
            </p:cNvSpPr>
            <p:nvPr/>
          </p:nvSpPr>
          <p:spPr bwMode="auto">
            <a:xfrm>
              <a:off x="5661" y="476"/>
              <a:ext cx="12" cy="14"/>
            </a:xfrm>
            <a:custGeom>
              <a:avLst/>
              <a:gdLst>
                <a:gd name="T0" fmla="*/ 64 w 9"/>
                <a:gd name="T1" fmla="*/ 327 h 9"/>
                <a:gd name="T2" fmla="*/ 0 w 9"/>
                <a:gd name="T3" fmla="*/ 182 h 9"/>
                <a:gd name="T4" fmla="*/ 0 w 9"/>
                <a:gd name="T5" fmla="*/ 148 h 9"/>
                <a:gd name="T6" fmla="*/ 64 w 9"/>
                <a:gd name="T7" fmla="*/ 0 h 9"/>
                <a:gd name="T8" fmla="*/ 113 w 9"/>
                <a:gd name="T9" fmla="*/ 182 h 9"/>
                <a:gd name="T10" fmla="*/ 64 w 9"/>
                <a:gd name="T11" fmla="*/ 327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626" name="Freeform 609"/>
            <p:cNvSpPr>
              <a:spLocks noChangeArrowheads="1"/>
            </p:cNvSpPr>
            <p:nvPr/>
          </p:nvSpPr>
          <p:spPr bwMode="auto">
            <a:xfrm>
              <a:off x="5640" y="491"/>
              <a:ext cx="12" cy="13"/>
            </a:xfrm>
            <a:custGeom>
              <a:avLst/>
              <a:gdLst>
                <a:gd name="T0" fmla="*/ 120 w 8"/>
                <a:gd name="T1" fmla="*/ 188 h 9"/>
                <a:gd name="T2" fmla="*/ 0 w 8"/>
                <a:gd name="T3" fmla="*/ 108 h 9"/>
                <a:gd name="T4" fmla="*/ 0 w 8"/>
                <a:gd name="T5" fmla="*/ 81 h 9"/>
                <a:gd name="T6" fmla="*/ 120 w 8"/>
                <a:gd name="T7" fmla="*/ 0 h 9"/>
                <a:gd name="T8" fmla="*/ 230 w 8"/>
                <a:gd name="T9" fmla="*/ 81 h 9"/>
                <a:gd name="T10" fmla="*/ 230 w 8"/>
                <a:gd name="T11" fmla="*/ 108 h 9"/>
                <a:gd name="T12" fmla="*/ 120 w 8"/>
                <a:gd name="T13" fmla="*/ 188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627" name="Oval 610"/>
            <p:cNvSpPr>
              <a:spLocks noChangeArrowheads="1"/>
            </p:cNvSpPr>
            <p:nvPr/>
          </p:nvSpPr>
          <p:spPr bwMode="auto">
            <a:xfrm>
              <a:off x="5621" y="476"/>
              <a:ext cx="12" cy="14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US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628" name="Freeform 611"/>
            <p:cNvSpPr>
              <a:spLocks noChangeArrowheads="1"/>
            </p:cNvSpPr>
            <p:nvPr/>
          </p:nvSpPr>
          <p:spPr bwMode="auto">
            <a:xfrm>
              <a:off x="5393" y="491"/>
              <a:ext cx="13" cy="13"/>
            </a:xfrm>
            <a:custGeom>
              <a:avLst/>
              <a:gdLst>
                <a:gd name="T0" fmla="*/ 108 w 9"/>
                <a:gd name="T1" fmla="*/ 188 h 9"/>
                <a:gd name="T2" fmla="*/ 0 w 9"/>
                <a:gd name="T3" fmla="*/ 108 h 9"/>
                <a:gd name="T4" fmla="*/ 0 w 9"/>
                <a:gd name="T5" fmla="*/ 81 h 9"/>
                <a:gd name="T6" fmla="*/ 108 w 9"/>
                <a:gd name="T7" fmla="*/ 0 h 9"/>
                <a:gd name="T8" fmla="*/ 188 w 9"/>
                <a:gd name="T9" fmla="*/ 81 h 9"/>
                <a:gd name="T10" fmla="*/ 108 w 9"/>
                <a:gd name="T11" fmla="*/ 188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629" name="Freeform 612"/>
            <p:cNvSpPr>
              <a:spLocks noChangeArrowheads="1"/>
            </p:cNvSpPr>
            <p:nvPr/>
          </p:nvSpPr>
          <p:spPr bwMode="auto">
            <a:xfrm>
              <a:off x="5312" y="491"/>
              <a:ext cx="11" cy="13"/>
            </a:xfrm>
            <a:custGeom>
              <a:avLst/>
              <a:gdLst>
                <a:gd name="T0" fmla="*/ 69 w 8"/>
                <a:gd name="T1" fmla="*/ 188 h 9"/>
                <a:gd name="T2" fmla="*/ 0 w 8"/>
                <a:gd name="T3" fmla="*/ 108 h 9"/>
                <a:gd name="T4" fmla="*/ 0 w 8"/>
                <a:gd name="T5" fmla="*/ 81 h 9"/>
                <a:gd name="T6" fmla="*/ 69 w 8"/>
                <a:gd name="T7" fmla="*/ 0 h 9"/>
                <a:gd name="T8" fmla="*/ 131 w 8"/>
                <a:gd name="T9" fmla="*/ 81 h 9"/>
                <a:gd name="T10" fmla="*/ 69 w 8"/>
                <a:gd name="T11" fmla="*/ 188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630" name="Freeform 613"/>
            <p:cNvSpPr>
              <a:spLocks noChangeArrowheads="1"/>
            </p:cNvSpPr>
            <p:nvPr/>
          </p:nvSpPr>
          <p:spPr bwMode="auto">
            <a:xfrm>
              <a:off x="5250" y="476"/>
              <a:ext cx="11" cy="14"/>
            </a:xfrm>
            <a:custGeom>
              <a:avLst/>
              <a:gdLst>
                <a:gd name="T0" fmla="*/ 69 w 8"/>
                <a:gd name="T1" fmla="*/ 327 h 9"/>
                <a:gd name="T2" fmla="*/ 0 w 8"/>
                <a:gd name="T3" fmla="*/ 182 h 9"/>
                <a:gd name="T4" fmla="*/ 0 w 8"/>
                <a:gd name="T5" fmla="*/ 148 h 9"/>
                <a:gd name="T6" fmla="*/ 69 w 8"/>
                <a:gd name="T7" fmla="*/ 0 h 9"/>
                <a:gd name="T8" fmla="*/ 131 w 8"/>
                <a:gd name="T9" fmla="*/ 182 h 9"/>
                <a:gd name="T10" fmla="*/ 69 w 8"/>
                <a:gd name="T11" fmla="*/ 327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5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631" name="Freeform 614"/>
            <p:cNvSpPr>
              <a:spLocks noChangeArrowheads="1"/>
            </p:cNvSpPr>
            <p:nvPr/>
          </p:nvSpPr>
          <p:spPr bwMode="auto">
            <a:xfrm>
              <a:off x="5168" y="476"/>
              <a:ext cx="11" cy="14"/>
            </a:xfrm>
            <a:custGeom>
              <a:avLst/>
              <a:gdLst>
                <a:gd name="T0" fmla="*/ 69 w 8"/>
                <a:gd name="T1" fmla="*/ 327 h 9"/>
                <a:gd name="T2" fmla="*/ 0 w 8"/>
                <a:gd name="T3" fmla="*/ 182 h 9"/>
                <a:gd name="T4" fmla="*/ 0 w 8"/>
                <a:gd name="T5" fmla="*/ 148 h 9"/>
                <a:gd name="T6" fmla="*/ 69 w 8"/>
                <a:gd name="T7" fmla="*/ 0 h 9"/>
                <a:gd name="T8" fmla="*/ 131 w 8"/>
                <a:gd name="T9" fmla="*/ 182 h 9"/>
                <a:gd name="T10" fmla="*/ 69 w 8"/>
                <a:gd name="T11" fmla="*/ 327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8" y="2"/>
                    <a:pt x="8" y="5"/>
                  </a:cubicBezTo>
                  <a:cubicBezTo>
                    <a:pt x="8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632" name="Freeform 615"/>
            <p:cNvSpPr>
              <a:spLocks noChangeArrowheads="1"/>
            </p:cNvSpPr>
            <p:nvPr/>
          </p:nvSpPr>
          <p:spPr bwMode="auto">
            <a:xfrm>
              <a:off x="5106" y="491"/>
              <a:ext cx="11" cy="13"/>
            </a:xfrm>
            <a:custGeom>
              <a:avLst/>
              <a:gdLst>
                <a:gd name="T0" fmla="*/ 69 w 8"/>
                <a:gd name="T1" fmla="*/ 188 h 9"/>
                <a:gd name="T2" fmla="*/ 0 w 8"/>
                <a:gd name="T3" fmla="*/ 108 h 9"/>
                <a:gd name="T4" fmla="*/ 0 w 8"/>
                <a:gd name="T5" fmla="*/ 81 h 9"/>
                <a:gd name="T6" fmla="*/ 69 w 8"/>
                <a:gd name="T7" fmla="*/ 0 h 9"/>
                <a:gd name="T8" fmla="*/ 131 w 8"/>
                <a:gd name="T9" fmla="*/ 81 h 9"/>
                <a:gd name="T10" fmla="*/ 69 w 8"/>
                <a:gd name="T11" fmla="*/ 188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633" name="Freeform 616"/>
            <p:cNvSpPr>
              <a:spLocks noChangeArrowheads="1"/>
            </p:cNvSpPr>
            <p:nvPr/>
          </p:nvSpPr>
          <p:spPr bwMode="auto">
            <a:xfrm>
              <a:off x="5374" y="476"/>
              <a:ext cx="11" cy="14"/>
            </a:xfrm>
            <a:custGeom>
              <a:avLst/>
              <a:gdLst>
                <a:gd name="T0" fmla="*/ 69 w 8"/>
                <a:gd name="T1" fmla="*/ 327 h 9"/>
                <a:gd name="T2" fmla="*/ 0 w 8"/>
                <a:gd name="T3" fmla="*/ 182 h 9"/>
                <a:gd name="T4" fmla="*/ 0 w 8"/>
                <a:gd name="T5" fmla="*/ 148 h 9"/>
                <a:gd name="T6" fmla="*/ 69 w 8"/>
                <a:gd name="T7" fmla="*/ 0 h 9"/>
                <a:gd name="T8" fmla="*/ 131 w 8"/>
                <a:gd name="T9" fmla="*/ 182 h 9"/>
                <a:gd name="T10" fmla="*/ 69 w 8"/>
                <a:gd name="T11" fmla="*/ 327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5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634" name="Freeform 617"/>
            <p:cNvSpPr>
              <a:spLocks noChangeArrowheads="1"/>
            </p:cNvSpPr>
            <p:nvPr/>
          </p:nvSpPr>
          <p:spPr bwMode="auto">
            <a:xfrm>
              <a:off x="5291" y="476"/>
              <a:ext cx="13" cy="14"/>
            </a:xfrm>
            <a:custGeom>
              <a:avLst/>
              <a:gdLst>
                <a:gd name="T0" fmla="*/ 81 w 9"/>
                <a:gd name="T1" fmla="*/ 327 h 9"/>
                <a:gd name="T2" fmla="*/ 0 w 9"/>
                <a:gd name="T3" fmla="*/ 182 h 9"/>
                <a:gd name="T4" fmla="*/ 0 w 9"/>
                <a:gd name="T5" fmla="*/ 148 h 9"/>
                <a:gd name="T6" fmla="*/ 81 w 9"/>
                <a:gd name="T7" fmla="*/ 0 h 9"/>
                <a:gd name="T8" fmla="*/ 188 w 9"/>
                <a:gd name="T9" fmla="*/ 182 h 9"/>
                <a:gd name="T10" fmla="*/ 81 w 9"/>
                <a:gd name="T11" fmla="*/ 327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635" name="Oval 618"/>
            <p:cNvSpPr>
              <a:spLocks noChangeArrowheads="1"/>
            </p:cNvSpPr>
            <p:nvPr/>
          </p:nvSpPr>
          <p:spPr bwMode="auto">
            <a:xfrm>
              <a:off x="5229" y="491"/>
              <a:ext cx="13" cy="1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US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636" name="Freeform 619"/>
            <p:cNvSpPr>
              <a:spLocks noChangeArrowheads="1"/>
            </p:cNvSpPr>
            <p:nvPr/>
          </p:nvSpPr>
          <p:spPr bwMode="auto">
            <a:xfrm>
              <a:off x="5146" y="491"/>
              <a:ext cx="14" cy="13"/>
            </a:xfrm>
            <a:custGeom>
              <a:avLst/>
              <a:gdLst>
                <a:gd name="T0" fmla="*/ 148 w 9"/>
                <a:gd name="T1" fmla="*/ 188 h 9"/>
                <a:gd name="T2" fmla="*/ 0 w 9"/>
                <a:gd name="T3" fmla="*/ 108 h 9"/>
                <a:gd name="T4" fmla="*/ 0 w 9"/>
                <a:gd name="T5" fmla="*/ 81 h 9"/>
                <a:gd name="T6" fmla="*/ 148 w 9"/>
                <a:gd name="T7" fmla="*/ 0 h 9"/>
                <a:gd name="T8" fmla="*/ 327 w 9"/>
                <a:gd name="T9" fmla="*/ 81 h 9"/>
                <a:gd name="T10" fmla="*/ 148 w 9"/>
                <a:gd name="T11" fmla="*/ 188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637" name="Freeform 620"/>
            <p:cNvSpPr>
              <a:spLocks noChangeArrowheads="1"/>
            </p:cNvSpPr>
            <p:nvPr/>
          </p:nvSpPr>
          <p:spPr bwMode="auto">
            <a:xfrm>
              <a:off x="5085" y="476"/>
              <a:ext cx="13" cy="14"/>
            </a:xfrm>
            <a:custGeom>
              <a:avLst/>
              <a:gdLst>
                <a:gd name="T0" fmla="*/ 81 w 9"/>
                <a:gd name="T1" fmla="*/ 327 h 9"/>
                <a:gd name="T2" fmla="*/ 0 w 9"/>
                <a:gd name="T3" fmla="*/ 182 h 9"/>
                <a:gd name="T4" fmla="*/ 0 w 9"/>
                <a:gd name="T5" fmla="*/ 148 h 9"/>
                <a:gd name="T6" fmla="*/ 81 w 9"/>
                <a:gd name="T7" fmla="*/ 0 h 9"/>
                <a:gd name="T8" fmla="*/ 188 w 9"/>
                <a:gd name="T9" fmla="*/ 182 h 9"/>
                <a:gd name="T10" fmla="*/ 81 w 9"/>
                <a:gd name="T11" fmla="*/ 327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638" name="Freeform 621"/>
            <p:cNvSpPr>
              <a:spLocks noChangeArrowheads="1"/>
            </p:cNvSpPr>
            <p:nvPr/>
          </p:nvSpPr>
          <p:spPr bwMode="auto">
            <a:xfrm>
              <a:off x="5353" y="491"/>
              <a:ext cx="12" cy="13"/>
            </a:xfrm>
            <a:custGeom>
              <a:avLst/>
              <a:gdLst>
                <a:gd name="T0" fmla="*/ 49 w 9"/>
                <a:gd name="T1" fmla="*/ 188 h 9"/>
                <a:gd name="T2" fmla="*/ 0 w 9"/>
                <a:gd name="T3" fmla="*/ 108 h 9"/>
                <a:gd name="T4" fmla="*/ 0 w 9"/>
                <a:gd name="T5" fmla="*/ 81 h 9"/>
                <a:gd name="T6" fmla="*/ 49 w 9"/>
                <a:gd name="T7" fmla="*/ 0 h 9"/>
                <a:gd name="T8" fmla="*/ 113 w 9"/>
                <a:gd name="T9" fmla="*/ 81 h 9"/>
                <a:gd name="T10" fmla="*/ 49 w 9"/>
                <a:gd name="T11" fmla="*/ 188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639" name="Freeform 622"/>
            <p:cNvSpPr>
              <a:spLocks noChangeArrowheads="1"/>
            </p:cNvSpPr>
            <p:nvPr/>
          </p:nvSpPr>
          <p:spPr bwMode="auto">
            <a:xfrm>
              <a:off x="5270" y="491"/>
              <a:ext cx="12" cy="13"/>
            </a:xfrm>
            <a:custGeom>
              <a:avLst/>
              <a:gdLst>
                <a:gd name="T0" fmla="*/ 65 w 9"/>
                <a:gd name="T1" fmla="*/ 188 h 9"/>
                <a:gd name="T2" fmla="*/ 0 w 9"/>
                <a:gd name="T3" fmla="*/ 108 h 9"/>
                <a:gd name="T4" fmla="*/ 0 w 9"/>
                <a:gd name="T5" fmla="*/ 81 h 9"/>
                <a:gd name="T6" fmla="*/ 65 w 9"/>
                <a:gd name="T7" fmla="*/ 0 h 9"/>
                <a:gd name="T8" fmla="*/ 116 w 9"/>
                <a:gd name="T9" fmla="*/ 81 h 9"/>
                <a:gd name="T10" fmla="*/ 65 w 9"/>
                <a:gd name="T11" fmla="*/ 188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640" name="Freeform 623"/>
            <p:cNvSpPr>
              <a:spLocks noChangeArrowheads="1"/>
            </p:cNvSpPr>
            <p:nvPr/>
          </p:nvSpPr>
          <p:spPr bwMode="auto">
            <a:xfrm>
              <a:off x="5208" y="476"/>
              <a:ext cx="12" cy="14"/>
            </a:xfrm>
            <a:custGeom>
              <a:avLst/>
              <a:gdLst>
                <a:gd name="T0" fmla="*/ 65 w 9"/>
                <a:gd name="T1" fmla="*/ 327 h 9"/>
                <a:gd name="T2" fmla="*/ 0 w 9"/>
                <a:gd name="T3" fmla="*/ 182 h 9"/>
                <a:gd name="T4" fmla="*/ 0 w 9"/>
                <a:gd name="T5" fmla="*/ 148 h 9"/>
                <a:gd name="T6" fmla="*/ 65 w 9"/>
                <a:gd name="T7" fmla="*/ 0 h 9"/>
                <a:gd name="T8" fmla="*/ 116 w 9"/>
                <a:gd name="T9" fmla="*/ 182 h 9"/>
                <a:gd name="T10" fmla="*/ 65 w 9"/>
                <a:gd name="T11" fmla="*/ 327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641" name="Oval 624"/>
            <p:cNvSpPr>
              <a:spLocks noChangeArrowheads="1"/>
            </p:cNvSpPr>
            <p:nvPr/>
          </p:nvSpPr>
          <p:spPr bwMode="auto">
            <a:xfrm>
              <a:off x="5125" y="476"/>
              <a:ext cx="13" cy="14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US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642" name="Freeform 625"/>
            <p:cNvSpPr>
              <a:spLocks noChangeArrowheads="1"/>
            </p:cNvSpPr>
            <p:nvPr/>
          </p:nvSpPr>
          <p:spPr bwMode="auto">
            <a:xfrm>
              <a:off x="5063" y="491"/>
              <a:ext cx="14" cy="13"/>
            </a:xfrm>
            <a:custGeom>
              <a:avLst/>
              <a:gdLst>
                <a:gd name="T0" fmla="*/ 182 w 9"/>
                <a:gd name="T1" fmla="*/ 188 h 9"/>
                <a:gd name="T2" fmla="*/ 0 w 9"/>
                <a:gd name="T3" fmla="*/ 108 h 9"/>
                <a:gd name="T4" fmla="*/ 0 w 9"/>
                <a:gd name="T5" fmla="*/ 81 h 9"/>
                <a:gd name="T6" fmla="*/ 182 w 9"/>
                <a:gd name="T7" fmla="*/ 0 h 9"/>
                <a:gd name="T8" fmla="*/ 327 w 9"/>
                <a:gd name="T9" fmla="*/ 81 h 9"/>
                <a:gd name="T10" fmla="*/ 182 w 9"/>
                <a:gd name="T11" fmla="*/ 188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643" name="Freeform 626"/>
            <p:cNvSpPr>
              <a:spLocks noChangeArrowheads="1"/>
            </p:cNvSpPr>
            <p:nvPr/>
          </p:nvSpPr>
          <p:spPr bwMode="auto">
            <a:xfrm>
              <a:off x="5476" y="512"/>
              <a:ext cx="12" cy="12"/>
            </a:xfrm>
            <a:custGeom>
              <a:avLst/>
              <a:gdLst>
                <a:gd name="T0" fmla="*/ 65 w 9"/>
                <a:gd name="T1" fmla="*/ 116 h 9"/>
                <a:gd name="T2" fmla="*/ 49 w 9"/>
                <a:gd name="T3" fmla="*/ 116 h 9"/>
                <a:gd name="T4" fmla="*/ 0 w 9"/>
                <a:gd name="T5" fmla="*/ 49 h 9"/>
                <a:gd name="T6" fmla="*/ 0 w 9"/>
                <a:gd name="T7" fmla="*/ 49 h 9"/>
                <a:gd name="T8" fmla="*/ 49 w 9"/>
                <a:gd name="T9" fmla="*/ 0 h 9"/>
                <a:gd name="T10" fmla="*/ 116 w 9"/>
                <a:gd name="T11" fmla="*/ 49 h 9"/>
                <a:gd name="T12" fmla="*/ 65 w 9"/>
                <a:gd name="T13" fmla="*/ 116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644" name="Freeform 627"/>
            <p:cNvSpPr>
              <a:spLocks noChangeArrowheads="1"/>
            </p:cNvSpPr>
            <p:nvPr/>
          </p:nvSpPr>
          <p:spPr bwMode="auto">
            <a:xfrm>
              <a:off x="5436" y="512"/>
              <a:ext cx="12" cy="12"/>
            </a:xfrm>
            <a:custGeom>
              <a:avLst/>
              <a:gdLst>
                <a:gd name="T0" fmla="*/ 120 w 8"/>
                <a:gd name="T1" fmla="*/ 116 h 9"/>
                <a:gd name="T2" fmla="*/ 120 w 8"/>
                <a:gd name="T3" fmla="*/ 116 h 9"/>
                <a:gd name="T4" fmla="*/ 0 w 8"/>
                <a:gd name="T5" fmla="*/ 49 h 9"/>
                <a:gd name="T6" fmla="*/ 0 w 8"/>
                <a:gd name="T7" fmla="*/ 49 h 9"/>
                <a:gd name="T8" fmla="*/ 120 w 8"/>
                <a:gd name="T9" fmla="*/ 0 h 9"/>
                <a:gd name="T10" fmla="*/ 230 w 8"/>
                <a:gd name="T11" fmla="*/ 49 h 9"/>
                <a:gd name="T12" fmla="*/ 120 w 8"/>
                <a:gd name="T13" fmla="*/ 116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645" name="Freeform 628"/>
            <p:cNvSpPr>
              <a:spLocks noChangeArrowheads="1"/>
            </p:cNvSpPr>
            <p:nvPr/>
          </p:nvSpPr>
          <p:spPr bwMode="auto">
            <a:xfrm>
              <a:off x="5415" y="498"/>
              <a:ext cx="12" cy="13"/>
            </a:xfrm>
            <a:custGeom>
              <a:avLst/>
              <a:gdLst>
                <a:gd name="T0" fmla="*/ 49 w 9"/>
                <a:gd name="T1" fmla="*/ 188 h 9"/>
                <a:gd name="T2" fmla="*/ 0 w 9"/>
                <a:gd name="T3" fmla="*/ 108 h 9"/>
                <a:gd name="T4" fmla="*/ 0 w 9"/>
                <a:gd name="T5" fmla="*/ 81 h 9"/>
                <a:gd name="T6" fmla="*/ 49 w 9"/>
                <a:gd name="T7" fmla="*/ 0 h 9"/>
                <a:gd name="T8" fmla="*/ 113 w 9"/>
                <a:gd name="T9" fmla="*/ 81 h 9"/>
                <a:gd name="T10" fmla="*/ 49 w 9"/>
                <a:gd name="T11" fmla="*/ 188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646" name="Freeform 629"/>
            <p:cNvSpPr>
              <a:spLocks noChangeArrowheads="1"/>
            </p:cNvSpPr>
            <p:nvPr/>
          </p:nvSpPr>
          <p:spPr bwMode="auto">
            <a:xfrm>
              <a:off x="5331" y="498"/>
              <a:ext cx="14" cy="13"/>
            </a:xfrm>
            <a:custGeom>
              <a:avLst/>
              <a:gdLst>
                <a:gd name="T0" fmla="*/ 182 w 9"/>
                <a:gd name="T1" fmla="*/ 188 h 9"/>
                <a:gd name="T2" fmla="*/ 0 w 9"/>
                <a:gd name="T3" fmla="*/ 108 h 9"/>
                <a:gd name="T4" fmla="*/ 0 w 9"/>
                <a:gd name="T5" fmla="*/ 81 h 9"/>
                <a:gd name="T6" fmla="*/ 182 w 9"/>
                <a:gd name="T7" fmla="*/ 0 h 9"/>
                <a:gd name="T8" fmla="*/ 327 w 9"/>
                <a:gd name="T9" fmla="*/ 81 h 9"/>
                <a:gd name="T10" fmla="*/ 182 w 9"/>
                <a:gd name="T11" fmla="*/ 188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647" name="Freeform 630"/>
            <p:cNvSpPr>
              <a:spLocks noChangeArrowheads="1"/>
            </p:cNvSpPr>
            <p:nvPr/>
          </p:nvSpPr>
          <p:spPr bwMode="auto">
            <a:xfrm>
              <a:off x="5189" y="512"/>
              <a:ext cx="11" cy="12"/>
            </a:xfrm>
            <a:custGeom>
              <a:avLst/>
              <a:gdLst>
                <a:gd name="T0" fmla="*/ 69 w 8"/>
                <a:gd name="T1" fmla="*/ 116 h 9"/>
                <a:gd name="T2" fmla="*/ 69 w 8"/>
                <a:gd name="T3" fmla="*/ 116 h 9"/>
                <a:gd name="T4" fmla="*/ 0 w 8"/>
                <a:gd name="T5" fmla="*/ 49 h 9"/>
                <a:gd name="T6" fmla="*/ 0 w 8"/>
                <a:gd name="T7" fmla="*/ 49 h 9"/>
                <a:gd name="T8" fmla="*/ 69 w 8"/>
                <a:gd name="T9" fmla="*/ 0 h 9"/>
                <a:gd name="T10" fmla="*/ 131 w 8"/>
                <a:gd name="T11" fmla="*/ 49 h 9"/>
                <a:gd name="T12" fmla="*/ 69 w 8"/>
                <a:gd name="T13" fmla="*/ 116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1" y="9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648" name="Freeform 631"/>
            <p:cNvSpPr>
              <a:spLocks noChangeArrowheads="1"/>
            </p:cNvSpPr>
            <p:nvPr/>
          </p:nvSpPr>
          <p:spPr bwMode="auto">
            <a:xfrm>
              <a:off x="5558" y="512"/>
              <a:ext cx="12" cy="12"/>
            </a:xfrm>
            <a:custGeom>
              <a:avLst/>
              <a:gdLst>
                <a:gd name="T0" fmla="*/ 49 w 9"/>
                <a:gd name="T1" fmla="*/ 116 h 9"/>
                <a:gd name="T2" fmla="*/ 49 w 9"/>
                <a:gd name="T3" fmla="*/ 116 h 9"/>
                <a:gd name="T4" fmla="*/ 0 w 9"/>
                <a:gd name="T5" fmla="*/ 49 h 9"/>
                <a:gd name="T6" fmla="*/ 0 w 9"/>
                <a:gd name="T7" fmla="*/ 49 h 9"/>
                <a:gd name="T8" fmla="*/ 49 w 9"/>
                <a:gd name="T9" fmla="*/ 0 h 9"/>
                <a:gd name="T10" fmla="*/ 113 w 9"/>
                <a:gd name="T11" fmla="*/ 49 h 9"/>
                <a:gd name="T12" fmla="*/ 49 w 9"/>
                <a:gd name="T13" fmla="*/ 116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649" name="Freeform 632"/>
            <p:cNvSpPr>
              <a:spLocks noChangeArrowheads="1"/>
            </p:cNvSpPr>
            <p:nvPr/>
          </p:nvSpPr>
          <p:spPr bwMode="auto">
            <a:xfrm>
              <a:off x="5538" y="498"/>
              <a:ext cx="12" cy="13"/>
            </a:xfrm>
            <a:custGeom>
              <a:avLst/>
              <a:gdLst>
                <a:gd name="T0" fmla="*/ 64 w 9"/>
                <a:gd name="T1" fmla="*/ 188 h 9"/>
                <a:gd name="T2" fmla="*/ 0 w 9"/>
                <a:gd name="T3" fmla="*/ 108 h 9"/>
                <a:gd name="T4" fmla="*/ 0 w 9"/>
                <a:gd name="T5" fmla="*/ 81 h 9"/>
                <a:gd name="T6" fmla="*/ 64 w 9"/>
                <a:gd name="T7" fmla="*/ 0 h 9"/>
                <a:gd name="T8" fmla="*/ 113 w 9"/>
                <a:gd name="T9" fmla="*/ 81 h 9"/>
                <a:gd name="T10" fmla="*/ 64 w 9"/>
                <a:gd name="T11" fmla="*/ 188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650" name="Freeform 633"/>
            <p:cNvSpPr>
              <a:spLocks noChangeArrowheads="1"/>
            </p:cNvSpPr>
            <p:nvPr/>
          </p:nvSpPr>
          <p:spPr bwMode="auto">
            <a:xfrm>
              <a:off x="5496" y="498"/>
              <a:ext cx="12" cy="13"/>
            </a:xfrm>
            <a:custGeom>
              <a:avLst/>
              <a:gdLst>
                <a:gd name="T0" fmla="*/ 49 w 9"/>
                <a:gd name="T1" fmla="*/ 188 h 9"/>
                <a:gd name="T2" fmla="*/ 0 w 9"/>
                <a:gd name="T3" fmla="*/ 108 h 9"/>
                <a:gd name="T4" fmla="*/ 0 w 9"/>
                <a:gd name="T5" fmla="*/ 81 h 9"/>
                <a:gd name="T6" fmla="*/ 49 w 9"/>
                <a:gd name="T7" fmla="*/ 0 h 9"/>
                <a:gd name="T8" fmla="*/ 113 w 9"/>
                <a:gd name="T9" fmla="*/ 81 h 9"/>
                <a:gd name="T10" fmla="*/ 49 w 9"/>
                <a:gd name="T11" fmla="*/ 188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651" name="Oval 634"/>
            <p:cNvSpPr>
              <a:spLocks noChangeArrowheads="1"/>
            </p:cNvSpPr>
            <p:nvPr/>
          </p:nvSpPr>
          <p:spPr bwMode="auto">
            <a:xfrm>
              <a:off x="5455" y="498"/>
              <a:ext cx="13" cy="1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US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652" name="Oval 635"/>
            <p:cNvSpPr>
              <a:spLocks noChangeArrowheads="1"/>
            </p:cNvSpPr>
            <p:nvPr/>
          </p:nvSpPr>
          <p:spPr bwMode="auto">
            <a:xfrm>
              <a:off x="5744" y="498"/>
              <a:ext cx="13" cy="1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US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653" name="Freeform 636"/>
            <p:cNvSpPr>
              <a:spLocks noChangeArrowheads="1"/>
            </p:cNvSpPr>
            <p:nvPr/>
          </p:nvSpPr>
          <p:spPr bwMode="auto">
            <a:xfrm>
              <a:off x="5723" y="512"/>
              <a:ext cx="12" cy="12"/>
            </a:xfrm>
            <a:custGeom>
              <a:avLst/>
              <a:gdLst>
                <a:gd name="T0" fmla="*/ 64 w 9"/>
                <a:gd name="T1" fmla="*/ 116 h 9"/>
                <a:gd name="T2" fmla="*/ 64 w 9"/>
                <a:gd name="T3" fmla="*/ 116 h 9"/>
                <a:gd name="T4" fmla="*/ 0 w 9"/>
                <a:gd name="T5" fmla="*/ 49 h 9"/>
                <a:gd name="T6" fmla="*/ 0 w 9"/>
                <a:gd name="T7" fmla="*/ 49 h 9"/>
                <a:gd name="T8" fmla="*/ 64 w 9"/>
                <a:gd name="T9" fmla="*/ 0 h 9"/>
                <a:gd name="T10" fmla="*/ 113 w 9"/>
                <a:gd name="T11" fmla="*/ 49 h 9"/>
                <a:gd name="T12" fmla="*/ 64 w 9"/>
                <a:gd name="T13" fmla="*/ 116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5" y="9"/>
                    <a:pt x="5" y="9"/>
                    <a:pt x="5" y="9"/>
                  </a:cubicBezTo>
                  <a:cubicBezTo>
                    <a:pt x="2" y="9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654" name="Freeform 637"/>
            <p:cNvSpPr>
              <a:spLocks noChangeArrowheads="1"/>
            </p:cNvSpPr>
            <p:nvPr/>
          </p:nvSpPr>
          <p:spPr bwMode="auto">
            <a:xfrm>
              <a:off x="5703" y="498"/>
              <a:ext cx="11" cy="13"/>
            </a:xfrm>
            <a:custGeom>
              <a:avLst/>
              <a:gdLst>
                <a:gd name="T0" fmla="*/ 69 w 8"/>
                <a:gd name="T1" fmla="*/ 188 h 9"/>
                <a:gd name="T2" fmla="*/ 0 w 8"/>
                <a:gd name="T3" fmla="*/ 108 h 9"/>
                <a:gd name="T4" fmla="*/ 0 w 8"/>
                <a:gd name="T5" fmla="*/ 81 h 9"/>
                <a:gd name="T6" fmla="*/ 69 w 8"/>
                <a:gd name="T7" fmla="*/ 0 h 9"/>
                <a:gd name="T8" fmla="*/ 131 w 8"/>
                <a:gd name="T9" fmla="*/ 81 h 9"/>
                <a:gd name="T10" fmla="*/ 69 w 8"/>
                <a:gd name="T11" fmla="*/ 188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655" name="Freeform 638"/>
            <p:cNvSpPr>
              <a:spLocks noChangeArrowheads="1"/>
            </p:cNvSpPr>
            <p:nvPr/>
          </p:nvSpPr>
          <p:spPr bwMode="auto">
            <a:xfrm>
              <a:off x="5682" y="512"/>
              <a:ext cx="12" cy="12"/>
            </a:xfrm>
            <a:custGeom>
              <a:avLst/>
              <a:gdLst>
                <a:gd name="T0" fmla="*/ 49 w 9"/>
                <a:gd name="T1" fmla="*/ 116 h 9"/>
                <a:gd name="T2" fmla="*/ 49 w 9"/>
                <a:gd name="T3" fmla="*/ 116 h 9"/>
                <a:gd name="T4" fmla="*/ 0 w 9"/>
                <a:gd name="T5" fmla="*/ 49 h 9"/>
                <a:gd name="T6" fmla="*/ 49 w 9"/>
                <a:gd name="T7" fmla="*/ 0 h 9"/>
                <a:gd name="T8" fmla="*/ 113 w 9"/>
                <a:gd name="T9" fmla="*/ 49 h 9"/>
                <a:gd name="T10" fmla="*/ 49 w 9"/>
                <a:gd name="T11" fmla="*/ 116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656" name="Freeform 639"/>
            <p:cNvSpPr>
              <a:spLocks noChangeArrowheads="1"/>
            </p:cNvSpPr>
            <p:nvPr/>
          </p:nvSpPr>
          <p:spPr bwMode="auto">
            <a:xfrm>
              <a:off x="5661" y="498"/>
              <a:ext cx="12" cy="13"/>
            </a:xfrm>
            <a:custGeom>
              <a:avLst/>
              <a:gdLst>
                <a:gd name="T0" fmla="*/ 64 w 9"/>
                <a:gd name="T1" fmla="*/ 188 h 9"/>
                <a:gd name="T2" fmla="*/ 0 w 9"/>
                <a:gd name="T3" fmla="*/ 108 h 9"/>
                <a:gd name="T4" fmla="*/ 0 w 9"/>
                <a:gd name="T5" fmla="*/ 81 h 9"/>
                <a:gd name="T6" fmla="*/ 64 w 9"/>
                <a:gd name="T7" fmla="*/ 0 h 9"/>
                <a:gd name="T8" fmla="*/ 113 w 9"/>
                <a:gd name="T9" fmla="*/ 81 h 9"/>
                <a:gd name="T10" fmla="*/ 64 w 9"/>
                <a:gd name="T11" fmla="*/ 188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657" name="Freeform 640"/>
            <p:cNvSpPr>
              <a:spLocks noChangeArrowheads="1"/>
            </p:cNvSpPr>
            <p:nvPr/>
          </p:nvSpPr>
          <p:spPr bwMode="auto">
            <a:xfrm>
              <a:off x="5640" y="512"/>
              <a:ext cx="12" cy="12"/>
            </a:xfrm>
            <a:custGeom>
              <a:avLst/>
              <a:gdLst>
                <a:gd name="T0" fmla="*/ 120 w 8"/>
                <a:gd name="T1" fmla="*/ 116 h 9"/>
                <a:gd name="T2" fmla="*/ 120 w 8"/>
                <a:gd name="T3" fmla="*/ 116 h 9"/>
                <a:gd name="T4" fmla="*/ 0 w 8"/>
                <a:gd name="T5" fmla="*/ 49 h 9"/>
                <a:gd name="T6" fmla="*/ 0 w 8"/>
                <a:gd name="T7" fmla="*/ 49 h 9"/>
                <a:gd name="T8" fmla="*/ 120 w 8"/>
                <a:gd name="T9" fmla="*/ 0 h 9"/>
                <a:gd name="T10" fmla="*/ 230 w 8"/>
                <a:gd name="T11" fmla="*/ 49 h 9"/>
                <a:gd name="T12" fmla="*/ 230 w 8"/>
                <a:gd name="T13" fmla="*/ 49 h 9"/>
                <a:gd name="T14" fmla="*/ 120 w 8"/>
                <a:gd name="T15" fmla="*/ 116 h 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658" name="Oval 641"/>
            <p:cNvSpPr>
              <a:spLocks noChangeArrowheads="1"/>
            </p:cNvSpPr>
            <p:nvPr/>
          </p:nvSpPr>
          <p:spPr bwMode="auto">
            <a:xfrm>
              <a:off x="5621" y="498"/>
              <a:ext cx="12" cy="1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US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659" name="Freeform 642"/>
            <p:cNvSpPr>
              <a:spLocks noChangeArrowheads="1"/>
            </p:cNvSpPr>
            <p:nvPr/>
          </p:nvSpPr>
          <p:spPr bwMode="auto">
            <a:xfrm>
              <a:off x="5393" y="512"/>
              <a:ext cx="13" cy="12"/>
            </a:xfrm>
            <a:custGeom>
              <a:avLst/>
              <a:gdLst>
                <a:gd name="T0" fmla="*/ 108 w 9"/>
                <a:gd name="T1" fmla="*/ 116 h 9"/>
                <a:gd name="T2" fmla="*/ 108 w 9"/>
                <a:gd name="T3" fmla="*/ 116 h 9"/>
                <a:gd name="T4" fmla="*/ 0 w 9"/>
                <a:gd name="T5" fmla="*/ 49 h 9"/>
                <a:gd name="T6" fmla="*/ 0 w 9"/>
                <a:gd name="T7" fmla="*/ 49 h 9"/>
                <a:gd name="T8" fmla="*/ 108 w 9"/>
                <a:gd name="T9" fmla="*/ 0 h 9"/>
                <a:gd name="T10" fmla="*/ 188 w 9"/>
                <a:gd name="T11" fmla="*/ 49 h 9"/>
                <a:gd name="T12" fmla="*/ 108 w 9"/>
                <a:gd name="T13" fmla="*/ 116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5" y="9"/>
                    <a:pt x="5" y="9"/>
                    <a:pt x="5" y="9"/>
                  </a:cubicBezTo>
                  <a:cubicBezTo>
                    <a:pt x="2" y="9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660" name="Freeform 643"/>
            <p:cNvSpPr>
              <a:spLocks noChangeArrowheads="1"/>
            </p:cNvSpPr>
            <p:nvPr/>
          </p:nvSpPr>
          <p:spPr bwMode="auto">
            <a:xfrm>
              <a:off x="5312" y="512"/>
              <a:ext cx="11" cy="12"/>
            </a:xfrm>
            <a:custGeom>
              <a:avLst/>
              <a:gdLst>
                <a:gd name="T0" fmla="*/ 69 w 8"/>
                <a:gd name="T1" fmla="*/ 116 h 9"/>
                <a:gd name="T2" fmla="*/ 69 w 8"/>
                <a:gd name="T3" fmla="*/ 116 h 9"/>
                <a:gd name="T4" fmla="*/ 0 w 8"/>
                <a:gd name="T5" fmla="*/ 49 h 9"/>
                <a:gd name="T6" fmla="*/ 0 w 8"/>
                <a:gd name="T7" fmla="*/ 49 h 9"/>
                <a:gd name="T8" fmla="*/ 69 w 8"/>
                <a:gd name="T9" fmla="*/ 0 h 9"/>
                <a:gd name="T10" fmla="*/ 131 w 8"/>
                <a:gd name="T11" fmla="*/ 49 h 9"/>
                <a:gd name="T12" fmla="*/ 69 w 8"/>
                <a:gd name="T13" fmla="*/ 116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661" name="Freeform 644"/>
            <p:cNvSpPr>
              <a:spLocks noChangeArrowheads="1"/>
            </p:cNvSpPr>
            <p:nvPr/>
          </p:nvSpPr>
          <p:spPr bwMode="auto">
            <a:xfrm>
              <a:off x="5250" y="498"/>
              <a:ext cx="11" cy="13"/>
            </a:xfrm>
            <a:custGeom>
              <a:avLst/>
              <a:gdLst>
                <a:gd name="T0" fmla="*/ 69 w 8"/>
                <a:gd name="T1" fmla="*/ 188 h 9"/>
                <a:gd name="T2" fmla="*/ 0 w 8"/>
                <a:gd name="T3" fmla="*/ 108 h 9"/>
                <a:gd name="T4" fmla="*/ 0 w 8"/>
                <a:gd name="T5" fmla="*/ 81 h 9"/>
                <a:gd name="T6" fmla="*/ 69 w 8"/>
                <a:gd name="T7" fmla="*/ 0 h 9"/>
                <a:gd name="T8" fmla="*/ 131 w 8"/>
                <a:gd name="T9" fmla="*/ 81 h 9"/>
                <a:gd name="T10" fmla="*/ 69 w 8"/>
                <a:gd name="T11" fmla="*/ 188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662" name="Freeform 645"/>
            <p:cNvSpPr>
              <a:spLocks noChangeArrowheads="1"/>
            </p:cNvSpPr>
            <p:nvPr/>
          </p:nvSpPr>
          <p:spPr bwMode="auto">
            <a:xfrm>
              <a:off x="5168" y="498"/>
              <a:ext cx="11" cy="13"/>
            </a:xfrm>
            <a:custGeom>
              <a:avLst/>
              <a:gdLst>
                <a:gd name="T0" fmla="*/ 69 w 8"/>
                <a:gd name="T1" fmla="*/ 188 h 9"/>
                <a:gd name="T2" fmla="*/ 0 w 8"/>
                <a:gd name="T3" fmla="*/ 108 h 9"/>
                <a:gd name="T4" fmla="*/ 0 w 8"/>
                <a:gd name="T5" fmla="*/ 81 h 9"/>
                <a:gd name="T6" fmla="*/ 69 w 8"/>
                <a:gd name="T7" fmla="*/ 0 h 9"/>
                <a:gd name="T8" fmla="*/ 131 w 8"/>
                <a:gd name="T9" fmla="*/ 81 h 9"/>
                <a:gd name="T10" fmla="*/ 69 w 8"/>
                <a:gd name="T11" fmla="*/ 188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8" y="2"/>
                    <a:pt x="8" y="4"/>
                  </a:cubicBezTo>
                  <a:cubicBezTo>
                    <a:pt x="8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663" name="Freeform 646"/>
            <p:cNvSpPr>
              <a:spLocks noChangeArrowheads="1"/>
            </p:cNvSpPr>
            <p:nvPr/>
          </p:nvSpPr>
          <p:spPr bwMode="auto">
            <a:xfrm>
              <a:off x="5106" y="512"/>
              <a:ext cx="11" cy="12"/>
            </a:xfrm>
            <a:custGeom>
              <a:avLst/>
              <a:gdLst>
                <a:gd name="T0" fmla="*/ 69 w 8"/>
                <a:gd name="T1" fmla="*/ 116 h 9"/>
                <a:gd name="T2" fmla="*/ 69 w 8"/>
                <a:gd name="T3" fmla="*/ 116 h 9"/>
                <a:gd name="T4" fmla="*/ 0 w 8"/>
                <a:gd name="T5" fmla="*/ 49 h 9"/>
                <a:gd name="T6" fmla="*/ 0 w 8"/>
                <a:gd name="T7" fmla="*/ 49 h 9"/>
                <a:gd name="T8" fmla="*/ 69 w 8"/>
                <a:gd name="T9" fmla="*/ 0 h 9"/>
                <a:gd name="T10" fmla="*/ 131 w 8"/>
                <a:gd name="T11" fmla="*/ 49 h 9"/>
                <a:gd name="T12" fmla="*/ 69 w 8"/>
                <a:gd name="T13" fmla="*/ 116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664" name="Freeform 647"/>
            <p:cNvSpPr>
              <a:spLocks noChangeArrowheads="1"/>
            </p:cNvSpPr>
            <p:nvPr/>
          </p:nvSpPr>
          <p:spPr bwMode="auto">
            <a:xfrm>
              <a:off x="4961" y="498"/>
              <a:ext cx="14" cy="13"/>
            </a:xfrm>
            <a:custGeom>
              <a:avLst/>
              <a:gdLst>
                <a:gd name="T0" fmla="*/ 148 w 9"/>
                <a:gd name="T1" fmla="*/ 188 h 9"/>
                <a:gd name="T2" fmla="*/ 0 w 9"/>
                <a:gd name="T3" fmla="*/ 108 h 9"/>
                <a:gd name="T4" fmla="*/ 0 w 9"/>
                <a:gd name="T5" fmla="*/ 81 h 9"/>
                <a:gd name="T6" fmla="*/ 148 w 9"/>
                <a:gd name="T7" fmla="*/ 0 h 9"/>
                <a:gd name="T8" fmla="*/ 327 w 9"/>
                <a:gd name="T9" fmla="*/ 81 h 9"/>
                <a:gd name="T10" fmla="*/ 148 w 9"/>
                <a:gd name="T11" fmla="*/ 188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665" name="Freeform 648"/>
            <p:cNvSpPr>
              <a:spLocks noChangeArrowheads="1"/>
            </p:cNvSpPr>
            <p:nvPr/>
          </p:nvSpPr>
          <p:spPr bwMode="auto">
            <a:xfrm>
              <a:off x="5374" y="498"/>
              <a:ext cx="11" cy="13"/>
            </a:xfrm>
            <a:custGeom>
              <a:avLst/>
              <a:gdLst>
                <a:gd name="T0" fmla="*/ 69 w 8"/>
                <a:gd name="T1" fmla="*/ 188 h 9"/>
                <a:gd name="T2" fmla="*/ 0 w 8"/>
                <a:gd name="T3" fmla="*/ 108 h 9"/>
                <a:gd name="T4" fmla="*/ 0 w 8"/>
                <a:gd name="T5" fmla="*/ 81 h 9"/>
                <a:gd name="T6" fmla="*/ 69 w 8"/>
                <a:gd name="T7" fmla="*/ 0 h 9"/>
                <a:gd name="T8" fmla="*/ 131 w 8"/>
                <a:gd name="T9" fmla="*/ 81 h 9"/>
                <a:gd name="T10" fmla="*/ 69 w 8"/>
                <a:gd name="T11" fmla="*/ 188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666" name="Freeform 649"/>
            <p:cNvSpPr>
              <a:spLocks noChangeArrowheads="1"/>
            </p:cNvSpPr>
            <p:nvPr/>
          </p:nvSpPr>
          <p:spPr bwMode="auto">
            <a:xfrm>
              <a:off x="5291" y="498"/>
              <a:ext cx="13" cy="13"/>
            </a:xfrm>
            <a:custGeom>
              <a:avLst/>
              <a:gdLst>
                <a:gd name="T0" fmla="*/ 81 w 9"/>
                <a:gd name="T1" fmla="*/ 188 h 9"/>
                <a:gd name="T2" fmla="*/ 0 w 9"/>
                <a:gd name="T3" fmla="*/ 108 h 9"/>
                <a:gd name="T4" fmla="*/ 0 w 9"/>
                <a:gd name="T5" fmla="*/ 81 h 9"/>
                <a:gd name="T6" fmla="*/ 81 w 9"/>
                <a:gd name="T7" fmla="*/ 0 h 9"/>
                <a:gd name="T8" fmla="*/ 188 w 9"/>
                <a:gd name="T9" fmla="*/ 81 h 9"/>
                <a:gd name="T10" fmla="*/ 81 w 9"/>
                <a:gd name="T11" fmla="*/ 188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667" name="Freeform 650"/>
            <p:cNvSpPr>
              <a:spLocks noChangeArrowheads="1"/>
            </p:cNvSpPr>
            <p:nvPr/>
          </p:nvSpPr>
          <p:spPr bwMode="auto">
            <a:xfrm>
              <a:off x="5229" y="512"/>
              <a:ext cx="13" cy="12"/>
            </a:xfrm>
            <a:custGeom>
              <a:avLst/>
              <a:gdLst>
                <a:gd name="T0" fmla="*/ 81 w 9"/>
                <a:gd name="T1" fmla="*/ 116 h 9"/>
                <a:gd name="T2" fmla="*/ 81 w 9"/>
                <a:gd name="T3" fmla="*/ 116 h 9"/>
                <a:gd name="T4" fmla="*/ 0 w 9"/>
                <a:gd name="T5" fmla="*/ 49 h 9"/>
                <a:gd name="T6" fmla="*/ 81 w 9"/>
                <a:gd name="T7" fmla="*/ 0 h 9"/>
                <a:gd name="T8" fmla="*/ 188 w 9"/>
                <a:gd name="T9" fmla="*/ 49 h 9"/>
                <a:gd name="T10" fmla="*/ 81 w 9"/>
                <a:gd name="T11" fmla="*/ 116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668" name="Freeform 651"/>
            <p:cNvSpPr>
              <a:spLocks noChangeArrowheads="1"/>
            </p:cNvSpPr>
            <p:nvPr/>
          </p:nvSpPr>
          <p:spPr bwMode="auto">
            <a:xfrm>
              <a:off x="5146" y="512"/>
              <a:ext cx="14" cy="12"/>
            </a:xfrm>
            <a:custGeom>
              <a:avLst/>
              <a:gdLst>
                <a:gd name="T0" fmla="*/ 182 w 9"/>
                <a:gd name="T1" fmla="*/ 116 h 9"/>
                <a:gd name="T2" fmla="*/ 148 w 9"/>
                <a:gd name="T3" fmla="*/ 116 h 9"/>
                <a:gd name="T4" fmla="*/ 0 w 9"/>
                <a:gd name="T5" fmla="*/ 49 h 9"/>
                <a:gd name="T6" fmla="*/ 0 w 9"/>
                <a:gd name="T7" fmla="*/ 49 h 9"/>
                <a:gd name="T8" fmla="*/ 148 w 9"/>
                <a:gd name="T9" fmla="*/ 0 h 9"/>
                <a:gd name="T10" fmla="*/ 327 w 9"/>
                <a:gd name="T11" fmla="*/ 49 h 9"/>
                <a:gd name="T12" fmla="*/ 182 w 9"/>
                <a:gd name="T13" fmla="*/ 116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669" name="Freeform 652"/>
            <p:cNvSpPr>
              <a:spLocks noChangeArrowheads="1"/>
            </p:cNvSpPr>
            <p:nvPr/>
          </p:nvSpPr>
          <p:spPr bwMode="auto">
            <a:xfrm>
              <a:off x="5085" y="498"/>
              <a:ext cx="13" cy="13"/>
            </a:xfrm>
            <a:custGeom>
              <a:avLst/>
              <a:gdLst>
                <a:gd name="T0" fmla="*/ 81 w 9"/>
                <a:gd name="T1" fmla="*/ 188 h 9"/>
                <a:gd name="T2" fmla="*/ 0 w 9"/>
                <a:gd name="T3" fmla="*/ 108 h 9"/>
                <a:gd name="T4" fmla="*/ 0 w 9"/>
                <a:gd name="T5" fmla="*/ 81 h 9"/>
                <a:gd name="T6" fmla="*/ 81 w 9"/>
                <a:gd name="T7" fmla="*/ 0 h 9"/>
                <a:gd name="T8" fmla="*/ 188 w 9"/>
                <a:gd name="T9" fmla="*/ 81 h 9"/>
                <a:gd name="T10" fmla="*/ 81 w 9"/>
                <a:gd name="T11" fmla="*/ 188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670" name="Freeform 653"/>
            <p:cNvSpPr>
              <a:spLocks noChangeArrowheads="1"/>
            </p:cNvSpPr>
            <p:nvPr/>
          </p:nvSpPr>
          <p:spPr bwMode="auto">
            <a:xfrm>
              <a:off x="4940" y="512"/>
              <a:ext cx="12" cy="12"/>
            </a:xfrm>
            <a:custGeom>
              <a:avLst/>
              <a:gdLst>
                <a:gd name="T0" fmla="*/ 64 w 9"/>
                <a:gd name="T1" fmla="*/ 116 h 9"/>
                <a:gd name="T2" fmla="*/ 49 w 9"/>
                <a:gd name="T3" fmla="*/ 116 h 9"/>
                <a:gd name="T4" fmla="*/ 0 w 9"/>
                <a:gd name="T5" fmla="*/ 49 h 9"/>
                <a:gd name="T6" fmla="*/ 64 w 9"/>
                <a:gd name="T7" fmla="*/ 0 h 9"/>
                <a:gd name="T8" fmla="*/ 113 w 9"/>
                <a:gd name="T9" fmla="*/ 49 h 9"/>
                <a:gd name="T10" fmla="*/ 64 w 9"/>
                <a:gd name="T11" fmla="*/ 116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671" name="Freeform 654"/>
            <p:cNvSpPr>
              <a:spLocks noChangeArrowheads="1"/>
            </p:cNvSpPr>
            <p:nvPr/>
          </p:nvSpPr>
          <p:spPr bwMode="auto">
            <a:xfrm>
              <a:off x="4983" y="512"/>
              <a:ext cx="11" cy="12"/>
            </a:xfrm>
            <a:custGeom>
              <a:avLst/>
              <a:gdLst>
                <a:gd name="T0" fmla="*/ 69 w 8"/>
                <a:gd name="T1" fmla="*/ 116 h 9"/>
                <a:gd name="T2" fmla="*/ 69 w 8"/>
                <a:gd name="T3" fmla="*/ 116 h 9"/>
                <a:gd name="T4" fmla="*/ 0 w 8"/>
                <a:gd name="T5" fmla="*/ 49 h 9"/>
                <a:gd name="T6" fmla="*/ 0 w 8"/>
                <a:gd name="T7" fmla="*/ 49 h 9"/>
                <a:gd name="T8" fmla="*/ 69 w 8"/>
                <a:gd name="T9" fmla="*/ 0 h 9"/>
                <a:gd name="T10" fmla="*/ 131 w 8"/>
                <a:gd name="T11" fmla="*/ 49 h 9"/>
                <a:gd name="T12" fmla="*/ 69 w 8"/>
                <a:gd name="T13" fmla="*/ 116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672" name="Freeform 655"/>
            <p:cNvSpPr>
              <a:spLocks noChangeArrowheads="1"/>
            </p:cNvSpPr>
            <p:nvPr/>
          </p:nvSpPr>
          <p:spPr bwMode="auto">
            <a:xfrm>
              <a:off x="5353" y="512"/>
              <a:ext cx="12" cy="12"/>
            </a:xfrm>
            <a:custGeom>
              <a:avLst/>
              <a:gdLst>
                <a:gd name="T0" fmla="*/ 49 w 9"/>
                <a:gd name="T1" fmla="*/ 116 h 9"/>
                <a:gd name="T2" fmla="*/ 49 w 9"/>
                <a:gd name="T3" fmla="*/ 116 h 9"/>
                <a:gd name="T4" fmla="*/ 0 w 9"/>
                <a:gd name="T5" fmla="*/ 49 h 9"/>
                <a:gd name="T6" fmla="*/ 0 w 9"/>
                <a:gd name="T7" fmla="*/ 49 h 9"/>
                <a:gd name="T8" fmla="*/ 49 w 9"/>
                <a:gd name="T9" fmla="*/ 0 h 9"/>
                <a:gd name="T10" fmla="*/ 113 w 9"/>
                <a:gd name="T11" fmla="*/ 49 h 9"/>
                <a:gd name="T12" fmla="*/ 49 w 9"/>
                <a:gd name="T13" fmla="*/ 116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673" name="Freeform 656"/>
            <p:cNvSpPr>
              <a:spLocks noChangeArrowheads="1"/>
            </p:cNvSpPr>
            <p:nvPr/>
          </p:nvSpPr>
          <p:spPr bwMode="auto">
            <a:xfrm>
              <a:off x="5270" y="512"/>
              <a:ext cx="12" cy="12"/>
            </a:xfrm>
            <a:custGeom>
              <a:avLst/>
              <a:gdLst>
                <a:gd name="T0" fmla="*/ 65 w 9"/>
                <a:gd name="T1" fmla="*/ 116 h 9"/>
                <a:gd name="T2" fmla="*/ 49 w 9"/>
                <a:gd name="T3" fmla="*/ 116 h 9"/>
                <a:gd name="T4" fmla="*/ 0 w 9"/>
                <a:gd name="T5" fmla="*/ 49 h 9"/>
                <a:gd name="T6" fmla="*/ 0 w 9"/>
                <a:gd name="T7" fmla="*/ 49 h 9"/>
                <a:gd name="T8" fmla="*/ 65 w 9"/>
                <a:gd name="T9" fmla="*/ 0 h 9"/>
                <a:gd name="T10" fmla="*/ 116 w 9"/>
                <a:gd name="T11" fmla="*/ 49 h 9"/>
                <a:gd name="T12" fmla="*/ 65 w 9"/>
                <a:gd name="T13" fmla="*/ 116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674" name="Freeform 657"/>
            <p:cNvSpPr>
              <a:spLocks noChangeArrowheads="1"/>
            </p:cNvSpPr>
            <p:nvPr/>
          </p:nvSpPr>
          <p:spPr bwMode="auto">
            <a:xfrm>
              <a:off x="5208" y="498"/>
              <a:ext cx="12" cy="13"/>
            </a:xfrm>
            <a:custGeom>
              <a:avLst/>
              <a:gdLst>
                <a:gd name="T0" fmla="*/ 65 w 9"/>
                <a:gd name="T1" fmla="*/ 188 h 9"/>
                <a:gd name="T2" fmla="*/ 0 w 9"/>
                <a:gd name="T3" fmla="*/ 108 h 9"/>
                <a:gd name="T4" fmla="*/ 0 w 9"/>
                <a:gd name="T5" fmla="*/ 81 h 9"/>
                <a:gd name="T6" fmla="*/ 65 w 9"/>
                <a:gd name="T7" fmla="*/ 0 h 9"/>
                <a:gd name="T8" fmla="*/ 116 w 9"/>
                <a:gd name="T9" fmla="*/ 81 h 9"/>
                <a:gd name="T10" fmla="*/ 65 w 9"/>
                <a:gd name="T11" fmla="*/ 188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675" name="Oval 658"/>
            <p:cNvSpPr>
              <a:spLocks noChangeArrowheads="1"/>
            </p:cNvSpPr>
            <p:nvPr/>
          </p:nvSpPr>
          <p:spPr bwMode="auto">
            <a:xfrm>
              <a:off x="5125" y="498"/>
              <a:ext cx="13" cy="1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US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676" name="Freeform 659"/>
            <p:cNvSpPr>
              <a:spLocks noChangeArrowheads="1"/>
            </p:cNvSpPr>
            <p:nvPr/>
          </p:nvSpPr>
          <p:spPr bwMode="auto">
            <a:xfrm>
              <a:off x="5063" y="512"/>
              <a:ext cx="14" cy="12"/>
            </a:xfrm>
            <a:custGeom>
              <a:avLst/>
              <a:gdLst>
                <a:gd name="T0" fmla="*/ 182 w 9"/>
                <a:gd name="T1" fmla="*/ 116 h 9"/>
                <a:gd name="T2" fmla="*/ 182 w 9"/>
                <a:gd name="T3" fmla="*/ 116 h 9"/>
                <a:gd name="T4" fmla="*/ 0 w 9"/>
                <a:gd name="T5" fmla="*/ 49 h 9"/>
                <a:gd name="T6" fmla="*/ 0 w 9"/>
                <a:gd name="T7" fmla="*/ 49 h 9"/>
                <a:gd name="T8" fmla="*/ 182 w 9"/>
                <a:gd name="T9" fmla="*/ 0 h 9"/>
                <a:gd name="T10" fmla="*/ 327 w 9"/>
                <a:gd name="T11" fmla="*/ 49 h 9"/>
                <a:gd name="T12" fmla="*/ 182 w 9"/>
                <a:gd name="T13" fmla="*/ 116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5" y="9"/>
                    <a:pt x="5" y="9"/>
                    <a:pt x="5" y="9"/>
                  </a:cubicBezTo>
                  <a:cubicBezTo>
                    <a:pt x="2" y="9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677" name="Freeform 660"/>
            <p:cNvSpPr>
              <a:spLocks noChangeArrowheads="1"/>
            </p:cNvSpPr>
            <p:nvPr/>
          </p:nvSpPr>
          <p:spPr bwMode="auto">
            <a:xfrm>
              <a:off x="5476" y="533"/>
              <a:ext cx="12" cy="11"/>
            </a:xfrm>
            <a:custGeom>
              <a:avLst/>
              <a:gdLst>
                <a:gd name="T0" fmla="*/ 49 w 9"/>
                <a:gd name="T1" fmla="*/ 131 h 8"/>
                <a:gd name="T2" fmla="*/ 0 w 9"/>
                <a:gd name="T3" fmla="*/ 69 h 8"/>
                <a:gd name="T4" fmla="*/ 0 w 9"/>
                <a:gd name="T5" fmla="*/ 69 h 8"/>
                <a:gd name="T6" fmla="*/ 49 w 9"/>
                <a:gd name="T7" fmla="*/ 0 h 8"/>
                <a:gd name="T8" fmla="*/ 116 w 9"/>
                <a:gd name="T9" fmla="*/ 69 h 8"/>
                <a:gd name="T10" fmla="*/ 49 w 9"/>
                <a:gd name="T11" fmla="*/ 131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8">
                  <a:moveTo>
                    <a:pt x="4" y="8"/>
                  </a:moveTo>
                  <a:cubicBezTo>
                    <a:pt x="2" y="8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6"/>
                    <a:pt x="7" y="8"/>
                    <a:pt x="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678" name="Freeform 661"/>
            <p:cNvSpPr>
              <a:spLocks noChangeArrowheads="1"/>
            </p:cNvSpPr>
            <p:nvPr/>
          </p:nvSpPr>
          <p:spPr bwMode="auto">
            <a:xfrm>
              <a:off x="5436" y="533"/>
              <a:ext cx="12" cy="11"/>
            </a:xfrm>
            <a:custGeom>
              <a:avLst/>
              <a:gdLst>
                <a:gd name="T0" fmla="*/ 120 w 8"/>
                <a:gd name="T1" fmla="*/ 131 h 8"/>
                <a:gd name="T2" fmla="*/ 0 w 8"/>
                <a:gd name="T3" fmla="*/ 69 h 8"/>
                <a:gd name="T4" fmla="*/ 0 w 8"/>
                <a:gd name="T5" fmla="*/ 69 h 8"/>
                <a:gd name="T6" fmla="*/ 120 w 8"/>
                <a:gd name="T7" fmla="*/ 0 h 8"/>
                <a:gd name="T8" fmla="*/ 230 w 8"/>
                <a:gd name="T9" fmla="*/ 69 h 8"/>
                <a:gd name="T10" fmla="*/ 120 w 8"/>
                <a:gd name="T11" fmla="*/ 131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" h="8">
                  <a:moveTo>
                    <a:pt x="4" y="8"/>
                  </a:moveTo>
                  <a:cubicBezTo>
                    <a:pt x="2" y="8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6"/>
                    <a:pt x="6" y="8"/>
                    <a:pt x="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679" name="Freeform 662"/>
            <p:cNvSpPr>
              <a:spLocks noChangeArrowheads="1"/>
            </p:cNvSpPr>
            <p:nvPr/>
          </p:nvSpPr>
          <p:spPr bwMode="auto">
            <a:xfrm>
              <a:off x="5415" y="519"/>
              <a:ext cx="12" cy="13"/>
            </a:xfrm>
            <a:custGeom>
              <a:avLst/>
              <a:gdLst>
                <a:gd name="T0" fmla="*/ 64 w 9"/>
                <a:gd name="T1" fmla="*/ 188 h 9"/>
                <a:gd name="T2" fmla="*/ 49 w 9"/>
                <a:gd name="T3" fmla="*/ 188 h 9"/>
                <a:gd name="T4" fmla="*/ 0 w 9"/>
                <a:gd name="T5" fmla="*/ 81 h 9"/>
                <a:gd name="T6" fmla="*/ 0 w 9"/>
                <a:gd name="T7" fmla="*/ 81 h 9"/>
                <a:gd name="T8" fmla="*/ 49 w 9"/>
                <a:gd name="T9" fmla="*/ 0 h 9"/>
                <a:gd name="T10" fmla="*/ 113 w 9"/>
                <a:gd name="T11" fmla="*/ 81 h 9"/>
                <a:gd name="T12" fmla="*/ 64 w 9"/>
                <a:gd name="T13" fmla="*/ 188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8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680" name="Freeform 663"/>
            <p:cNvSpPr>
              <a:spLocks noChangeArrowheads="1"/>
            </p:cNvSpPr>
            <p:nvPr/>
          </p:nvSpPr>
          <p:spPr bwMode="auto">
            <a:xfrm>
              <a:off x="5331" y="519"/>
              <a:ext cx="14" cy="13"/>
            </a:xfrm>
            <a:custGeom>
              <a:avLst/>
              <a:gdLst>
                <a:gd name="T0" fmla="*/ 182 w 9"/>
                <a:gd name="T1" fmla="*/ 188 h 9"/>
                <a:gd name="T2" fmla="*/ 182 w 9"/>
                <a:gd name="T3" fmla="*/ 188 h 9"/>
                <a:gd name="T4" fmla="*/ 0 w 9"/>
                <a:gd name="T5" fmla="*/ 81 h 9"/>
                <a:gd name="T6" fmla="*/ 0 w 9"/>
                <a:gd name="T7" fmla="*/ 81 h 9"/>
                <a:gd name="T8" fmla="*/ 182 w 9"/>
                <a:gd name="T9" fmla="*/ 0 h 9"/>
                <a:gd name="T10" fmla="*/ 327 w 9"/>
                <a:gd name="T11" fmla="*/ 81 h 9"/>
                <a:gd name="T12" fmla="*/ 182 w 9"/>
                <a:gd name="T13" fmla="*/ 188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5" y="9"/>
                    <a:pt x="5" y="9"/>
                    <a:pt x="5" y="9"/>
                  </a:cubicBezTo>
                  <a:cubicBezTo>
                    <a:pt x="2" y="9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8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681" name="Freeform 664"/>
            <p:cNvSpPr>
              <a:spLocks noChangeArrowheads="1"/>
            </p:cNvSpPr>
            <p:nvPr/>
          </p:nvSpPr>
          <p:spPr bwMode="auto">
            <a:xfrm>
              <a:off x="5189" y="533"/>
              <a:ext cx="11" cy="11"/>
            </a:xfrm>
            <a:custGeom>
              <a:avLst/>
              <a:gdLst>
                <a:gd name="T0" fmla="*/ 69 w 8"/>
                <a:gd name="T1" fmla="*/ 131 h 8"/>
                <a:gd name="T2" fmla="*/ 0 w 8"/>
                <a:gd name="T3" fmla="*/ 69 h 8"/>
                <a:gd name="T4" fmla="*/ 0 w 8"/>
                <a:gd name="T5" fmla="*/ 69 h 8"/>
                <a:gd name="T6" fmla="*/ 69 w 8"/>
                <a:gd name="T7" fmla="*/ 0 h 8"/>
                <a:gd name="T8" fmla="*/ 131 w 8"/>
                <a:gd name="T9" fmla="*/ 69 h 8"/>
                <a:gd name="T10" fmla="*/ 69 w 8"/>
                <a:gd name="T11" fmla="*/ 131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" h="8">
                  <a:moveTo>
                    <a:pt x="4" y="8"/>
                  </a:moveTo>
                  <a:cubicBezTo>
                    <a:pt x="1" y="8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6"/>
                    <a:pt x="6" y="8"/>
                    <a:pt x="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682" name="Freeform 665"/>
            <p:cNvSpPr>
              <a:spLocks noChangeArrowheads="1"/>
            </p:cNvSpPr>
            <p:nvPr/>
          </p:nvSpPr>
          <p:spPr bwMode="auto">
            <a:xfrm>
              <a:off x="5455" y="519"/>
              <a:ext cx="13" cy="13"/>
            </a:xfrm>
            <a:custGeom>
              <a:avLst/>
              <a:gdLst>
                <a:gd name="T0" fmla="*/ 108 w 9"/>
                <a:gd name="T1" fmla="*/ 188 h 9"/>
                <a:gd name="T2" fmla="*/ 108 w 9"/>
                <a:gd name="T3" fmla="*/ 188 h 9"/>
                <a:gd name="T4" fmla="*/ 0 w 9"/>
                <a:gd name="T5" fmla="*/ 81 h 9"/>
                <a:gd name="T6" fmla="*/ 108 w 9"/>
                <a:gd name="T7" fmla="*/ 0 h 9"/>
                <a:gd name="T8" fmla="*/ 188 w 9"/>
                <a:gd name="T9" fmla="*/ 81 h 9"/>
                <a:gd name="T10" fmla="*/ 108 w 9"/>
                <a:gd name="T11" fmla="*/ 188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5" y="9"/>
                    <a:pt x="5" y="9"/>
                    <a:pt x="5" y="9"/>
                  </a:cubicBezTo>
                  <a:cubicBezTo>
                    <a:pt x="2" y="8"/>
                    <a:pt x="0" y="7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8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683" name="Freeform 666"/>
            <p:cNvSpPr>
              <a:spLocks noChangeArrowheads="1"/>
            </p:cNvSpPr>
            <p:nvPr/>
          </p:nvSpPr>
          <p:spPr bwMode="auto">
            <a:xfrm>
              <a:off x="5744" y="519"/>
              <a:ext cx="13" cy="13"/>
            </a:xfrm>
            <a:custGeom>
              <a:avLst/>
              <a:gdLst>
                <a:gd name="T0" fmla="*/ 108 w 9"/>
                <a:gd name="T1" fmla="*/ 188 h 9"/>
                <a:gd name="T2" fmla="*/ 81 w 9"/>
                <a:gd name="T3" fmla="*/ 188 h 9"/>
                <a:gd name="T4" fmla="*/ 0 w 9"/>
                <a:gd name="T5" fmla="*/ 81 h 9"/>
                <a:gd name="T6" fmla="*/ 81 w 9"/>
                <a:gd name="T7" fmla="*/ 0 h 9"/>
                <a:gd name="T8" fmla="*/ 188 w 9"/>
                <a:gd name="T9" fmla="*/ 81 h 9"/>
                <a:gd name="T10" fmla="*/ 108 w 9"/>
                <a:gd name="T11" fmla="*/ 188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8"/>
                    <a:pt x="0" y="7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8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684" name="Freeform 667"/>
            <p:cNvSpPr>
              <a:spLocks noChangeArrowheads="1"/>
            </p:cNvSpPr>
            <p:nvPr/>
          </p:nvSpPr>
          <p:spPr bwMode="auto">
            <a:xfrm>
              <a:off x="5723" y="533"/>
              <a:ext cx="12" cy="11"/>
            </a:xfrm>
            <a:custGeom>
              <a:avLst/>
              <a:gdLst>
                <a:gd name="T0" fmla="*/ 64 w 9"/>
                <a:gd name="T1" fmla="*/ 131 h 8"/>
                <a:gd name="T2" fmla="*/ 0 w 9"/>
                <a:gd name="T3" fmla="*/ 69 h 8"/>
                <a:gd name="T4" fmla="*/ 0 w 9"/>
                <a:gd name="T5" fmla="*/ 69 h 8"/>
                <a:gd name="T6" fmla="*/ 64 w 9"/>
                <a:gd name="T7" fmla="*/ 0 h 8"/>
                <a:gd name="T8" fmla="*/ 113 w 9"/>
                <a:gd name="T9" fmla="*/ 69 h 8"/>
                <a:gd name="T10" fmla="*/ 64 w 9"/>
                <a:gd name="T11" fmla="*/ 131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8">
                  <a:moveTo>
                    <a:pt x="5" y="8"/>
                  </a:moveTo>
                  <a:cubicBezTo>
                    <a:pt x="2" y="8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6"/>
                    <a:pt x="7" y="8"/>
                    <a:pt x="5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685" name="Freeform 668"/>
            <p:cNvSpPr>
              <a:spLocks noChangeArrowheads="1"/>
            </p:cNvSpPr>
            <p:nvPr/>
          </p:nvSpPr>
          <p:spPr bwMode="auto">
            <a:xfrm>
              <a:off x="5703" y="519"/>
              <a:ext cx="11" cy="13"/>
            </a:xfrm>
            <a:custGeom>
              <a:avLst/>
              <a:gdLst>
                <a:gd name="T0" fmla="*/ 69 w 8"/>
                <a:gd name="T1" fmla="*/ 188 h 9"/>
                <a:gd name="T2" fmla="*/ 69 w 8"/>
                <a:gd name="T3" fmla="*/ 188 h 9"/>
                <a:gd name="T4" fmla="*/ 0 w 8"/>
                <a:gd name="T5" fmla="*/ 81 h 9"/>
                <a:gd name="T6" fmla="*/ 0 w 8"/>
                <a:gd name="T7" fmla="*/ 81 h 9"/>
                <a:gd name="T8" fmla="*/ 69 w 8"/>
                <a:gd name="T9" fmla="*/ 0 h 9"/>
                <a:gd name="T10" fmla="*/ 131 w 8"/>
                <a:gd name="T11" fmla="*/ 81 h 9"/>
                <a:gd name="T12" fmla="*/ 69 w 8"/>
                <a:gd name="T13" fmla="*/ 188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7"/>
                    <a:pt x="7" y="8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686" name="Oval 669"/>
            <p:cNvSpPr>
              <a:spLocks noChangeArrowheads="1"/>
            </p:cNvSpPr>
            <p:nvPr/>
          </p:nvSpPr>
          <p:spPr bwMode="auto">
            <a:xfrm>
              <a:off x="5682" y="533"/>
              <a:ext cx="12" cy="11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US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687" name="Freeform 670"/>
            <p:cNvSpPr>
              <a:spLocks noChangeArrowheads="1"/>
            </p:cNvSpPr>
            <p:nvPr/>
          </p:nvSpPr>
          <p:spPr bwMode="auto">
            <a:xfrm>
              <a:off x="5661" y="519"/>
              <a:ext cx="12" cy="13"/>
            </a:xfrm>
            <a:custGeom>
              <a:avLst/>
              <a:gdLst>
                <a:gd name="T0" fmla="*/ 64 w 9"/>
                <a:gd name="T1" fmla="*/ 188 h 9"/>
                <a:gd name="T2" fmla="*/ 64 w 9"/>
                <a:gd name="T3" fmla="*/ 188 h 9"/>
                <a:gd name="T4" fmla="*/ 0 w 9"/>
                <a:gd name="T5" fmla="*/ 81 h 9"/>
                <a:gd name="T6" fmla="*/ 0 w 9"/>
                <a:gd name="T7" fmla="*/ 81 h 9"/>
                <a:gd name="T8" fmla="*/ 64 w 9"/>
                <a:gd name="T9" fmla="*/ 0 h 9"/>
                <a:gd name="T10" fmla="*/ 113 w 9"/>
                <a:gd name="T11" fmla="*/ 81 h 9"/>
                <a:gd name="T12" fmla="*/ 64 w 9"/>
                <a:gd name="T13" fmla="*/ 188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5" y="9"/>
                    <a:pt x="5" y="9"/>
                    <a:pt x="5" y="9"/>
                  </a:cubicBezTo>
                  <a:cubicBezTo>
                    <a:pt x="2" y="9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8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688" name="Freeform 671"/>
            <p:cNvSpPr>
              <a:spLocks noChangeArrowheads="1"/>
            </p:cNvSpPr>
            <p:nvPr/>
          </p:nvSpPr>
          <p:spPr bwMode="auto">
            <a:xfrm>
              <a:off x="5393" y="533"/>
              <a:ext cx="13" cy="11"/>
            </a:xfrm>
            <a:custGeom>
              <a:avLst/>
              <a:gdLst>
                <a:gd name="T0" fmla="*/ 108 w 9"/>
                <a:gd name="T1" fmla="*/ 131 h 8"/>
                <a:gd name="T2" fmla="*/ 0 w 9"/>
                <a:gd name="T3" fmla="*/ 69 h 8"/>
                <a:gd name="T4" fmla="*/ 0 w 9"/>
                <a:gd name="T5" fmla="*/ 69 h 8"/>
                <a:gd name="T6" fmla="*/ 108 w 9"/>
                <a:gd name="T7" fmla="*/ 0 h 8"/>
                <a:gd name="T8" fmla="*/ 188 w 9"/>
                <a:gd name="T9" fmla="*/ 69 h 8"/>
                <a:gd name="T10" fmla="*/ 108 w 9"/>
                <a:gd name="T11" fmla="*/ 131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8">
                  <a:moveTo>
                    <a:pt x="5" y="8"/>
                  </a:moveTo>
                  <a:cubicBezTo>
                    <a:pt x="2" y="8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6"/>
                    <a:pt x="7" y="8"/>
                    <a:pt x="5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689" name="Freeform 672"/>
            <p:cNvSpPr>
              <a:spLocks noChangeArrowheads="1"/>
            </p:cNvSpPr>
            <p:nvPr/>
          </p:nvSpPr>
          <p:spPr bwMode="auto">
            <a:xfrm>
              <a:off x="5312" y="533"/>
              <a:ext cx="11" cy="11"/>
            </a:xfrm>
            <a:custGeom>
              <a:avLst/>
              <a:gdLst>
                <a:gd name="T0" fmla="*/ 69 w 8"/>
                <a:gd name="T1" fmla="*/ 131 h 8"/>
                <a:gd name="T2" fmla="*/ 0 w 8"/>
                <a:gd name="T3" fmla="*/ 69 h 8"/>
                <a:gd name="T4" fmla="*/ 0 w 8"/>
                <a:gd name="T5" fmla="*/ 69 h 8"/>
                <a:gd name="T6" fmla="*/ 69 w 8"/>
                <a:gd name="T7" fmla="*/ 0 h 8"/>
                <a:gd name="T8" fmla="*/ 131 w 8"/>
                <a:gd name="T9" fmla="*/ 69 h 8"/>
                <a:gd name="T10" fmla="*/ 69 w 8"/>
                <a:gd name="T11" fmla="*/ 131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" h="8">
                  <a:moveTo>
                    <a:pt x="4" y="8"/>
                  </a:moveTo>
                  <a:cubicBezTo>
                    <a:pt x="2" y="8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6"/>
                    <a:pt x="6" y="8"/>
                    <a:pt x="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690" name="Freeform 673"/>
            <p:cNvSpPr>
              <a:spLocks noChangeArrowheads="1"/>
            </p:cNvSpPr>
            <p:nvPr/>
          </p:nvSpPr>
          <p:spPr bwMode="auto">
            <a:xfrm>
              <a:off x="5250" y="519"/>
              <a:ext cx="11" cy="13"/>
            </a:xfrm>
            <a:custGeom>
              <a:avLst/>
              <a:gdLst>
                <a:gd name="T0" fmla="*/ 69 w 8"/>
                <a:gd name="T1" fmla="*/ 188 h 9"/>
                <a:gd name="T2" fmla="*/ 69 w 8"/>
                <a:gd name="T3" fmla="*/ 188 h 9"/>
                <a:gd name="T4" fmla="*/ 0 w 8"/>
                <a:gd name="T5" fmla="*/ 81 h 9"/>
                <a:gd name="T6" fmla="*/ 0 w 8"/>
                <a:gd name="T7" fmla="*/ 81 h 9"/>
                <a:gd name="T8" fmla="*/ 69 w 8"/>
                <a:gd name="T9" fmla="*/ 0 h 9"/>
                <a:gd name="T10" fmla="*/ 131 w 8"/>
                <a:gd name="T11" fmla="*/ 81 h 9"/>
                <a:gd name="T12" fmla="*/ 69 w 8"/>
                <a:gd name="T13" fmla="*/ 188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1" y="9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7"/>
                    <a:pt x="6" y="8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691" name="Freeform 674"/>
            <p:cNvSpPr>
              <a:spLocks noChangeArrowheads="1"/>
            </p:cNvSpPr>
            <p:nvPr/>
          </p:nvSpPr>
          <p:spPr bwMode="auto">
            <a:xfrm>
              <a:off x="5168" y="519"/>
              <a:ext cx="11" cy="13"/>
            </a:xfrm>
            <a:custGeom>
              <a:avLst/>
              <a:gdLst>
                <a:gd name="T0" fmla="*/ 69 w 8"/>
                <a:gd name="T1" fmla="*/ 188 h 9"/>
                <a:gd name="T2" fmla="*/ 69 w 8"/>
                <a:gd name="T3" fmla="*/ 188 h 9"/>
                <a:gd name="T4" fmla="*/ 0 w 8"/>
                <a:gd name="T5" fmla="*/ 81 h 9"/>
                <a:gd name="T6" fmla="*/ 0 w 8"/>
                <a:gd name="T7" fmla="*/ 81 h 9"/>
                <a:gd name="T8" fmla="*/ 69 w 8"/>
                <a:gd name="T9" fmla="*/ 0 h 9"/>
                <a:gd name="T10" fmla="*/ 131 w 8"/>
                <a:gd name="T11" fmla="*/ 81 h 9"/>
                <a:gd name="T12" fmla="*/ 69 w 8"/>
                <a:gd name="T13" fmla="*/ 188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8" y="2"/>
                    <a:pt x="8" y="4"/>
                  </a:cubicBezTo>
                  <a:cubicBezTo>
                    <a:pt x="8" y="7"/>
                    <a:pt x="7" y="8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692" name="Freeform 675"/>
            <p:cNvSpPr>
              <a:spLocks noChangeArrowheads="1"/>
            </p:cNvSpPr>
            <p:nvPr/>
          </p:nvSpPr>
          <p:spPr bwMode="auto">
            <a:xfrm>
              <a:off x="5106" y="533"/>
              <a:ext cx="11" cy="11"/>
            </a:xfrm>
            <a:custGeom>
              <a:avLst/>
              <a:gdLst>
                <a:gd name="T0" fmla="*/ 69 w 8"/>
                <a:gd name="T1" fmla="*/ 131 h 8"/>
                <a:gd name="T2" fmla="*/ 0 w 8"/>
                <a:gd name="T3" fmla="*/ 69 h 8"/>
                <a:gd name="T4" fmla="*/ 0 w 8"/>
                <a:gd name="T5" fmla="*/ 69 h 8"/>
                <a:gd name="T6" fmla="*/ 69 w 8"/>
                <a:gd name="T7" fmla="*/ 0 h 8"/>
                <a:gd name="T8" fmla="*/ 131 w 8"/>
                <a:gd name="T9" fmla="*/ 69 h 8"/>
                <a:gd name="T10" fmla="*/ 69 w 8"/>
                <a:gd name="T11" fmla="*/ 131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" h="8">
                  <a:moveTo>
                    <a:pt x="4" y="8"/>
                  </a:moveTo>
                  <a:cubicBezTo>
                    <a:pt x="2" y="8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6"/>
                    <a:pt x="6" y="8"/>
                    <a:pt x="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693" name="Freeform 676"/>
            <p:cNvSpPr>
              <a:spLocks noChangeArrowheads="1"/>
            </p:cNvSpPr>
            <p:nvPr/>
          </p:nvSpPr>
          <p:spPr bwMode="auto">
            <a:xfrm>
              <a:off x="4961" y="519"/>
              <a:ext cx="14" cy="13"/>
            </a:xfrm>
            <a:custGeom>
              <a:avLst/>
              <a:gdLst>
                <a:gd name="T0" fmla="*/ 148 w 9"/>
                <a:gd name="T1" fmla="*/ 188 h 9"/>
                <a:gd name="T2" fmla="*/ 148 w 9"/>
                <a:gd name="T3" fmla="*/ 188 h 9"/>
                <a:gd name="T4" fmla="*/ 0 w 9"/>
                <a:gd name="T5" fmla="*/ 81 h 9"/>
                <a:gd name="T6" fmla="*/ 0 w 9"/>
                <a:gd name="T7" fmla="*/ 81 h 9"/>
                <a:gd name="T8" fmla="*/ 148 w 9"/>
                <a:gd name="T9" fmla="*/ 0 h 9"/>
                <a:gd name="T10" fmla="*/ 327 w 9"/>
                <a:gd name="T11" fmla="*/ 81 h 9"/>
                <a:gd name="T12" fmla="*/ 148 w 9"/>
                <a:gd name="T13" fmla="*/ 188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8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694" name="Freeform 677"/>
            <p:cNvSpPr>
              <a:spLocks noChangeArrowheads="1"/>
            </p:cNvSpPr>
            <p:nvPr/>
          </p:nvSpPr>
          <p:spPr bwMode="auto">
            <a:xfrm>
              <a:off x="5374" y="519"/>
              <a:ext cx="11" cy="13"/>
            </a:xfrm>
            <a:custGeom>
              <a:avLst/>
              <a:gdLst>
                <a:gd name="T0" fmla="*/ 69 w 8"/>
                <a:gd name="T1" fmla="*/ 188 h 9"/>
                <a:gd name="T2" fmla="*/ 69 w 8"/>
                <a:gd name="T3" fmla="*/ 188 h 9"/>
                <a:gd name="T4" fmla="*/ 0 w 8"/>
                <a:gd name="T5" fmla="*/ 81 h 9"/>
                <a:gd name="T6" fmla="*/ 0 w 8"/>
                <a:gd name="T7" fmla="*/ 81 h 9"/>
                <a:gd name="T8" fmla="*/ 69 w 8"/>
                <a:gd name="T9" fmla="*/ 0 h 9"/>
                <a:gd name="T10" fmla="*/ 131 w 8"/>
                <a:gd name="T11" fmla="*/ 81 h 9"/>
                <a:gd name="T12" fmla="*/ 69 w 8"/>
                <a:gd name="T13" fmla="*/ 188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7"/>
                    <a:pt x="6" y="8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695" name="Freeform 678"/>
            <p:cNvSpPr>
              <a:spLocks noChangeArrowheads="1"/>
            </p:cNvSpPr>
            <p:nvPr/>
          </p:nvSpPr>
          <p:spPr bwMode="auto">
            <a:xfrm>
              <a:off x="5291" y="519"/>
              <a:ext cx="13" cy="13"/>
            </a:xfrm>
            <a:custGeom>
              <a:avLst/>
              <a:gdLst>
                <a:gd name="T0" fmla="*/ 81 w 9"/>
                <a:gd name="T1" fmla="*/ 188 h 9"/>
                <a:gd name="T2" fmla="*/ 81 w 9"/>
                <a:gd name="T3" fmla="*/ 188 h 9"/>
                <a:gd name="T4" fmla="*/ 0 w 9"/>
                <a:gd name="T5" fmla="*/ 81 h 9"/>
                <a:gd name="T6" fmla="*/ 0 w 9"/>
                <a:gd name="T7" fmla="*/ 81 h 9"/>
                <a:gd name="T8" fmla="*/ 81 w 9"/>
                <a:gd name="T9" fmla="*/ 0 h 9"/>
                <a:gd name="T10" fmla="*/ 188 w 9"/>
                <a:gd name="T11" fmla="*/ 81 h 9"/>
                <a:gd name="T12" fmla="*/ 81 w 9"/>
                <a:gd name="T13" fmla="*/ 188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8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696" name="Oval 679"/>
            <p:cNvSpPr>
              <a:spLocks noChangeArrowheads="1"/>
            </p:cNvSpPr>
            <p:nvPr/>
          </p:nvSpPr>
          <p:spPr bwMode="auto">
            <a:xfrm>
              <a:off x="5229" y="533"/>
              <a:ext cx="13" cy="11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US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697" name="Freeform 680"/>
            <p:cNvSpPr>
              <a:spLocks noChangeArrowheads="1"/>
            </p:cNvSpPr>
            <p:nvPr/>
          </p:nvSpPr>
          <p:spPr bwMode="auto">
            <a:xfrm>
              <a:off x="5146" y="533"/>
              <a:ext cx="14" cy="11"/>
            </a:xfrm>
            <a:custGeom>
              <a:avLst/>
              <a:gdLst>
                <a:gd name="T0" fmla="*/ 148 w 9"/>
                <a:gd name="T1" fmla="*/ 131 h 8"/>
                <a:gd name="T2" fmla="*/ 0 w 9"/>
                <a:gd name="T3" fmla="*/ 69 h 8"/>
                <a:gd name="T4" fmla="*/ 0 w 9"/>
                <a:gd name="T5" fmla="*/ 69 h 8"/>
                <a:gd name="T6" fmla="*/ 148 w 9"/>
                <a:gd name="T7" fmla="*/ 0 h 8"/>
                <a:gd name="T8" fmla="*/ 327 w 9"/>
                <a:gd name="T9" fmla="*/ 69 h 8"/>
                <a:gd name="T10" fmla="*/ 148 w 9"/>
                <a:gd name="T11" fmla="*/ 131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8">
                  <a:moveTo>
                    <a:pt x="4" y="8"/>
                  </a:moveTo>
                  <a:cubicBezTo>
                    <a:pt x="2" y="8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6"/>
                    <a:pt x="7" y="8"/>
                    <a:pt x="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698" name="Freeform 681"/>
            <p:cNvSpPr>
              <a:spLocks noChangeArrowheads="1"/>
            </p:cNvSpPr>
            <p:nvPr/>
          </p:nvSpPr>
          <p:spPr bwMode="auto">
            <a:xfrm>
              <a:off x="5085" y="519"/>
              <a:ext cx="13" cy="13"/>
            </a:xfrm>
            <a:custGeom>
              <a:avLst/>
              <a:gdLst>
                <a:gd name="T0" fmla="*/ 108 w 9"/>
                <a:gd name="T1" fmla="*/ 188 h 9"/>
                <a:gd name="T2" fmla="*/ 81 w 9"/>
                <a:gd name="T3" fmla="*/ 188 h 9"/>
                <a:gd name="T4" fmla="*/ 0 w 9"/>
                <a:gd name="T5" fmla="*/ 81 h 9"/>
                <a:gd name="T6" fmla="*/ 0 w 9"/>
                <a:gd name="T7" fmla="*/ 81 h 9"/>
                <a:gd name="T8" fmla="*/ 81 w 9"/>
                <a:gd name="T9" fmla="*/ 0 h 9"/>
                <a:gd name="T10" fmla="*/ 188 w 9"/>
                <a:gd name="T11" fmla="*/ 81 h 9"/>
                <a:gd name="T12" fmla="*/ 108 w 9"/>
                <a:gd name="T13" fmla="*/ 188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8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699" name="Freeform 682"/>
            <p:cNvSpPr>
              <a:spLocks noChangeArrowheads="1"/>
            </p:cNvSpPr>
            <p:nvPr/>
          </p:nvSpPr>
          <p:spPr bwMode="auto">
            <a:xfrm>
              <a:off x="5002" y="519"/>
              <a:ext cx="12" cy="13"/>
            </a:xfrm>
            <a:custGeom>
              <a:avLst/>
              <a:gdLst>
                <a:gd name="T0" fmla="*/ 65 w 9"/>
                <a:gd name="T1" fmla="*/ 188 h 9"/>
                <a:gd name="T2" fmla="*/ 65 w 9"/>
                <a:gd name="T3" fmla="*/ 188 h 9"/>
                <a:gd name="T4" fmla="*/ 0 w 9"/>
                <a:gd name="T5" fmla="*/ 81 h 9"/>
                <a:gd name="T6" fmla="*/ 0 w 9"/>
                <a:gd name="T7" fmla="*/ 81 h 9"/>
                <a:gd name="T8" fmla="*/ 65 w 9"/>
                <a:gd name="T9" fmla="*/ 0 h 9"/>
                <a:gd name="T10" fmla="*/ 116 w 9"/>
                <a:gd name="T11" fmla="*/ 81 h 9"/>
                <a:gd name="T12" fmla="*/ 65 w 9"/>
                <a:gd name="T13" fmla="*/ 188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5" y="9"/>
                    <a:pt x="5" y="9"/>
                    <a:pt x="5" y="9"/>
                  </a:cubicBezTo>
                  <a:cubicBezTo>
                    <a:pt x="2" y="9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8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700" name="Oval 683"/>
            <p:cNvSpPr>
              <a:spLocks noChangeArrowheads="1"/>
            </p:cNvSpPr>
            <p:nvPr/>
          </p:nvSpPr>
          <p:spPr bwMode="auto">
            <a:xfrm>
              <a:off x="4940" y="533"/>
              <a:ext cx="12" cy="11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US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701" name="Freeform 684"/>
            <p:cNvSpPr>
              <a:spLocks noChangeArrowheads="1"/>
            </p:cNvSpPr>
            <p:nvPr/>
          </p:nvSpPr>
          <p:spPr bwMode="auto">
            <a:xfrm>
              <a:off x="5353" y="533"/>
              <a:ext cx="12" cy="11"/>
            </a:xfrm>
            <a:custGeom>
              <a:avLst/>
              <a:gdLst>
                <a:gd name="T0" fmla="*/ 49 w 9"/>
                <a:gd name="T1" fmla="*/ 131 h 8"/>
                <a:gd name="T2" fmla="*/ 0 w 9"/>
                <a:gd name="T3" fmla="*/ 69 h 8"/>
                <a:gd name="T4" fmla="*/ 0 w 9"/>
                <a:gd name="T5" fmla="*/ 69 h 8"/>
                <a:gd name="T6" fmla="*/ 49 w 9"/>
                <a:gd name="T7" fmla="*/ 0 h 8"/>
                <a:gd name="T8" fmla="*/ 113 w 9"/>
                <a:gd name="T9" fmla="*/ 69 h 8"/>
                <a:gd name="T10" fmla="*/ 49 w 9"/>
                <a:gd name="T11" fmla="*/ 131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8">
                  <a:moveTo>
                    <a:pt x="4" y="8"/>
                  </a:moveTo>
                  <a:cubicBezTo>
                    <a:pt x="2" y="8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6"/>
                    <a:pt x="7" y="8"/>
                    <a:pt x="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702" name="Freeform 685"/>
            <p:cNvSpPr>
              <a:spLocks noChangeArrowheads="1"/>
            </p:cNvSpPr>
            <p:nvPr/>
          </p:nvSpPr>
          <p:spPr bwMode="auto">
            <a:xfrm>
              <a:off x="5208" y="519"/>
              <a:ext cx="12" cy="13"/>
            </a:xfrm>
            <a:custGeom>
              <a:avLst/>
              <a:gdLst>
                <a:gd name="T0" fmla="*/ 65 w 9"/>
                <a:gd name="T1" fmla="*/ 188 h 9"/>
                <a:gd name="T2" fmla="*/ 49 w 9"/>
                <a:gd name="T3" fmla="*/ 188 h 9"/>
                <a:gd name="T4" fmla="*/ 0 w 9"/>
                <a:gd name="T5" fmla="*/ 81 h 9"/>
                <a:gd name="T6" fmla="*/ 0 w 9"/>
                <a:gd name="T7" fmla="*/ 81 h 9"/>
                <a:gd name="T8" fmla="*/ 65 w 9"/>
                <a:gd name="T9" fmla="*/ 0 h 9"/>
                <a:gd name="T10" fmla="*/ 116 w 9"/>
                <a:gd name="T11" fmla="*/ 81 h 9"/>
                <a:gd name="T12" fmla="*/ 65 w 9"/>
                <a:gd name="T13" fmla="*/ 188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8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703" name="Freeform 686"/>
            <p:cNvSpPr>
              <a:spLocks noChangeArrowheads="1"/>
            </p:cNvSpPr>
            <p:nvPr/>
          </p:nvSpPr>
          <p:spPr bwMode="auto">
            <a:xfrm>
              <a:off x="5125" y="519"/>
              <a:ext cx="13" cy="13"/>
            </a:xfrm>
            <a:custGeom>
              <a:avLst/>
              <a:gdLst>
                <a:gd name="T0" fmla="*/ 108 w 9"/>
                <a:gd name="T1" fmla="*/ 188 h 9"/>
                <a:gd name="T2" fmla="*/ 108 w 9"/>
                <a:gd name="T3" fmla="*/ 188 h 9"/>
                <a:gd name="T4" fmla="*/ 0 w 9"/>
                <a:gd name="T5" fmla="*/ 81 h 9"/>
                <a:gd name="T6" fmla="*/ 108 w 9"/>
                <a:gd name="T7" fmla="*/ 0 h 9"/>
                <a:gd name="T8" fmla="*/ 188 w 9"/>
                <a:gd name="T9" fmla="*/ 81 h 9"/>
                <a:gd name="T10" fmla="*/ 108 w 9"/>
                <a:gd name="T11" fmla="*/ 188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5" y="9"/>
                    <a:pt x="5" y="9"/>
                    <a:pt x="5" y="9"/>
                  </a:cubicBezTo>
                  <a:cubicBezTo>
                    <a:pt x="2" y="8"/>
                    <a:pt x="0" y="7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8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704" name="Freeform 687"/>
            <p:cNvSpPr>
              <a:spLocks noChangeArrowheads="1"/>
            </p:cNvSpPr>
            <p:nvPr/>
          </p:nvSpPr>
          <p:spPr bwMode="auto">
            <a:xfrm>
              <a:off x="5063" y="533"/>
              <a:ext cx="14" cy="11"/>
            </a:xfrm>
            <a:custGeom>
              <a:avLst/>
              <a:gdLst>
                <a:gd name="T0" fmla="*/ 182 w 9"/>
                <a:gd name="T1" fmla="*/ 131 h 8"/>
                <a:gd name="T2" fmla="*/ 0 w 9"/>
                <a:gd name="T3" fmla="*/ 69 h 8"/>
                <a:gd name="T4" fmla="*/ 0 w 9"/>
                <a:gd name="T5" fmla="*/ 69 h 8"/>
                <a:gd name="T6" fmla="*/ 182 w 9"/>
                <a:gd name="T7" fmla="*/ 0 h 8"/>
                <a:gd name="T8" fmla="*/ 327 w 9"/>
                <a:gd name="T9" fmla="*/ 69 h 8"/>
                <a:gd name="T10" fmla="*/ 182 w 9"/>
                <a:gd name="T11" fmla="*/ 131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8">
                  <a:moveTo>
                    <a:pt x="5" y="8"/>
                  </a:moveTo>
                  <a:cubicBezTo>
                    <a:pt x="2" y="8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6"/>
                    <a:pt x="7" y="8"/>
                    <a:pt x="5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705" name="Freeform 688"/>
            <p:cNvSpPr>
              <a:spLocks noChangeArrowheads="1"/>
            </p:cNvSpPr>
            <p:nvPr/>
          </p:nvSpPr>
          <p:spPr bwMode="auto">
            <a:xfrm>
              <a:off x="4983" y="533"/>
              <a:ext cx="11" cy="11"/>
            </a:xfrm>
            <a:custGeom>
              <a:avLst/>
              <a:gdLst>
                <a:gd name="T0" fmla="*/ 69 w 8"/>
                <a:gd name="T1" fmla="*/ 131 h 8"/>
                <a:gd name="T2" fmla="*/ 0 w 8"/>
                <a:gd name="T3" fmla="*/ 69 h 8"/>
                <a:gd name="T4" fmla="*/ 0 w 8"/>
                <a:gd name="T5" fmla="*/ 69 h 8"/>
                <a:gd name="T6" fmla="*/ 69 w 8"/>
                <a:gd name="T7" fmla="*/ 0 h 8"/>
                <a:gd name="T8" fmla="*/ 131 w 8"/>
                <a:gd name="T9" fmla="*/ 69 h 8"/>
                <a:gd name="T10" fmla="*/ 69 w 8"/>
                <a:gd name="T11" fmla="*/ 131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" h="8">
                  <a:moveTo>
                    <a:pt x="4" y="8"/>
                  </a:moveTo>
                  <a:cubicBezTo>
                    <a:pt x="2" y="8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6"/>
                    <a:pt x="6" y="8"/>
                    <a:pt x="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706" name="Freeform 689"/>
            <p:cNvSpPr>
              <a:spLocks noChangeArrowheads="1"/>
            </p:cNvSpPr>
            <p:nvPr/>
          </p:nvSpPr>
          <p:spPr bwMode="auto">
            <a:xfrm>
              <a:off x="5023" y="533"/>
              <a:ext cx="13" cy="11"/>
            </a:xfrm>
            <a:custGeom>
              <a:avLst/>
              <a:gdLst>
                <a:gd name="T0" fmla="*/ 81 w 9"/>
                <a:gd name="T1" fmla="*/ 131 h 8"/>
                <a:gd name="T2" fmla="*/ 0 w 9"/>
                <a:gd name="T3" fmla="*/ 69 h 8"/>
                <a:gd name="T4" fmla="*/ 0 w 9"/>
                <a:gd name="T5" fmla="*/ 69 h 8"/>
                <a:gd name="T6" fmla="*/ 81 w 9"/>
                <a:gd name="T7" fmla="*/ 0 h 8"/>
                <a:gd name="T8" fmla="*/ 188 w 9"/>
                <a:gd name="T9" fmla="*/ 69 h 8"/>
                <a:gd name="T10" fmla="*/ 81 w 9"/>
                <a:gd name="T11" fmla="*/ 131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8">
                  <a:moveTo>
                    <a:pt x="4" y="8"/>
                  </a:moveTo>
                  <a:cubicBezTo>
                    <a:pt x="2" y="8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6"/>
                    <a:pt x="7" y="8"/>
                    <a:pt x="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707" name="Freeform 690"/>
            <p:cNvSpPr>
              <a:spLocks noChangeArrowheads="1"/>
            </p:cNvSpPr>
            <p:nvPr/>
          </p:nvSpPr>
          <p:spPr bwMode="auto">
            <a:xfrm>
              <a:off x="5476" y="554"/>
              <a:ext cx="12" cy="11"/>
            </a:xfrm>
            <a:custGeom>
              <a:avLst/>
              <a:gdLst>
                <a:gd name="T0" fmla="*/ 65 w 9"/>
                <a:gd name="T1" fmla="*/ 131 h 8"/>
                <a:gd name="T2" fmla="*/ 49 w 9"/>
                <a:gd name="T3" fmla="*/ 131 h 8"/>
                <a:gd name="T4" fmla="*/ 0 w 9"/>
                <a:gd name="T5" fmla="*/ 69 h 8"/>
                <a:gd name="T6" fmla="*/ 0 w 9"/>
                <a:gd name="T7" fmla="*/ 69 h 8"/>
                <a:gd name="T8" fmla="*/ 49 w 9"/>
                <a:gd name="T9" fmla="*/ 0 h 8"/>
                <a:gd name="T10" fmla="*/ 116 w 9"/>
                <a:gd name="T11" fmla="*/ 69 h 8"/>
                <a:gd name="T12" fmla="*/ 65 w 9"/>
                <a:gd name="T13" fmla="*/ 131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8">
                  <a:moveTo>
                    <a:pt x="5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7" y="0"/>
                    <a:pt x="9" y="1"/>
                    <a:pt x="9" y="4"/>
                  </a:cubicBezTo>
                  <a:cubicBezTo>
                    <a:pt x="9" y="6"/>
                    <a:pt x="7" y="8"/>
                    <a:pt x="5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708" name="Freeform 691"/>
            <p:cNvSpPr>
              <a:spLocks noChangeArrowheads="1"/>
            </p:cNvSpPr>
            <p:nvPr/>
          </p:nvSpPr>
          <p:spPr bwMode="auto">
            <a:xfrm>
              <a:off x="5436" y="554"/>
              <a:ext cx="12" cy="11"/>
            </a:xfrm>
            <a:custGeom>
              <a:avLst/>
              <a:gdLst>
                <a:gd name="T0" fmla="*/ 120 w 8"/>
                <a:gd name="T1" fmla="*/ 131 h 8"/>
                <a:gd name="T2" fmla="*/ 120 w 8"/>
                <a:gd name="T3" fmla="*/ 131 h 8"/>
                <a:gd name="T4" fmla="*/ 0 w 8"/>
                <a:gd name="T5" fmla="*/ 69 h 8"/>
                <a:gd name="T6" fmla="*/ 0 w 8"/>
                <a:gd name="T7" fmla="*/ 69 h 8"/>
                <a:gd name="T8" fmla="*/ 120 w 8"/>
                <a:gd name="T9" fmla="*/ 0 h 8"/>
                <a:gd name="T10" fmla="*/ 230 w 8"/>
                <a:gd name="T11" fmla="*/ 69 h 8"/>
                <a:gd name="T12" fmla="*/ 120 w 8"/>
                <a:gd name="T13" fmla="*/ 131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" h="8">
                  <a:moveTo>
                    <a:pt x="4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6" y="0"/>
                    <a:pt x="8" y="1"/>
                    <a:pt x="8" y="4"/>
                  </a:cubicBezTo>
                  <a:cubicBezTo>
                    <a:pt x="8" y="6"/>
                    <a:pt x="7" y="8"/>
                    <a:pt x="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709" name="Freeform 692"/>
            <p:cNvSpPr>
              <a:spLocks noChangeArrowheads="1"/>
            </p:cNvSpPr>
            <p:nvPr/>
          </p:nvSpPr>
          <p:spPr bwMode="auto">
            <a:xfrm>
              <a:off x="5415" y="540"/>
              <a:ext cx="12" cy="11"/>
            </a:xfrm>
            <a:custGeom>
              <a:avLst/>
              <a:gdLst>
                <a:gd name="T0" fmla="*/ 49 w 9"/>
                <a:gd name="T1" fmla="*/ 131 h 8"/>
                <a:gd name="T2" fmla="*/ 0 w 9"/>
                <a:gd name="T3" fmla="*/ 69 h 8"/>
                <a:gd name="T4" fmla="*/ 0 w 9"/>
                <a:gd name="T5" fmla="*/ 69 h 8"/>
                <a:gd name="T6" fmla="*/ 49 w 9"/>
                <a:gd name="T7" fmla="*/ 0 h 8"/>
                <a:gd name="T8" fmla="*/ 64 w 9"/>
                <a:gd name="T9" fmla="*/ 0 h 8"/>
                <a:gd name="T10" fmla="*/ 113 w 9"/>
                <a:gd name="T11" fmla="*/ 69 h 8"/>
                <a:gd name="T12" fmla="*/ 49 w 9"/>
                <a:gd name="T13" fmla="*/ 131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8">
                  <a:moveTo>
                    <a:pt x="4" y="8"/>
                  </a:moveTo>
                  <a:cubicBezTo>
                    <a:pt x="2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6"/>
                    <a:pt x="7" y="8"/>
                    <a:pt x="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710" name="Freeform 693"/>
            <p:cNvSpPr>
              <a:spLocks noChangeArrowheads="1"/>
            </p:cNvSpPr>
            <p:nvPr/>
          </p:nvSpPr>
          <p:spPr bwMode="auto">
            <a:xfrm>
              <a:off x="5331" y="540"/>
              <a:ext cx="14" cy="11"/>
            </a:xfrm>
            <a:custGeom>
              <a:avLst/>
              <a:gdLst>
                <a:gd name="T0" fmla="*/ 182 w 9"/>
                <a:gd name="T1" fmla="*/ 131 h 8"/>
                <a:gd name="T2" fmla="*/ 0 w 9"/>
                <a:gd name="T3" fmla="*/ 69 h 8"/>
                <a:gd name="T4" fmla="*/ 0 w 9"/>
                <a:gd name="T5" fmla="*/ 69 h 8"/>
                <a:gd name="T6" fmla="*/ 182 w 9"/>
                <a:gd name="T7" fmla="*/ 0 h 8"/>
                <a:gd name="T8" fmla="*/ 182 w 9"/>
                <a:gd name="T9" fmla="*/ 0 h 8"/>
                <a:gd name="T10" fmla="*/ 327 w 9"/>
                <a:gd name="T11" fmla="*/ 69 h 8"/>
                <a:gd name="T12" fmla="*/ 182 w 9"/>
                <a:gd name="T13" fmla="*/ 131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8">
                  <a:moveTo>
                    <a:pt x="5" y="8"/>
                  </a:moveTo>
                  <a:cubicBezTo>
                    <a:pt x="2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6"/>
                    <a:pt x="7" y="8"/>
                    <a:pt x="5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711" name="Freeform 694"/>
            <p:cNvSpPr>
              <a:spLocks noChangeArrowheads="1"/>
            </p:cNvSpPr>
            <p:nvPr/>
          </p:nvSpPr>
          <p:spPr bwMode="auto">
            <a:xfrm>
              <a:off x="5044" y="540"/>
              <a:ext cx="11" cy="11"/>
            </a:xfrm>
            <a:custGeom>
              <a:avLst/>
              <a:gdLst>
                <a:gd name="T0" fmla="*/ 69 w 8"/>
                <a:gd name="T1" fmla="*/ 131 h 8"/>
                <a:gd name="T2" fmla="*/ 0 w 8"/>
                <a:gd name="T3" fmla="*/ 69 h 8"/>
                <a:gd name="T4" fmla="*/ 0 w 8"/>
                <a:gd name="T5" fmla="*/ 69 h 8"/>
                <a:gd name="T6" fmla="*/ 69 w 8"/>
                <a:gd name="T7" fmla="*/ 0 h 8"/>
                <a:gd name="T8" fmla="*/ 69 w 8"/>
                <a:gd name="T9" fmla="*/ 0 h 8"/>
                <a:gd name="T10" fmla="*/ 131 w 8"/>
                <a:gd name="T11" fmla="*/ 69 h 8"/>
                <a:gd name="T12" fmla="*/ 69 w 8"/>
                <a:gd name="T13" fmla="*/ 131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" h="8">
                  <a:moveTo>
                    <a:pt x="4" y="8"/>
                  </a:moveTo>
                  <a:cubicBezTo>
                    <a:pt x="2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6"/>
                    <a:pt x="6" y="8"/>
                    <a:pt x="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712" name="Freeform 695"/>
            <p:cNvSpPr>
              <a:spLocks noChangeArrowheads="1"/>
            </p:cNvSpPr>
            <p:nvPr/>
          </p:nvSpPr>
          <p:spPr bwMode="auto">
            <a:xfrm>
              <a:off x="5455" y="540"/>
              <a:ext cx="13" cy="11"/>
            </a:xfrm>
            <a:custGeom>
              <a:avLst/>
              <a:gdLst>
                <a:gd name="T0" fmla="*/ 108 w 9"/>
                <a:gd name="T1" fmla="*/ 131 h 8"/>
                <a:gd name="T2" fmla="*/ 0 w 9"/>
                <a:gd name="T3" fmla="*/ 69 h 8"/>
                <a:gd name="T4" fmla="*/ 108 w 9"/>
                <a:gd name="T5" fmla="*/ 0 h 8"/>
                <a:gd name="T6" fmla="*/ 108 w 9"/>
                <a:gd name="T7" fmla="*/ 0 h 8"/>
                <a:gd name="T8" fmla="*/ 188 w 9"/>
                <a:gd name="T9" fmla="*/ 69 h 8"/>
                <a:gd name="T10" fmla="*/ 108 w 9"/>
                <a:gd name="T11" fmla="*/ 131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8">
                  <a:moveTo>
                    <a:pt x="5" y="8"/>
                  </a:move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6"/>
                    <a:pt x="7" y="8"/>
                    <a:pt x="5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713" name="Freeform 696"/>
            <p:cNvSpPr>
              <a:spLocks noChangeArrowheads="1"/>
            </p:cNvSpPr>
            <p:nvPr/>
          </p:nvSpPr>
          <p:spPr bwMode="auto">
            <a:xfrm>
              <a:off x="5744" y="540"/>
              <a:ext cx="13" cy="11"/>
            </a:xfrm>
            <a:custGeom>
              <a:avLst/>
              <a:gdLst>
                <a:gd name="T0" fmla="*/ 81 w 9"/>
                <a:gd name="T1" fmla="*/ 131 h 8"/>
                <a:gd name="T2" fmla="*/ 0 w 9"/>
                <a:gd name="T3" fmla="*/ 69 h 8"/>
                <a:gd name="T4" fmla="*/ 81 w 9"/>
                <a:gd name="T5" fmla="*/ 0 h 8"/>
                <a:gd name="T6" fmla="*/ 108 w 9"/>
                <a:gd name="T7" fmla="*/ 0 h 8"/>
                <a:gd name="T8" fmla="*/ 188 w 9"/>
                <a:gd name="T9" fmla="*/ 69 h 8"/>
                <a:gd name="T10" fmla="*/ 81 w 9"/>
                <a:gd name="T11" fmla="*/ 131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8">
                  <a:moveTo>
                    <a:pt x="4" y="8"/>
                  </a:move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6"/>
                    <a:pt x="7" y="8"/>
                    <a:pt x="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714" name="Freeform 697"/>
            <p:cNvSpPr>
              <a:spLocks noChangeArrowheads="1"/>
            </p:cNvSpPr>
            <p:nvPr/>
          </p:nvSpPr>
          <p:spPr bwMode="auto">
            <a:xfrm>
              <a:off x="5723" y="554"/>
              <a:ext cx="12" cy="11"/>
            </a:xfrm>
            <a:custGeom>
              <a:avLst/>
              <a:gdLst>
                <a:gd name="T0" fmla="*/ 64 w 9"/>
                <a:gd name="T1" fmla="*/ 131 h 8"/>
                <a:gd name="T2" fmla="*/ 64 w 9"/>
                <a:gd name="T3" fmla="*/ 131 h 8"/>
                <a:gd name="T4" fmla="*/ 0 w 9"/>
                <a:gd name="T5" fmla="*/ 69 h 8"/>
                <a:gd name="T6" fmla="*/ 0 w 9"/>
                <a:gd name="T7" fmla="*/ 69 h 8"/>
                <a:gd name="T8" fmla="*/ 64 w 9"/>
                <a:gd name="T9" fmla="*/ 0 h 8"/>
                <a:gd name="T10" fmla="*/ 113 w 9"/>
                <a:gd name="T11" fmla="*/ 69 h 8"/>
                <a:gd name="T12" fmla="*/ 64 w 9"/>
                <a:gd name="T13" fmla="*/ 131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8">
                  <a:moveTo>
                    <a:pt x="5" y="8"/>
                  </a:moveTo>
                  <a:cubicBezTo>
                    <a:pt x="5" y="8"/>
                    <a:pt x="5" y="8"/>
                    <a:pt x="5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"/>
                    <a:pt x="2" y="0"/>
                    <a:pt x="5" y="0"/>
                  </a:cubicBezTo>
                  <a:cubicBezTo>
                    <a:pt x="7" y="0"/>
                    <a:pt x="9" y="1"/>
                    <a:pt x="9" y="4"/>
                  </a:cubicBezTo>
                  <a:cubicBezTo>
                    <a:pt x="9" y="6"/>
                    <a:pt x="7" y="8"/>
                    <a:pt x="5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715" name="Freeform 698"/>
            <p:cNvSpPr>
              <a:spLocks noChangeArrowheads="1"/>
            </p:cNvSpPr>
            <p:nvPr/>
          </p:nvSpPr>
          <p:spPr bwMode="auto">
            <a:xfrm>
              <a:off x="5703" y="540"/>
              <a:ext cx="11" cy="11"/>
            </a:xfrm>
            <a:custGeom>
              <a:avLst/>
              <a:gdLst>
                <a:gd name="T0" fmla="*/ 69 w 8"/>
                <a:gd name="T1" fmla="*/ 131 h 8"/>
                <a:gd name="T2" fmla="*/ 0 w 8"/>
                <a:gd name="T3" fmla="*/ 69 h 8"/>
                <a:gd name="T4" fmla="*/ 0 w 8"/>
                <a:gd name="T5" fmla="*/ 69 h 8"/>
                <a:gd name="T6" fmla="*/ 69 w 8"/>
                <a:gd name="T7" fmla="*/ 0 h 8"/>
                <a:gd name="T8" fmla="*/ 69 w 8"/>
                <a:gd name="T9" fmla="*/ 0 h 8"/>
                <a:gd name="T10" fmla="*/ 131 w 8"/>
                <a:gd name="T11" fmla="*/ 69 h 8"/>
                <a:gd name="T12" fmla="*/ 69 w 8"/>
                <a:gd name="T13" fmla="*/ 131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" h="8">
                  <a:moveTo>
                    <a:pt x="4" y="8"/>
                  </a:moveTo>
                  <a:cubicBezTo>
                    <a:pt x="2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7" y="0"/>
                    <a:pt x="8" y="2"/>
                    <a:pt x="8" y="4"/>
                  </a:cubicBezTo>
                  <a:cubicBezTo>
                    <a:pt x="8" y="6"/>
                    <a:pt x="6" y="8"/>
                    <a:pt x="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716" name="Freeform 699"/>
            <p:cNvSpPr>
              <a:spLocks noChangeArrowheads="1"/>
            </p:cNvSpPr>
            <p:nvPr/>
          </p:nvSpPr>
          <p:spPr bwMode="auto">
            <a:xfrm>
              <a:off x="5682" y="554"/>
              <a:ext cx="12" cy="11"/>
            </a:xfrm>
            <a:custGeom>
              <a:avLst/>
              <a:gdLst>
                <a:gd name="T0" fmla="*/ 49 w 9"/>
                <a:gd name="T1" fmla="*/ 131 h 8"/>
                <a:gd name="T2" fmla="*/ 49 w 9"/>
                <a:gd name="T3" fmla="*/ 131 h 8"/>
                <a:gd name="T4" fmla="*/ 0 w 9"/>
                <a:gd name="T5" fmla="*/ 69 h 8"/>
                <a:gd name="T6" fmla="*/ 49 w 9"/>
                <a:gd name="T7" fmla="*/ 0 h 8"/>
                <a:gd name="T8" fmla="*/ 113 w 9"/>
                <a:gd name="T9" fmla="*/ 69 h 8"/>
                <a:gd name="T10" fmla="*/ 49 w 9"/>
                <a:gd name="T11" fmla="*/ 131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8">
                  <a:moveTo>
                    <a:pt x="4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7" y="0"/>
                    <a:pt x="9" y="1"/>
                    <a:pt x="9" y="4"/>
                  </a:cubicBezTo>
                  <a:cubicBezTo>
                    <a:pt x="9" y="6"/>
                    <a:pt x="7" y="8"/>
                    <a:pt x="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717" name="Freeform 700"/>
            <p:cNvSpPr>
              <a:spLocks noChangeArrowheads="1"/>
            </p:cNvSpPr>
            <p:nvPr/>
          </p:nvSpPr>
          <p:spPr bwMode="auto">
            <a:xfrm>
              <a:off x="5393" y="554"/>
              <a:ext cx="13" cy="11"/>
            </a:xfrm>
            <a:custGeom>
              <a:avLst/>
              <a:gdLst>
                <a:gd name="T0" fmla="*/ 108 w 9"/>
                <a:gd name="T1" fmla="*/ 131 h 8"/>
                <a:gd name="T2" fmla="*/ 108 w 9"/>
                <a:gd name="T3" fmla="*/ 131 h 8"/>
                <a:gd name="T4" fmla="*/ 0 w 9"/>
                <a:gd name="T5" fmla="*/ 69 h 8"/>
                <a:gd name="T6" fmla="*/ 0 w 9"/>
                <a:gd name="T7" fmla="*/ 69 h 8"/>
                <a:gd name="T8" fmla="*/ 108 w 9"/>
                <a:gd name="T9" fmla="*/ 0 h 8"/>
                <a:gd name="T10" fmla="*/ 188 w 9"/>
                <a:gd name="T11" fmla="*/ 69 h 8"/>
                <a:gd name="T12" fmla="*/ 108 w 9"/>
                <a:gd name="T13" fmla="*/ 131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8">
                  <a:moveTo>
                    <a:pt x="5" y="8"/>
                  </a:moveTo>
                  <a:cubicBezTo>
                    <a:pt x="5" y="8"/>
                    <a:pt x="5" y="8"/>
                    <a:pt x="5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"/>
                    <a:pt x="2" y="0"/>
                    <a:pt x="5" y="0"/>
                  </a:cubicBezTo>
                  <a:cubicBezTo>
                    <a:pt x="7" y="0"/>
                    <a:pt x="9" y="1"/>
                    <a:pt x="9" y="4"/>
                  </a:cubicBezTo>
                  <a:cubicBezTo>
                    <a:pt x="9" y="6"/>
                    <a:pt x="7" y="8"/>
                    <a:pt x="5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718" name="Freeform 701"/>
            <p:cNvSpPr>
              <a:spLocks noChangeArrowheads="1"/>
            </p:cNvSpPr>
            <p:nvPr/>
          </p:nvSpPr>
          <p:spPr bwMode="auto">
            <a:xfrm>
              <a:off x="5312" y="554"/>
              <a:ext cx="11" cy="11"/>
            </a:xfrm>
            <a:custGeom>
              <a:avLst/>
              <a:gdLst>
                <a:gd name="T0" fmla="*/ 69 w 8"/>
                <a:gd name="T1" fmla="*/ 131 h 8"/>
                <a:gd name="T2" fmla="*/ 69 w 8"/>
                <a:gd name="T3" fmla="*/ 131 h 8"/>
                <a:gd name="T4" fmla="*/ 0 w 8"/>
                <a:gd name="T5" fmla="*/ 69 h 8"/>
                <a:gd name="T6" fmla="*/ 0 w 8"/>
                <a:gd name="T7" fmla="*/ 69 h 8"/>
                <a:gd name="T8" fmla="*/ 69 w 8"/>
                <a:gd name="T9" fmla="*/ 0 h 8"/>
                <a:gd name="T10" fmla="*/ 131 w 8"/>
                <a:gd name="T11" fmla="*/ 69 h 8"/>
                <a:gd name="T12" fmla="*/ 69 w 8"/>
                <a:gd name="T13" fmla="*/ 131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" h="8">
                  <a:moveTo>
                    <a:pt x="4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6" y="0"/>
                    <a:pt x="8" y="1"/>
                    <a:pt x="8" y="4"/>
                  </a:cubicBezTo>
                  <a:cubicBezTo>
                    <a:pt x="8" y="6"/>
                    <a:pt x="6" y="8"/>
                    <a:pt x="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719" name="Freeform 702"/>
            <p:cNvSpPr>
              <a:spLocks noChangeArrowheads="1"/>
            </p:cNvSpPr>
            <p:nvPr/>
          </p:nvSpPr>
          <p:spPr bwMode="auto">
            <a:xfrm>
              <a:off x="5168" y="540"/>
              <a:ext cx="11" cy="11"/>
            </a:xfrm>
            <a:custGeom>
              <a:avLst/>
              <a:gdLst>
                <a:gd name="T0" fmla="*/ 69 w 8"/>
                <a:gd name="T1" fmla="*/ 131 h 8"/>
                <a:gd name="T2" fmla="*/ 0 w 8"/>
                <a:gd name="T3" fmla="*/ 69 h 8"/>
                <a:gd name="T4" fmla="*/ 0 w 8"/>
                <a:gd name="T5" fmla="*/ 69 h 8"/>
                <a:gd name="T6" fmla="*/ 69 w 8"/>
                <a:gd name="T7" fmla="*/ 0 h 8"/>
                <a:gd name="T8" fmla="*/ 69 w 8"/>
                <a:gd name="T9" fmla="*/ 0 h 8"/>
                <a:gd name="T10" fmla="*/ 131 w 8"/>
                <a:gd name="T11" fmla="*/ 69 h 8"/>
                <a:gd name="T12" fmla="*/ 69 w 8"/>
                <a:gd name="T13" fmla="*/ 131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" h="8">
                  <a:moveTo>
                    <a:pt x="4" y="8"/>
                  </a:moveTo>
                  <a:cubicBezTo>
                    <a:pt x="2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7" y="0"/>
                    <a:pt x="8" y="2"/>
                    <a:pt x="8" y="4"/>
                  </a:cubicBezTo>
                  <a:cubicBezTo>
                    <a:pt x="8" y="6"/>
                    <a:pt x="7" y="8"/>
                    <a:pt x="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720" name="Freeform 703"/>
            <p:cNvSpPr>
              <a:spLocks noChangeArrowheads="1"/>
            </p:cNvSpPr>
            <p:nvPr/>
          </p:nvSpPr>
          <p:spPr bwMode="auto">
            <a:xfrm>
              <a:off x="5106" y="554"/>
              <a:ext cx="11" cy="11"/>
            </a:xfrm>
            <a:custGeom>
              <a:avLst/>
              <a:gdLst>
                <a:gd name="T0" fmla="*/ 69 w 8"/>
                <a:gd name="T1" fmla="*/ 131 h 8"/>
                <a:gd name="T2" fmla="*/ 69 w 8"/>
                <a:gd name="T3" fmla="*/ 131 h 8"/>
                <a:gd name="T4" fmla="*/ 0 w 8"/>
                <a:gd name="T5" fmla="*/ 69 h 8"/>
                <a:gd name="T6" fmla="*/ 0 w 8"/>
                <a:gd name="T7" fmla="*/ 69 h 8"/>
                <a:gd name="T8" fmla="*/ 69 w 8"/>
                <a:gd name="T9" fmla="*/ 0 h 8"/>
                <a:gd name="T10" fmla="*/ 131 w 8"/>
                <a:gd name="T11" fmla="*/ 69 h 8"/>
                <a:gd name="T12" fmla="*/ 69 w 8"/>
                <a:gd name="T13" fmla="*/ 131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" h="8">
                  <a:moveTo>
                    <a:pt x="4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6" y="0"/>
                    <a:pt x="8" y="1"/>
                    <a:pt x="8" y="4"/>
                  </a:cubicBezTo>
                  <a:cubicBezTo>
                    <a:pt x="8" y="6"/>
                    <a:pt x="7" y="8"/>
                    <a:pt x="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721" name="Freeform 704"/>
            <p:cNvSpPr>
              <a:spLocks noChangeArrowheads="1"/>
            </p:cNvSpPr>
            <p:nvPr/>
          </p:nvSpPr>
          <p:spPr bwMode="auto">
            <a:xfrm>
              <a:off x="5023" y="554"/>
              <a:ext cx="13" cy="11"/>
            </a:xfrm>
            <a:custGeom>
              <a:avLst/>
              <a:gdLst>
                <a:gd name="T0" fmla="*/ 81 w 9"/>
                <a:gd name="T1" fmla="*/ 131 h 8"/>
                <a:gd name="T2" fmla="*/ 81 w 9"/>
                <a:gd name="T3" fmla="*/ 131 h 8"/>
                <a:gd name="T4" fmla="*/ 0 w 9"/>
                <a:gd name="T5" fmla="*/ 69 h 8"/>
                <a:gd name="T6" fmla="*/ 0 w 9"/>
                <a:gd name="T7" fmla="*/ 69 h 8"/>
                <a:gd name="T8" fmla="*/ 81 w 9"/>
                <a:gd name="T9" fmla="*/ 0 h 8"/>
                <a:gd name="T10" fmla="*/ 188 w 9"/>
                <a:gd name="T11" fmla="*/ 69 h 8"/>
                <a:gd name="T12" fmla="*/ 81 w 9"/>
                <a:gd name="T13" fmla="*/ 131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8">
                  <a:moveTo>
                    <a:pt x="4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7" y="0"/>
                    <a:pt x="9" y="1"/>
                    <a:pt x="9" y="4"/>
                  </a:cubicBezTo>
                  <a:cubicBezTo>
                    <a:pt x="9" y="6"/>
                    <a:pt x="7" y="8"/>
                    <a:pt x="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722" name="Freeform 705"/>
            <p:cNvSpPr>
              <a:spLocks noChangeArrowheads="1"/>
            </p:cNvSpPr>
            <p:nvPr/>
          </p:nvSpPr>
          <p:spPr bwMode="auto">
            <a:xfrm>
              <a:off x="4961" y="540"/>
              <a:ext cx="14" cy="11"/>
            </a:xfrm>
            <a:custGeom>
              <a:avLst/>
              <a:gdLst>
                <a:gd name="T0" fmla="*/ 148 w 9"/>
                <a:gd name="T1" fmla="*/ 131 h 8"/>
                <a:gd name="T2" fmla="*/ 0 w 9"/>
                <a:gd name="T3" fmla="*/ 69 h 8"/>
                <a:gd name="T4" fmla="*/ 0 w 9"/>
                <a:gd name="T5" fmla="*/ 69 h 8"/>
                <a:gd name="T6" fmla="*/ 148 w 9"/>
                <a:gd name="T7" fmla="*/ 0 h 8"/>
                <a:gd name="T8" fmla="*/ 148 w 9"/>
                <a:gd name="T9" fmla="*/ 0 h 8"/>
                <a:gd name="T10" fmla="*/ 327 w 9"/>
                <a:gd name="T11" fmla="*/ 69 h 8"/>
                <a:gd name="T12" fmla="*/ 148 w 9"/>
                <a:gd name="T13" fmla="*/ 131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8">
                  <a:moveTo>
                    <a:pt x="4" y="8"/>
                  </a:moveTo>
                  <a:cubicBezTo>
                    <a:pt x="2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6"/>
                    <a:pt x="7" y="8"/>
                    <a:pt x="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723" name="Freeform 706"/>
            <p:cNvSpPr>
              <a:spLocks noChangeArrowheads="1"/>
            </p:cNvSpPr>
            <p:nvPr/>
          </p:nvSpPr>
          <p:spPr bwMode="auto">
            <a:xfrm>
              <a:off x="5374" y="540"/>
              <a:ext cx="11" cy="11"/>
            </a:xfrm>
            <a:custGeom>
              <a:avLst/>
              <a:gdLst>
                <a:gd name="T0" fmla="*/ 69 w 8"/>
                <a:gd name="T1" fmla="*/ 131 h 8"/>
                <a:gd name="T2" fmla="*/ 0 w 8"/>
                <a:gd name="T3" fmla="*/ 69 h 8"/>
                <a:gd name="T4" fmla="*/ 0 w 8"/>
                <a:gd name="T5" fmla="*/ 69 h 8"/>
                <a:gd name="T6" fmla="*/ 69 w 8"/>
                <a:gd name="T7" fmla="*/ 0 h 8"/>
                <a:gd name="T8" fmla="*/ 69 w 8"/>
                <a:gd name="T9" fmla="*/ 0 h 8"/>
                <a:gd name="T10" fmla="*/ 131 w 8"/>
                <a:gd name="T11" fmla="*/ 69 h 8"/>
                <a:gd name="T12" fmla="*/ 69 w 8"/>
                <a:gd name="T13" fmla="*/ 131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" h="8">
                  <a:moveTo>
                    <a:pt x="4" y="8"/>
                  </a:moveTo>
                  <a:cubicBezTo>
                    <a:pt x="2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6"/>
                    <a:pt x="6" y="8"/>
                    <a:pt x="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724" name="Freeform 707"/>
            <p:cNvSpPr>
              <a:spLocks noChangeArrowheads="1"/>
            </p:cNvSpPr>
            <p:nvPr/>
          </p:nvSpPr>
          <p:spPr bwMode="auto">
            <a:xfrm>
              <a:off x="5291" y="540"/>
              <a:ext cx="13" cy="11"/>
            </a:xfrm>
            <a:custGeom>
              <a:avLst/>
              <a:gdLst>
                <a:gd name="T0" fmla="*/ 81 w 9"/>
                <a:gd name="T1" fmla="*/ 131 h 8"/>
                <a:gd name="T2" fmla="*/ 0 w 9"/>
                <a:gd name="T3" fmla="*/ 69 h 8"/>
                <a:gd name="T4" fmla="*/ 0 w 9"/>
                <a:gd name="T5" fmla="*/ 69 h 8"/>
                <a:gd name="T6" fmla="*/ 81 w 9"/>
                <a:gd name="T7" fmla="*/ 0 h 8"/>
                <a:gd name="T8" fmla="*/ 81 w 9"/>
                <a:gd name="T9" fmla="*/ 0 h 8"/>
                <a:gd name="T10" fmla="*/ 188 w 9"/>
                <a:gd name="T11" fmla="*/ 69 h 8"/>
                <a:gd name="T12" fmla="*/ 81 w 9"/>
                <a:gd name="T13" fmla="*/ 131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8">
                  <a:moveTo>
                    <a:pt x="4" y="8"/>
                  </a:moveTo>
                  <a:cubicBezTo>
                    <a:pt x="2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6"/>
                    <a:pt x="7" y="8"/>
                    <a:pt x="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725" name="Freeform 708"/>
            <p:cNvSpPr>
              <a:spLocks noChangeArrowheads="1"/>
            </p:cNvSpPr>
            <p:nvPr/>
          </p:nvSpPr>
          <p:spPr bwMode="auto">
            <a:xfrm>
              <a:off x="5229" y="554"/>
              <a:ext cx="13" cy="11"/>
            </a:xfrm>
            <a:custGeom>
              <a:avLst/>
              <a:gdLst>
                <a:gd name="T0" fmla="*/ 81 w 9"/>
                <a:gd name="T1" fmla="*/ 131 h 8"/>
                <a:gd name="T2" fmla="*/ 81 w 9"/>
                <a:gd name="T3" fmla="*/ 131 h 8"/>
                <a:gd name="T4" fmla="*/ 0 w 9"/>
                <a:gd name="T5" fmla="*/ 69 h 8"/>
                <a:gd name="T6" fmla="*/ 81 w 9"/>
                <a:gd name="T7" fmla="*/ 0 h 8"/>
                <a:gd name="T8" fmla="*/ 188 w 9"/>
                <a:gd name="T9" fmla="*/ 69 h 8"/>
                <a:gd name="T10" fmla="*/ 81 w 9"/>
                <a:gd name="T11" fmla="*/ 131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8">
                  <a:moveTo>
                    <a:pt x="4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7" y="0"/>
                    <a:pt x="9" y="1"/>
                    <a:pt x="9" y="4"/>
                  </a:cubicBezTo>
                  <a:cubicBezTo>
                    <a:pt x="9" y="6"/>
                    <a:pt x="7" y="8"/>
                    <a:pt x="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726" name="Freeform 709"/>
            <p:cNvSpPr>
              <a:spLocks noChangeArrowheads="1"/>
            </p:cNvSpPr>
            <p:nvPr/>
          </p:nvSpPr>
          <p:spPr bwMode="auto">
            <a:xfrm>
              <a:off x="5146" y="554"/>
              <a:ext cx="14" cy="11"/>
            </a:xfrm>
            <a:custGeom>
              <a:avLst/>
              <a:gdLst>
                <a:gd name="T0" fmla="*/ 182 w 9"/>
                <a:gd name="T1" fmla="*/ 131 h 8"/>
                <a:gd name="T2" fmla="*/ 148 w 9"/>
                <a:gd name="T3" fmla="*/ 131 h 8"/>
                <a:gd name="T4" fmla="*/ 0 w 9"/>
                <a:gd name="T5" fmla="*/ 69 h 8"/>
                <a:gd name="T6" fmla="*/ 0 w 9"/>
                <a:gd name="T7" fmla="*/ 69 h 8"/>
                <a:gd name="T8" fmla="*/ 148 w 9"/>
                <a:gd name="T9" fmla="*/ 0 h 8"/>
                <a:gd name="T10" fmla="*/ 327 w 9"/>
                <a:gd name="T11" fmla="*/ 69 h 8"/>
                <a:gd name="T12" fmla="*/ 182 w 9"/>
                <a:gd name="T13" fmla="*/ 131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8">
                  <a:moveTo>
                    <a:pt x="5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7" y="0"/>
                    <a:pt x="9" y="1"/>
                    <a:pt x="9" y="4"/>
                  </a:cubicBezTo>
                  <a:cubicBezTo>
                    <a:pt x="9" y="6"/>
                    <a:pt x="7" y="8"/>
                    <a:pt x="5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727" name="Freeform 710"/>
            <p:cNvSpPr>
              <a:spLocks noChangeArrowheads="1"/>
            </p:cNvSpPr>
            <p:nvPr/>
          </p:nvSpPr>
          <p:spPr bwMode="auto">
            <a:xfrm>
              <a:off x="5085" y="540"/>
              <a:ext cx="13" cy="11"/>
            </a:xfrm>
            <a:custGeom>
              <a:avLst/>
              <a:gdLst>
                <a:gd name="T0" fmla="*/ 81 w 9"/>
                <a:gd name="T1" fmla="*/ 131 h 8"/>
                <a:gd name="T2" fmla="*/ 0 w 9"/>
                <a:gd name="T3" fmla="*/ 69 h 8"/>
                <a:gd name="T4" fmla="*/ 0 w 9"/>
                <a:gd name="T5" fmla="*/ 69 h 8"/>
                <a:gd name="T6" fmla="*/ 81 w 9"/>
                <a:gd name="T7" fmla="*/ 0 h 8"/>
                <a:gd name="T8" fmla="*/ 108 w 9"/>
                <a:gd name="T9" fmla="*/ 0 h 8"/>
                <a:gd name="T10" fmla="*/ 188 w 9"/>
                <a:gd name="T11" fmla="*/ 69 h 8"/>
                <a:gd name="T12" fmla="*/ 81 w 9"/>
                <a:gd name="T13" fmla="*/ 131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8">
                  <a:moveTo>
                    <a:pt x="4" y="8"/>
                  </a:moveTo>
                  <a:cubicBezTo>
                    <a:pt x="2" y="8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6"/>
                    <a:pt x="7" y="8"/>
                    <a:pt x="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728" name="Freeform 711"/>
            <p:cNvSpPr>
              <a:spLocks noChangeArrowheads="1"/>
            </p:cNvSpPr>
            <p:nvPr/>
          </p:nvSpPr>
          <p:spPr bwMode="auto">
            <a:xfrm>
              <a:off x="5002" y="540"/>
              <a:ext cx="12" cy="11"/>
            </a:xfrm>
            <a:custGeom>
              <a:avLst/>
              <a:gdLst>
                <a:gd name="T0" fmla="*/ 65 w 9"/>
                <a:gd name="T1" fmla="*/ 131 h 8"/>
                <a:gd name="T2" fmla="*/ 0 w 9"/>
                <a:gd name="T3" fmla="*/ 69 h 8"/>
                <a:gd name="T4" fmla="*/ 0 w 9"/>
                <a:gd name="T5" fmla="*/ 69 h 8"/>
                <a:gd name="T6" fmla="*/ 65 w 9"/>
                <a:gd name="T7" fmla="*/ 0 h 8"/>
                <a:gd name="T8" fmla="*/ 65 w 9"/>
                <a:gd name="T9" fmla="*/ 0 h 8"/>
                <a:gd name="T10" fmla="*/ 116 w 9"/>
                <a:gd name="T11" fmla="*/ 69 h 8"/>
                <a:gd name="T12" fmla="*/ 65 w 9"/>
                <a:gd name="T13" fmla="*/ 131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8">
                  <a:moveTo>
                    <a:pt x="5" y="8"/>
                  </a:moveTo>
                  <a:cubicBezTo>
                    <a:pt x="2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6"/>
                    <a:pt x="7" y="8"/>
                    <a:pt x="5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729" name="Freeform 712"/>
            <p:cNvSpPr>
              <a:spLocks noChangeArrowheads="1"/>
            </p:cNvSpPr>
            <p:nvPr/>
          </p:nvSpPr>
          <p:spPr bwMode="auto">
            <a:xfrm>
              <a:off x="4940" y="554"/>
              <a:ext cx="12" cy="11"/>
            </a:xfrm>
            <a:custGeom>
              <a:avLst/>
              <a:gdLst>
                <a:gd name="T0" fmla="*/ 64 w 9"/>
                <a:gd name="T1" fmla="*/ 131 h 8"/>
                <a:gd name="T2" fmla="*/ 49 w 9"/>
                <a:gd name="T3" fmla="*/ 131 h 8"/>
                <a:gd name="T4" fmla="*/ 0 w 9"/>
                <a:gd name="T5" fmla="*/ 69 h 8"/>
                <a:gd name="T6" fmla="*/ 64 w 9"/>
                <a:gd name="T7" fmla="*/ 0 h 8"/>
                <a:gd name="T8" fmla="*/ 113 w 9"/>
                <a:gd name="T9" fmla="*/ 69 h 8"/>
                <a:gd name="T10" fmla="*/ 64 w 9"/>
                <a:gd name="T11" fmla="*/ 131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8">
                  <a:moveTo>
                    <a:pt x="5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1"/>
                    <a:pt x="2" y="0"/>
                    <a:pt x="5" y="0"/>
                  </a:cubicBezTo>
                  <a:cubicBezTo>
                    <a:pt x="7" y="0"/>
                    <a:pt x="9" y="1"/>
                    <a:pt x="9" y="4"/>
                  </a:cubicBezTo>
                  <a:cubicBezTo>
                    <a:pt x="9" y="6"/>
                    <a:pt x="7" y="8"/>
                    <a:pt x="5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730" name="Freeform 713"/>
            <p:cNvSpPr>
              <a:spLocks noChangeArrowheads="1"/>
            </p:cNvSpPr>
            <p:nvPr/>
          </p:nvSpPr>
          <p:spPr bwMode="auto">
            <a:xfrm>
              <a:off x="5353" y="554"/>
              <a:ext cx="12" cy="11"/>
            </a:xfrm>
            <a:custGeom>
              <a:avLst/>
              <a:gdLst>
                <a:gd name="T0" fmla="*/ 49 w 9"/>
                <a:gd name="T1" fmla="*/ 131 h 8"/>
                <a:gd name="T2" fmla="*/ 49 w 9"/>
                <a:gd name="T3" fmla="*/ 131 h 8"/>
                <a:gd name="T4" fmla="*/ 0 w 9"/>
                <a:gd name="T5" fmla="*/ 69 h 8"/>
                <a:gd name="T6" fmla="*/ 0 w 9"/>
                <a:gd name="T7" fmla="*/ 69 h 8"/>
                <a:gd name="T8" fmla="*/ 49 w 9"/>
                <a:gd name="T9" fmla="*/ 0 h 8"/>
                <a:gd name="T10" fmla="*/ 113 w 9"/>
                <a:gd name="T11" fmla="*/ 69 h 8"/>
                <a:gd name="T12" fmla="*/ 49 w 9"/>
                <a:gd name="T13" fmla="*/ 131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8">
                  <a:moveTo>
                    <a:pt x="4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7" y="0"/>
                    <a:pt x="9" y="1"/>
                    <a:pt x="9" y="4"/>
                  </a:cubicBezTo>
                  <a:cubicBezTo>
                    <a:pt x="9" y="6"/>
                    <a:pt x="7" y="8"/>
                    <a:pt x="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731" name="Freeform 714"/>
            <p:cNvSpPr>
              <a:spLocks noChangeArrowheads="1"/>
            </p:cNvSpPr>
            <p:nvPr/>
          </p:nvSpPr>
          <p:spPr bwMode="auto">
            <a:xfrm>
              <a:off x="5208" y="540"/>
              <a:ext cx="12" cy="11"/>
            </a:xfrm>
            <a:custGeom>
              <a:avLst/>
              <a:gdLst>
                <a:gd name="T0" fmla="*/ 65 w 9"/>
                <a:gd name="T1" fmla="*/ 131 h 8"/>
                <a:gd name="T2" fmla="*/ 0 w 9"/>
                <a:gd name="T3" fmla="*/ 69 h 8"/>
                <a:gd name="T4" fmla="*/ 0 w 9"/>
                <a:gd name="T5" fmla="*/ 69 h 8"/>
                <a:gd name="T6" fmla="*/ 49 w 9"/>
                <a:gd name="T7" fmla="*/ 0 h 8"/>
                <a:gd name="T8" fmla="*/ 65 w 9"/>
                <a:gd name="T9" fmla="*/ 0 h 8"/>
                <a:gd name="T10" fmla="*/ 116 w 9"/>
                <a:gd name="T11" fmla="*/ 69 h 8"/>
                <a:gd name="T12" fmla="*/ 65 w 9"/>
                <a:gd name="T13" fmla="*/ 131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8">
                  <a:moveTo>
                    <a:pt x="5" y="8"/>
                  </a:moveTo>
                  <a:cubicBezTo>
                    <a:pt x="2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6"/>
                    <a:pt x="7" y="8"/>
                    <a:pt x="5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732" name="Freeform 715"/>
            <p:cNvSpPr>
              <a:spLocks noChangeArrowheads="1"/>
            </p:cNvSpPr>
            <p:nvPr/>
          </p:nvSpPr>
          <p:spPr bwMode="auto">
            <a:xfrm>
              <a:off x="5125" y="540"/>
              <a:ext cx="13" cy="11"/>
            </a:xfrm>
            <a:custGeom>
              <a:avLst/>
              <a:gdLst>
                <a:gd name="T0" fmla="*/ 108 w 9"/>
                <a:gd name="T1" fmla="*/ 131 h 8"/>
                <a:gd name="T2" fmla="*/ 0 w 9"/>
                <a:gd name="T3" fmla="*/ 69 h 8"/>
                <a:gd name="T4" fmla="*/ 108 w 9"/>
                <a:gd name="T5" fmla="*/ 0 h 8"/>
                <a:gd name="T6" fmla="*/ 108 w 9"/>
                <a:gd name="T7" fmla="*/ 0 h 8"/>
                <a:gd name="T8" fmla="*/ 188 w 9"/>
                <a:gd name="T9" fmla="*/ 69 h 8"/>
                <a:gd name="T10" fmla="*/ 108 w 9"/>
                <a:gd name="T11" fmla="*/ 131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8">
                  <a:moveTo>
                    <a:pt x="5" y="8"/>
                  </a:move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6"/>
                    <a:pt x="7" y="8"/>
                    <a:pt x="5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733" name="Freeform 716"/>
            <p:cNvSpPr>
              <a:spLocks noChangeArrowheads="1"/>
            </p:cNvSpPr>
            <p:nvPr/>
          </p:nvSpPr>
          <p:spPr bwMode="auto">
            <a:xfrm>
              <a:off x="5063" y="554"/>
              <a:ext cx="14" cy="11"/>
            </a:xfrm>
            <a:custGeom>
              <a:avLst/>
              <a:gdLst>
                <a:gd name="T0" fmla="*/ 182 w 9"/>
                <a:gd name="T1" fmla="*/ 131 h 8"/>
                <a:gd name="T2" fmla="*/ 182 w 9"/>
                <a:gd name="T3" fmla="*/ 131 h 8"/>
                <a:gd name="T4" fmla="*/ 0 w 9"/>
                <a:gd name="T5" fmla="*/ 69 h 8"/>
                <a:gd name="T6" fmla="*/ 0 w 9"/>
                <a:gd name="T7" fmla="*/ 69 h 8"/>
                <a:gd name="T8" fmla="*/ 182 w 9"/>
                <a:gd name="T9" fmla="*/ 0 h 8"/>
                <a:gd name="T10" fmla="*/ 327 w 9"/>
                <a:gd name="T11" fmla="*/ 69 h 8"/>
                <a:gd name="T12" fmla="*/ 182 w 9"/>
                <a:gd name="T13" fmla="*/ 131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8">
                  <a:moveTo>
                    <a:pt x="5" y="8"/>
                  </a:moveTo>
                  <a:cubicBezTo>
                    <a:pt x="5" y="8"/>
                    <a:pt x="5" y="8"/>
                    <a:pt x="5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"/>
                    <a:pt x="2" y="0"/>
                    <a:pt x="5" y="0"/>
                  </a:cubicBezTo>
                  <a:cubicBezTo>
                    <a:pt x="7" y="0"/>
                    <a:pt x="9" y="1"/>
                    <a:pt x="9" y="4"/>
                  </a:cubicBezTo>
                  <a:cubicBezTo>
                    <a:pt x="9" y="6"/>
                    <a:pt x="7" y="8"/>
                    <a:pt x="5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734" name="Freeform 717"/>
            <p:cNvSpPr>
              <a:spLocks noChangeArrowheads="1"/>
            </p:cNvSpPr>
            <p:nvPr/>
          </p:nvSpPr>
          <p:spPr bwMode="auto">
            <a:xfrm>
              <a:off x="4983" y="554"/>
              <a:ext cx="11" cy="11"/>
            </a:xfrm>
            <a:custGeom>
              <a:avLst/>
              <a:gdLst>
                <a:gd name="T0" fmla="*/ 69 w 8"/>
                <a:gd name="T1" fmla="*/ 131 h 8"/>
                <a:gd name="T2" fmla="*/ 69 w 8"/>
                <a:gd name="T3" fmla="*/ 131 h 8"/>
                <a:gd name="T4" fmla="*/ 0 w 8"/>
                <a:gd name="T5" fmla="*/ 69 h 8"/>
                <a:gd name="T6" fmla="*/ 0 w 8"/>
                <a:gd name="T7" fmla="*/ 69 h 8"/>
                <a:gd name="T8" fmla="*/ 69 w 8"/>
                <a:gd name="T9" fmla="*/ 0 h 8"/>
                <a:gd name="T10" fmla="*/ 131 w 8"/>
                <a:gd name="T11" fmla="*/ 69 h 8"/>
                <a:gd name="T12" fmla="*/ 69 w 8"/>
                <a:gd name="T13" fmla="*/ 131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" h="8">
                  <a:moveTo>
                    <a:pt x="4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6" y="0"/>
                    <a:pt x="8" y="1"/>
                    <a:pt x="8" y="4"/>
                  </a:cubicBezTo>
                  <a:cubicBezTo>
                    <a:pt x="8" y="6"/>
                    <a:pt x="6" y="8"/>
                    <a:pt x="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735" name="Freeform 718"/>
            <p:cNvSpPr>
              <a:spLocks noChangeArrowheads="1"/>
            </p:cNvSpPr>
            <p:nvPr/>
          </p:nvSpPr>
          <p:spPr bwMode="auto">
            <a:xfrm>
              <a:off x="5476" y="573"/>
              <a:ext cx="12" cy="15"/>
            </a:xfrm>
            <a:custGeom>
              <a:avLst/>
              <a:gdLst>
                <a:gd name="T0" fmla="*/ 65 w 9"/>
                <a:gd name="T1" fmla="*/ 520 h 9"/>
                <a:gd name="T2" fmla="*/ 49 w 9"/>
                <a:gd name="T3" fmla="*/ 520 h 9"/>
                <a:gd name="T4" fmla="*/ 0 w 9"/>
                <a:gd name="T5" fmla="*/ 287 h 9"/>
                <a:gd name="T6" fmla="*/ 0 w 9"/>
                <a:gd name="T7" fmla="*/ 287 h 9"/>
                <a:gd name="T8" fmla="*/ 49 w 9"/>
                <a:gd name="T9" fmla="*/ 0 h 9"/>
                <a:gd name="T10" fmla="*/ 116 w 9"/>
                <a:gd name="T11" fmla="*/ 287 h 9"/>
                <a:gd name="T12" fmla="*/ 65 w 9"/>
                <a:gd name="T13" fmla="*/ 520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736" name="Freeform 719"/>
            <p:cNvSpPr>
              <a:spLocks noChangeArrowheads="1"/>
            </p:cNvSpPr>
            <p:nvPr/>
          </p:nvSpPr>
          <p:spPr bwMode="auto">
            <a:xfrm>
              <a:off x="5436" y="573"/>
              <a:ext cx="12" cy="15"/>
            </a:xfrm>
            <a:custGeom>
              <a:avLst/>
              <a:gdLst>
                <a:gd name="T0" fmla="*/ 120 w 8"/>
                <a:gd name="T1" fmla="*/ 520 h 9"/>
                <a:gd name="T2" fmla="*/ 120 w 8"/>
                <a:gd name="T3" fmla="*/ 520 h 9"/>
                <a:gd name="T4" fmla="*/ 0 w 8"/>
                <a:gd name="T5" fmla="*/ 287 h 9"/>
                <a:gd name="T6" fmla="*/ 0 w 8"/>
                <a:gd name="T7" fmla="*/ 287 h 9"/>
                <a:gd name="T8" fmla="*/ 120 w 8"/>
                <a:gd name="T9" fmla="*/ 0 h 9"/>
                <a:gd name="T10" fmla="*/ 230 w 8"/>
                <a:gd name="T11" fmla="*/ 287 h 9"/>
                <a:gd name="T12" fmla="*/ 120 w 8"/>
                <a:gd name="T13" fmla="*/ 520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5"/>
                  </a:cubicBezTo>
                  <a:cubicBezTo>
                    <a:pt x="8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737" name="Freeform 720"/>
            <p:cNvSpPr>
              <a:spLocks noChangeArrowheads="1"/>
            </p:cNvSpPr>
            <p:nvPr/>
          </p:nvSpPr>
          <p:spPr bwMode="auto">
            <a:xfrm>
              <a:off x="5415" y="559"/>
              <a:ext cx="12" cy="14"/>
            </a:xfrm>
            <a:custGeom>
              <a:avLst/>
              <a:gdLst>
                <a:gd name="T0" fmla="*/ 49 w 9"/>
                <a:gd name="T1" fmla="*/ 327 h 9"/>
                <a:gd name="T2" fmla="*/ 0 w 9"/>
                <a:gd name="T3" fmla="*/ 182 h 9"/>
                <a:gd name="T4" fmla="*/ 0 w 9"/>
                <a:gd name="T5" fmla="*/ 182 h 9"/>
                <a:gd name="T6" fmla="*/ 49 w 9"/>
                <a:gd name="T7" fmla="*/ 0 h 9"/>
                <a:gd name="T8" fmla="*/ 113 w 9"/>
                <a:gd name="T9" fmla="*/ 182 h 9"/>
                <a:gd name="T10" fmla="*/ 49 w 9"/>
                <a:gd name="T11" fmla="*/ 327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738" name="Freeform 721"/>
            <p:cNvSpPr>
              <a:spLocks noChangeArrowheads="1"/>
            </p:cNvSpPr>
            <p:nvPr/>
          </p:nvSpPr>
          <p:spPr bwMode="auto">
            <a:xfrm>
              <a:off x="5331" y="559"/>
              <a:ext cx="14" cy="14"/>
            </a:xfrm>
            <a:custGeom>
              <a:avLst/>
              <a:gdLst>
                <a:gd name="T0" fmla="*/ 182 w 9"/>
                <a:gd name="T1" fmla="*/ 327 h 9"/>
                <a:gd name="T2" fmla="*/ 0 w 9"/>
                <a:gd name="T3" fmla="*/ 182 h 9"/>
                <a:gd name="T4" fmla="*/ 0 w 9"/>
                <a:gd name="T5" fmla="*/ 182 h 9"/>
                <a:gd name="T6" fmla="*/ 182 w 9"/>
                <a:gd name="T7" fmla="*/ 0 h 9"/>
                <a:gd name="T8" fmla="*/ 327 w 9"/>
                <a:gd name="T9" fmla="*/ 182 h 9"/>
                <a:gd name="T10" fmla="*/ 182 w 9"/>
                <a:gd name="T11" fmla="*/ 327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739" name="Freeform 722"/>
            <p:cNvSpPr>
              <a:spLocks noChangeArrowheads="1"/>
            </p:cNvSpPr>
            <p:nvPr/>
          </p:nvSpPr>
          <p:spPr bwMode="auto">
            <a:xfrm>
              <a:off x="5044" y="559"/>
              <a:ext cx="11" cy="14"/>
            </a:xfrm>
            <a:custGeom>
              <a:avLst/>
              <a:gdLst>
                <a:gd name="T0" fmla="*/ 69 w 8"/>
                <a:gd name="T1" fmla="*/ 327 h 9"/>
                <a:gd name="T2" fmla="*/ 0 w 8"/>
                <a:gd name="T3" fmla="*/ 182 h 9"/>
                <a:gd name="T4" fmla="*/ 0 w 8"/>
                <a:gd name="T5" fmla="*/ 182 h 9"/>
                <a:gd name="T6" fmla="*/ 69 w 8"/>
                <a:gd name="T7" fmla="*/ 0 h 9"/>
                <a:gd name="T8" fmla="*/ 131 w 8"/>
                <a:gd name="T9" fmla="*/ 182 h 9"/>
                <a:gd name="T10" fmla="*/ 69 w 8"/>
                <a:gd name="T11" fmla="*/ 327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5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740" name="Oval 723"/>
            <p:cNvSpPr>
              <a:spLocks noChangeArrowheads="1"/>
            </p:cNvSpPr>
            <p:nvPr/>
          </p:nvSpPr>
          <p:spPr bwMode="auto">
            <a:xfrm>
              <a:off x="5455" y="559"/>
              <a:ext cx="13" cy="14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US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741" name="Oval 724"/>
            <p:cNvSpPr>
              <a:spLocks noChangeArrowheads="1"/>
            </p:cNvSpPr>
            <p:nvPr/>
          </p:nvSpPr>
          <p:spPr bwMode="auto">
            <a:xfrm>
              <a:off x="5744" y="559"/>
              <a:ext cx="13" cy="14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US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742" name="Freeform 725"/>
            <p:cNvSpPr>
              <a:spLocks noChangeArrowheads="1"/>
            </p:cNvSpPr>
            <p:nvPr/>
          </p:nvSpPr>
          <p:spPr bwMode="auto">
            <a:xfrm>
              <a:off x="5723" y="573"/>
              <a:ext cx="12" cy="15"/>
            </a:xfrm>
            <a:custGeom>
              <a:avLst/>
              <a:gdLst>
                <a:gd name="T0" fmla="*/ 64 w 9"/>
                <a:gd name="T1" fmla="*/ 520 h 9"/>
                <a:gd name="T2" fmla="*/ 64 w 9"/>
                <a:gd name="T3" fmla="*/ 520 h 9"/>
                <a:gd name="T4" fmla="*/ 0 w 9"/>
                <a:gd name="T5" fmla="*/ 287 h 9"/>
                <a:gd name="T6" fmla="*/ 0 w 9"/>
                <a:gd name="T7" fmla="*/ 287 h 9"/>
                <a:gd name="T8" fmla="*/ 64 w 9"/>
                <a:gd name="T9" fmla="*/ 0 h 9"/>
                <a:gd name="T10" fmla="*/ 113 w 9"/>
                <a:gd name="T11" fmla="*/ 287 h 9"/>
                <a:gd name="T12" fmla="*/ 64 w 9"/>
                <a:gd name="T13" fmla="*/ 520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5" y="9"/>
                    <a:pt x="5" y="9"/>
                    <a:pt x="5" y="9"/>
                  </a:cubicBez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743" name="Freeform 726"/>
            <p:cNvSpPr>
              <a:spLocks noChangeArrowheads="1"/>
            </p:cNvSpPr>
            <p:nvPr/>
          </p:nvSpPr>
          <p:spPr bwMode="auto">
            <a:xfrm>
              <a:off x="5703" y="559"/>
              <a:ext cx="11" cy="14"/>
            </a:xfrm>
            <a:custGeom>
              <a:avLst/>
              <a:gdLst>
                <a:gd name="T0" fmla="*/ 69 w 8"/>
                <a:gd name="T1" fmla="*/ 327 h 9"/>
                <a:gd name="T2" fmla="*/ 0 w 8"/>
                <a:gd name="T3" fmla="*/ 182 h 9"/>
                <a:gd name="T4" fmla="*/ 0 w 8"/>
                <a:gd name="T5" fmla="*/ 182 h 9"/>
                <a:gd name="T6" fmla="*/ 69 w 8"/>
                <a:gd name="T7" fmla="*/ 0 h 9"/>
                <a:gd name="T8" fmla="*/ 131 w 8"/>
                <a:gd name="T9" fmla="*/ 182 h 9"/>
                <a:gd name="T10" fmla="*/ 69 w 8"/>
                <a:gd name="T11" fmla="*/ 327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5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744" name="Freeform 727"/>
            <p:cNvSpPr>
              <a:spLocks noChangeArrowheads="1"/>
            </p:cNvSpPr>
            <p:nvPr/>
          </p:nvSpPr>
          <p:spPr bwMode="auto">
            <a:xfrm>
              <a:off x="5682" y="573"/>
              <a:ext cx="12" cy="15"/>
            </a:xfrm>
            <a:custGeom>
              <a:avLst/>
              <a:gdLst>
                <a:gd name="T0" fmla="*/ 49 w 9"/>
                <a:gd name="T1" fmla="*/ 520 h 9"/>
                <a:gd name="T2" fmla="*/ 49 w 9"/>
                <a:gd name="T3" fmla="*/ 520 h 9"/>
                <a:gd name="T4" fmla="*/ 0 w 9"/>
                <a:gd name="T5" fmla="*/ 287 h 9"/>
                <a:gd name="T6" fmla="*/ 49 w 9"/>
                <a:gd name="T7" fmla="*/ 0 h 9"/>
                <a:gd name="T8" fmla="*/ 113 w 9"/>
                <a:gd name="T9" fmla="*/ 287 h 9"/>
                <a:gd name="T10" fmla="*/ 49 w 9"/>
                <a:gd name="T11" fmla="*/ 520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745" name="Freeform 728"/>
            <p:cNvSpPr>
              <a:spLocks noChangeArrowheads="1"/>
            </p:cNvSpPr>
            <p:nvPr/>
          </p:nvSpPr>
          <p:spPr bwMode="auto">
            <a:xfrm>
              <a:off x="5393" y="573"/>
              <a:ext cx="13" cy="15"/>
            </a:xfrm>
            <a:custGeom>
              <a:avLst/>
              <a:gdLst>
                <a:gd name="T0" fmla="*/ 108 w 9"/>
                <a:gd name="T1" fmla="*/ 520 h 9"/>
                <a:gd name="T2" fmla="*/ 108 w 9"/>
                <a:gd name="T3" fmla="*/ 520 h 9"/>
                <a:gd name="T4" fmla="*/ 0 w 9"/>
                <a:gd name="T5" fmla="*/ 287 h 9"/>
                <a:gd name="T6" fmla="*/ 0 w 9"/>
                <a:gd name="T7" fmla="*/ 287 h 9"/>
                <a:gd name="T8" fmla="*/ 108 w 9"/>
                <a:gd name="T9" fmla="*/ 0 h 9"/>
                <a:gd name="T10" fmla="*/ 188 w 9"/>
                <a:gd name="T11" fmla="*/ 287 h 9"/>
                <a:gd name="T12" fmla="*/ 108 w 9"/>
                <a:gd name="T13" fmla="*/ 520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5" y="9"/>
                    <a:pt x="5" y="9"/>
                    <a:pt x="5" y="9"/>
                  </a:cubicBez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746" name="Freeform 729"/>
            <p:cNvSpPr>
              <a:spLocks noChangeArrowheads="1"/>
            </p:cNvSpPr>
            <p:nvPr/>
          </p:nvSpPr>
          <p:spPr bwMode="auto">
            <a:xfrm>
              <a:off x="5312" y="573"/>
              <a:ext cx="11" cy="15"/>
            </a:xfrm>
            <a:custGeom>
              <a:avLst/>
              <a:gdLst>
                <a:gd name="T0" fmla="*/ 69 w 8"/>
                <a:gd name="T1" fmla="*/ 520 h 9"/>
                <a:gd name="T2" fmla="*/ 69 w 8"/>
                <a:gd name="T3" fmla="*/ 520 h 9"/>
                <a:gd name="T4" fmla="*/ 0 w 8"/>
                <a:gd name="T5" fmla="*/ 287 h 9"/>
                <a:gd name="T6" fmla="*/ 0 w 8"/>
                <a:gd name="T7" fmla="*/ 287 h 9"/>
                <a:gd name="T8" fmla="*/ 69 w 8"/>
                <a:gd name="T9" fmla="*/ 0 h 9"/>
                <a:gd name="T10" fmla="*/ 131 w 8"/>
                <a:gd name="T11" fmla="*/ 287 h 9"/>
                <a:gd name="T12" fmla="*/ 69 w 8"/>
                <a:gd name="T13" fmla="*/ 520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5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747" name="Freeform 730"/>
            <p:cNvSpPr>
              <a:spLocks noChangeArrowheads="1"/>
            </p:cNvSpPr>
            <p:nvPr/>
          </p:nvSpPr>
          <p:spPr bwMode="auto">
            <a:xfrm>
              <a:off x="5250" y="559"/>
              <a:ext cx="11" cy="14"/>
            </a:xfrm>
            <a:custGeom>
              <a:avLst/>
              <a:gdLst>
                <a:gd name="T0" fmla="*/ 69 w 8"/>
                <a:gd name="T1" fmla="*/ 327 h 9"/>
                <a:gd name="T2" fmla="*/ 0 w 8"/>
                <a:gd name="T3" fmla="*/ 182 h 9"/>
                <a:gd name="T4" fmla="*/ 0 w 8"/>
                <a:gd name="T5" fmla="*/ 182 h 9"/>
                <a:gd name="T6" fmla="*/ 69 w 8"/>
                <a:gd name="T7" fmla="*/ 0 h 9"/>
                <a:gd name="T8" fmla="*/ 131 w 8"/>
                <a:gd name="T9" fmla="*/ 182 h 9"/>
                <a:gd name="T10" fmla="*/ 69 w 8"/>
                <a:gd name="T11" fmla="*/ 327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5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748" name="Freeform 731"/>
            <p:cNvSpPr>
              <a:spLocks noChangeArrowheads="1"/>
            </p:cNvSpPr>
            <p:nvPr/>
          </p:nvSpPr>
          <p:spPr bwMode="auto">
            <a:xfrm>
              <a:off x="5023" y="573"/>
              <a:ext cx="13" cy="15"/>
            </a:xfrm>
            <a:custGeom>
              <a:avLst/>
              <a:gdLst>
                <a:gd name="T0" fmla="*/ 81 w 9"/>
                <a:gd name="T1" fmla="*/ 520 h 9"/>
                <a:gd name="T2" fmla="*/ 81 w 9"/>
                <a:gd name="T3" fmla="*/ 520 h 9"/>
                <a:gd name="T4" fmla="*/ 0 w 9"/>
                <a:gd name="T5" fmla="*/ 287 h 9"/>
                <a:gd name="T6" fmla="*/ 0 w 9"/>
                <a:gd name="T7" fmla="*/ 287 h 9"/>
                <a:gd name="T8" fmla="*/ 81 w 9"/>
                <a:gd name="T9" fmla="*/ 0 h 9"/>
                <a:gd name="T10" fmla="*/ 188 w 9"/>
                <a:gd name="T11" fmla="*/ 287 h 9"/>
                <a:gd name="T12" fmla="*/ 81 w 9"/>
                <a:gd name="T13" fmla="*/ 520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749" name="Freeform 732"/>
            <p:cNvSpPr>
              <a:spLocks noChangeArrowheads="1"/>
            </p:cNvSpPr>
            <p:nvPr/>
          </p:nvSpPr>
          <p:spPr bwMode="auto">
            <a:xfrm>
              <a:off x="4961" y="559"/>
              <a:ext cx="14" cy="14"/>
            </a:xfrm>
            <a:custGeom>
              <a:avLst/>
              <a:gdLst>
                <a:gd name="T0" fmla="*/ 148 w 9"/>
                <a:gd name="T1" fmla="*/ 327 h 9"/>
                <a:gd name="T2" fmla="*/ 0 w 9"/>
                <a:gd name="T3" fmla="*/ 182 h 9"/>
                <a:gd name="T4" fmla="*/ 0 w 9"/>
                <a:gd name="T5" fmla="*/ 182 h 9"/>
                <a:gd name="T6" fmla="*/ 148 w 9"/>
                <a:gd name="T7" fmla="*/ 0 h 9"/>
                <a:gd name="T8" fmla="*/ 327 w 9"/>
                <a:gd name="T9" fmla="*/ 182 h 9"/>
                <a:gd name="T10" fmla="*/ 148 w 9"/>
                <a:gd name="T11" fmla="*/ 327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750" name="Freeform 733"/>
            <p:cNvSpPr>
              <a:spLocks noChangeArrowheads="1"/>
            </p:cNvSpPr>
            <p:nvPr/>
          </p:nvSpPr>
          <p:spPr bwMode="auto">
            <a:xfrm>
              <a:off x="5374" y="559"/>
              <a:ext cx="11" cy="14"/>
            </a:xfrm>
            <a:custGeom>
              <a:avLst/>
              <a:gdLst>
                <a:gd name="T0" fmla="*/ 69 w 8"/>
                <a:gd name="T1" fmla="*/ 327 h 9"/>
                <a:gd name="T2" fmla="*/ 0 w 8"/>
                <a:gd name="T3" fmla="*/ 182 h 9"/>
                <a:gd name="T4" fmla="*/ 0 w 8"/>
                <a:gd name="T5" fmla="*/ 182 h 9"/>
                <a:gd name="T6" fmla="*/ 69 w 8"/>
                <a:gd name="T7" fmla="*/ 0 h 9"/>
                <a:gd name="T8" fmla="*/ 131 w 8"/>
                <a:gd name="T9" fmla="*/ 182 h 9"/>
                <a:gd name="T10" fmla="*/ 69 w 8"/>
                <a:gd name="T11" fmla="*/ 327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5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751" name="Freeform 734"/>
            <p:cNvSpPr>
              <a:spLocks noChangeArrowheads="1"/>
            </p:cNvSpPr>
            <p:nvPr/>
          </p:nvSpPr>
          <p:spPr bwMode="auto">
            <a:xfrm>
              <a:off x="5229" y="573"/>
              <a:ext cx="13" cy="15"/>
            </a:xfrm>
            <a:custGeom>
              <a:avLst/>
              <a:gdLst>
                <a:gd name="T0" fmla="*/ 81 w 9"/>
                <a:gd name="T1" fmla="*/ 520 h 9"/>
                <a:gd name="T2" fmla="*/ 81 w 9"/>
                <a:gd name="T3" fmla="*/ 520 h 9"/>
                <a:gd name="T4" fmla="*/ 0 w 9"/>
                <a:gd name="T5" fmla="*/ 287 h 9"/>
                <a:gd name="T6" fmla="*/ 81 w 9"/>
                <a:gd name="T7" fmla="*/ 0 h 9"/>
                <a:gd name="T8" fmla="*/ 188 w 9"/>
                <a:gd name="T9" fmla="*/ 287 h 9"/>
                <a:gd name="T10" fmla="*/ 81 w 9"/>
                <a:gd name="T11" fmla="*/ 520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752" name="Freeform 735"/>
            <p:cNvSpPr>
              <a:spLocks noChangeArrowheads="1"/>
            </p:cNvSpPr>
            <p:nvPr/>
          </p:nvSpPr>
          <p:spPr bwMode="auto">
            <a:xfrm>
              <a:off x="5189" y="573"/>
              <a:ext cx="11" cy="15"/>
            </a:xfrm>
            <a:custGeom>
              <a:avLst/>
              <a:gdLst>
                <a:gd name="T0" fmla="*/ 69 w 8"/>
                <a:gd name="T1" fmla="*/ 520 h 9"/>
                <a:gd name="T2" fmla="*/ 69 w 8"/>
                <a:gd name="T3" fmla="*/ 520 h 9"/>
                <a:gd name="T4" fmla="*/ 0 w 8"/>
                <a:gd name="T5" fmla="*/ 287 h 9"/>
                <a:gd name="T6" fmla="*/ 0 w 8"/>
                <a:gd name="T7" fmla="*/ 287 h 9"/>
                <a:gd name="T8" fmla="*/ 69 w 8"/>
                <a:gd name="T9" fmla="*/ 0 h 9"/>
                <a:gd name="T10" fmla="*/ 131 w 8"/>
                <a:gd name="T11" fmla="*/ 287 h 9"/>
                <a:gd name="T12" fmla="*/ 69 w 8"/>
                <a:gd name="T13" fmla="*/ 520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1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1" y="0"/>
                    <a:pt x="4" y="0"/>
                  </a:cubicBezTo>
                  <a:cubicBezTo>
                    <a:pt x="6" y="0"/>
                    <a:pt x="8" y="2"/>
                    <a:pt x="8" y="5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753" name="Freeform 736"/>
            <p:cNvSpPr>
              <a:spLocks noChangeArrowheads="1"/>
            </p:cNvSpPr>
            <p:nvPr/>
          </p:nvSpPr>
          <p:spPr bwMode="auto">
            <a:xfrm>
              <a:off x="5085" y="559"/>
              <a:ext cx="13" cy="14"/>
            </a:xfrm>
            <a:custGeom>
              <a:avLst/>
              <a:gdLst>
                <a:gd name="T0" fmla="*/ 81 w 9"/>
                <a:gd name="T1" fmla="*/ 327 h 9"/>
                <a:gd name="T2" fmla="*/ 0 w 9"/>
                <a:gd name="T3" fmla="*/ 182 h 9"/>
                <a:gd name="T4" fmla="*/ 0 w 9"/>
                <a:gd name="T5" fmla="*/ 182 h 9"/>
                <a:gd name="T6" fmla="*/ 81 w 9"/>
                <a:gd name="T7" fmla="*/ 0 h 9"/>
                <a:gd name="T8" fmla="*/ 188 w 9"/>
                <a:gd name="T9" fmla="*/ 182 h 9"/>
                <a:gd name="T10" fmla="*/ 81 w 9"/>
                <a:gd name="T11" fmla="*/ 327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754" name="Freeform 737"/>
            <p:cNvSpPr>
              <a:spLocks noChangeArrowheads="1"/>
            </p:cNvSpPr>
            <p:nvPr/>
          </p:nvSpPr>
          <p:spPr bwMode="auto">
            <a:xfrm>
              <a:off x="5002" y="559"/>
              <a:ext cx="12" cy="14"/>
            </a:xfrm>
            <a:custGeom>
              <a:avLst/>
              <a:gdLst>
                <a:gd name="T0" fmla="*/ 65 w 9"/>
                <a:gd name="T1" fmla="*/ 327 h 9"/>
                <a:gd name="T2" fmla="*/ 0 w 9"/>
                <a:gd name="T3" fmla="*/ 182 h 9"/>
                <a:gd name="T4" fmla="*/ 0 w 9"/>
                <a:gd name="T5" fmla="*/ 182 h 9"/>
                <a:gd name="T6" fmla="*/ 65 w 9"/>
                <a:gd name="T7" fmla="*/ 0 h 9"/>
                <a:gd name="T8" fmla="*/ 116 w 9"/>
                <a:gd name="T9" fmla="*/ 182 h 9"/>
                <a:gd name="T10" fmla="*/ 65 w 9"/>
                <a:gd name="T11" fmla="*/ 327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755" name="Freeform 738"/>
            <p:cNvSpPr>
              <a:spLocks noChangeArrowheads="1"/>
            </p:cNvSpPr>
            <p:nvPr/>
          </p:nvSpPr>
          <p:spPr bwMode="auto">
            <a:xfrm>
              <a:off x="4940" y="573"/>
              <a:ext cx="12" cy="15"/>
            </a:xfrm>
            <a:custGeom>
              <a:avLst/>
              <a:gdLst>
                <a:gd name="T0" fmla="*/ 64 w 9"/>
                <a:gd name="T1" fmla="*/ 520 h 9"/>
                <a:gd name="T2" fmla="*/ 49 w 9"/>
                <a:gd name="T3" fmla="*/ 520 h 9"/>
                <a:gd name="T4" fmla="*/ 0 w 9"/>
                <a:gd name="T5" fmla="*/ 287 h 9"/>
                <a:gd name="T6" fmla="*/ 64 w 9"/>
                <a:gd name="T7" fmla="*/ 0 h 9"/>
                <a:gd name="T8" fmla="*/ 113 w 9"/>
                <a:gd name="T9" fmla="*/ 287 h 9"/>
                <a:gd name="T10" fmla="*/ 64 w 9"/>
                <a:gd name="T11" fmla="*/ 520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756" name="Freeform 739"/>
            <p:cNvSpPr>
              <a:spLocks noChangeArrowheads="1"/>
            </p:cNvSpPr>
            <p:nvPr/>
          </p:nvSpPr>
          <p:spPr bwMode="auto">
            <a:xfrm>
              <a:off x="5353" y="573"/>
              <a:ext cx="12" cy="15"/>
            </a:xfrm>
            <a:custGeom>
              <a:avLst/>
              <a:gdLst>
                <a:gd name="T0" fmla="*/ 49 w 9"/>
                <a:gd name="T1" fmla="*/ 520 h 9"/>
                <a:gd name="T2" fmla="*/ 49 w 9"/>
                <a:gd name="T3" fmla="*/ 520 h 9"/>
                <a:gd name="T4" fmla="*/ 0 w 9"/>
                <a:gd name="T5" fmla="*/ 287 h 9"/>
                <a:gd name="T6" fmla="*/ 0 w 9"/>
                <a:gd name="T7" fmla="*/ 287 h 9"/>
                <a:gd name="T8" fmla="*/ 49 w 9"/>
                <a:gd name="T9" fmla="*/ 0 h 9"/>
                <a:gd name="T10" fmla="*/ 113 w 9"/>
                <a:gd name="T11" fmla="*/ 287 h 9"/>
                <a:gd name="T12" fmla="*/ 49 w 9"/>
                <a:gd name="T13" fmla="*/ 520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757" name="Freeform 740"/>
            <p:cNvSpPr>
              <a:spLocks noChangeArrowheads="1"/>
            </p:cNvSpPr>
            <p:nvPr/>
          </p:nvSpPr>
          <p:spPr bwMode="auto">
            <a:xfrm>
              <a:off x="5063" y="573"/>
              <a:ext cx="14" cy="15"/>
            </a:xfrm>
            <a:custGeom>
              <a:avLst/>
              <a:gdLst>
                <a:gd name="T0" fmla="*/ 182 w 9"/>
                <a:gd name="T1" fmla="*/ 520 h 9"/>
                <a:gd name="T2" fmla="*/ 182 w 9"/>
                <a:gd name="T3" fmla="*/ 520 h 9"/>
                <a:gd name="T4" fmla="*/ 0 w 9"/>
                <a:gd name="T5" fmla="*/ 287 h 9"/>
                <a:gd name="T6" fmla="*/ 0 w 9"/>
                <a:gd name="T7" fmla="*/ 287 h 9"/>
                <a:gd name="T8" fmla="*/ 182 w 9"/>
                <a:gd name="T9" fmla="*/ 0 h 9"/>
                <a:gd name="T10" fmla="*/ 327 w 9"/>
                <a:gd name="T11" fmla="*/ 287 h 9"/>
                <a:gd name="T12" fmla="*/ 182 w 9"/>
                <a:gd name="T13" fmla="*/ 520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5" y="9"/>
                    <a:pt x="5" y="9"/>
                    <a:pt x="5" y="9"/>
                  </a:cubicBez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758" name="Freeform 741"/>
            <p:cNvSpPr>
              <a:spLocks noChangeArrowheads="1"/>
            </p:cNvSpPr>
            <p:nvPr/>
          </p:nvSpPr>
          <p:spPr bwMode="auto">
            <a:xfrm>
              <a:off x="4983" y="573"/>
              <a:ext cx="11" cy="15"/>
            </a:xfrm>
            <a:custGeom>
              <a:avLst/>
              <a:gdLst>
                <a:gd name="T0" fmla="*/ 69 w 8"/>
                <a:gd name="T1" fmla="*/ 520 h 9"/>
                <a:gd name="T2" fmla="*/ 69 w 8"/>
                <a:gd name="T3" fmla="*/ 520 h 9"/>
                <a:gd name="T4" fmla="*/ 0 w 8"/>
                <a:gd name="T5" fmla="*/ 287 h 9"/>
                <a:gd name="T6" fmla="*/ 0 w 8"/>
                <a:gd name="T7" fmla="*/ 287 h 9"/>
                <a:gd name="T8" fmla="*/ 69 w 8"/>
                <a:gd name="T9" fmla="*/ 0 h 9"/>
                <a:gd name="T10" fmla="*/ 131 w 8"/>
                <a:gd name="T11" fmla="*/ 287 h 9"/>
                <a:gd name="T12" fmla="*/ 69 w 8"/>
                <a:gd name="T13" fmla="*/ 520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5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759" name="Freeform 742"/>
            <p:cNvSpPr>
              <a:spLocks noChangeArrowheads="1"/>
            </p:cNvSpPr>
            <p:nvPr/>
          </p:nvSpPr>
          <p:spPr bwMode="auto">
            <a:xfrm>
              <a:off x="4921" y="559"/>
              <a:ext cx="11" cy="14"/>
            </a:xfrm>
            <a:custGeom>
              <a:avLst/>
              <a:gdLst>
                <a:gd name="T0" fmla="*/ 69 w 8"/>
                <a:gd name="T1" fmla="*/ 327 h 9"/>
                <a:gd name="T2" fmla="*/ 0 w 8"/>
                <a:gd name="T3" fmla="*/ 182 h 9"/>
                <a:gd name="T4" fmla="*/ 0 w 8"/>
                <a:gd name="T5" fmla="*/ 182 h 9"/>
                <a:gd name="T6" fmla="*/ 69 w 8"/>
                <a:gd name="T7" fmla="*/ 0 h 9"/>
                <a:gd name="T8" fmla="*/ 131 w 8"/>
                <a:gd name="T9" fmla="*/ 182 h 9"/>
                <a:gd name="T10" fmla="*/ 69 w 8"/>
                <a:gd name="T11" fmla="*/ 327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5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760" name="Freeform 743"/>
            <p:cNvSpPr>
              <a:spLocks noChangeArrowheads="1"/>
            </p:cNvSpPr>
            <p:nvPr/>
          </p:nvSpPr>
          <p:spPr bwMode="auto">
            <a:xfrm>
              <a:off x="5476" y="595"/>
              <a:ext cx="12" cy="13"/>
            </a:xfrm>
            <a:custGeom>
              <a:avLst/>
              <a:gdLst>
                <a:gd name="T0" fmla="*/ 49 w 9"/>
                <a:gd name="T1" fmla="*/ 188 h 9"/>
                <a:gd name="T2" fmla="*/ 0 w 9"/>
                <a:gd name="T3" fmla="*/ 108 h 9"/>
                <a:gd name="T4" fmla="*/ 0 w 9"/>
                <a:gd name="T5" fmla="*/ 81 h 9"/>
                <a:gd name="T6" fmla="*/ 49 w 9"/>
                <a:gd name="T7" fmla="*/ 0 h 9"/>
                <a:gd name="T8" fmla="*/ 65 w 9"/>
                <a:gd name="T9" fmla="*/ 0 h 9"/>
                <a:gd name="T10" fmla="*/ 116 w 9"/>
                <a:gd name="T11" fmla="*/ 81 h 9"/>
                <a:gd name="T12" fmla="*/ 49 w 9"/>
                <a:gd name="T13" fmla="*/ 188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761" name="Freeform 744"/>
            <p:cNvSpPr>
              <a:spLocks noChangeArrowheads="1"/>
            </p:cNvSpPr>
            <p:nvPr/>
          </p:nvSpPr>
          <p:spPr bwMode="auto">
            <a:xfrm>
              <a:off x="5436" y="595"/>
              <a:ext cx="12" cy="13"/>
            </a:xfrm>
            <a:custGeom>
              <a:avLst/>
              <a:gdLst>
                <a:gd name="T0" fmla="*/ 120 w 8"/>
                <a:gd name="T1" fmla="*/ 188 h 9"/>
                <a:gd name="T2" fmla="*/ 0 w 8"/>
                <a:gd name="T3" fmla="*/ 108 h 9"/>
                <a:gd name="T4" fmla="*/ 0 w 8"/>
                <a:gd name="T5" fmla="*/ 81 h 9"/>
                <a:gd name="T6" fmla="*/ 120 w 8"/>
                <a:gd name="T7" fmla="*/ 0 h 9"/>
                <a:gd name="T8" fmla="*/ 120 w 8"/>
                <a:gd name="T9" fmla="*/ 0 h 9"/>
                <a:gd name="T10" fmla="*/ 230 w 8"/>
                <a:gd name="T11" fmla="*/ 81 h 9"/>
                <a:gd name="T12" fmla="*/ 120 w 8"/>
                <a:gd name="T13" fmla="*/ 188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7" y="0"/>
                    <a:pt x="8" y="2"/>
                    <a:pt x="8" y="4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762" name="Freeform 745"/>
            <p:cNvSpPr>
              <a:spLocks noChangeArrowheads="1"/>
            </p:cNvSpPr>
            <p:nvPr/>
          </p:nvSpPr>
          <p:spPr bwMode="auto">
            <a:xfrm>
              <a:off x="5415" y="581"/>
              <a:ext cx="12" cy="12"/>
            </a:xfrm>
            <a:custGeom>
              <a:avLst/>
              <a:gdLst>
                <a:gd name="T0" fmla="*/ 64 w 9"/>
                <a:gd name="T1" fmla="*/ 113 h 9"/>
                <a:gd name="T2" fmla="*/ 49 w 9"/>
                <a:gd name="T3" fmla="*/ 113 h 9"/>
                <a:gd name="T4" fmla="*/ 0 w 9"/>
                <a:gd name="T5" fmla="*/ 64 h 9"/>
                <a:gd name="T6" fmla="*/ 0 w 9"/>
                <a:gd name="T7" fmla="*/ 64 h 9"/>
                <a:gd name="T8" fmla="*/ 49 w 9"/>
                <a:gd name="T9" fmla="*/ 0 h 9"/>
                <a:gd name="T10" fmla="*/ 113 w 9"/>
                <a:gd name="T11" fmla="*/ 64 h 9"/>
                <a:gd name="T12" fmla="*/ 64 w 9"/>
                <a:gd name="T13" fmla="*/ 113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763" name="Freeform 746"/>
            <p:cNvSpPr>
              <a:spLocks noChangeArrowheads="1"/>
            </p:cNvSpPr>
            <p:nvPr/>
          </p:nvSpPr>
          <p:spPr bwMode="auto">
            <a:xfrm>
              <a:off x="5331" y="581"/>
              <a:ext cx="14" cy="12"/>
            </a:xfrm>
            <a:custGeom>
              <a:avLst/>
              <a:gdLst>
                <a:gd name="T0" fmla="*/ 182 w 9"/>
                <a:gd name="T1" fmla="*/ 113 h 9"/>
                <a:gd name="T2" fmla="*/ 182 w 9"/>
                <a:gd name="T3" fmla="*/ 113 h 9"/>
                <a:gd name="T4" fmla="*/ 0 w 9"/>
                <a:gd name="T5" fmla="*/ 64 h 9"/>
                <a:gd name="T6" fmla="*/ 0 w 9"/>
                <a:gd name="T7" fmla="*/ 64 h 9"/>
                <a:gd name="T8" fmla="*/ 182 w 9"/>
                <a:gd name="T9" fmla="*/ 0 h 9"/>
                <a:gd name="T10" fmla="*/ 327 w 9"/>
                <a:gd name="T11" fmla="*/ 64 h 9"/>
                <a:gd name="T12" fmla="*/ 182 w 9"/>
                <a:gd name="T13" fmla="*/ 113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5" y="9"/>
                    <a:pt x="5" y="9"/>
                    <a:pt x="5" y="9"/>
                  </a:cubicBez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764" name="Freeform 747"/>
            <p:cNvSpPr>
              <a:spLocks noChangeArrowheads="1"/>
            </p:cNvSpPr>
            <p:nvPr/>
          </p:nvSpPr>
          <p:spPr bwMode="auto">
            <a:xfrm>
              <a:off x="5044" y="581"/>
              <a:ext cx="11" cy="12"/>
            </a:xfrm>
            <a:custGeom>
              <a:avLst/>
              <a:gdLst>
                <a:gd name="T0" fmla="*/ 69 w 8"/>
                <a:gd name="T1" fmla="*/ 113 h 9"/>
                <a:gd name="T2" fmla="*/ 69 w 8"/>
                <a:gd name="T3" fmla="*/ 113 h 9"/>
                <a:gd name="T4" fmla="*/ 0 w 8"/>
                <a:gd name="T5" fmla="*/ 64 h 9"/>
                <a:gd name="T6" fmla="*/ 0 w 8"/>
                <a:gd name="T7" fmla="*/ 64 h 9"/>
                <a:gd name="T8" fmla="*/ 69 w 8"/>
                <a:gd name="T9" fmla="*/ 0 h 9"/>
                <a:gd name="T10" fmla="*/ 131 w 8"/>
                <a:gd name="T11" fmla="*/ 64 h 9"/>
                <a:gd name="T12" fmla="*/ 69 w 8"/>
                <a:gd name="T13" fmla="*/ 113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5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765" name="Freeform 748"/>
            <p:cNvSpPr>
              <a:spLocks noChangeArrowheads="1"/>
            </p:cNvSpPr>
            <p:nvPr/>
          </p:nvSpPr>
          <p:spPr bwMode="auto">
            <a:xfrm>
              <a:off x="5600" y="595"/>
              <a:ext cx="12" cy="13"/>
            </a:xfrm>
            <a:custGeom>
              <a:avLst/>
              <a:gdLst>
                <a:gd name="T0" fmla="*/ 64 w 9"/>
                <a:gd name="T1" fmla="*/ 188 h 9"/>
                <a:gd name="T2" fmla="*/ 0 w 9"/>
                <a:gd name="T3" fmla="*/ 81 h 9"/>
                <a:gd name="T4" fmla="*/ 49 w 9"/>
                <a:gd name="T5" fmla="*/ 0 h 9"/>
                <a:gd name="T6" fmla="*/ 64 w 9"/>
                <a:gd name="T7" fmla="*/ 0 h 9"/>
                <a:gd name="T8" fmla="*/ 113 w 9"/>
                <a:gd name="T9" fmla="*/ 81 h 9"/>
                <a:gd name="T10" fmla="*/ 64 w 9"/>
                <a:gd name="T11" fmla="*/ 188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2" y="9"/>
                    <a:pt x="0" y="7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766" name="Freeform 749"/>
            <p:cNvSpPr>
              <a:spLocks noChangeArrowheads="1"/>
            </p:cNvSpPr>
            <p:nvPr/>
          </p:nvSpPr>
          <p:spPr bwMode="auto">
            <a:xfrm>
              <a:off x="5580" y="581"/>
              <a:ext cx="11" cy="12"/>
            </a:xfrm>
            <a:custGeom>
              <a:avLst/>
              <a:gdLst>
                <a:gd name="T0" fmla="*/ 69 w 8"/>
                <a:gd name="T1" fmla="*/ 113 h 9"/>
                <a:gd name="T2" fmla="*/ 69 w 8"/>
                <a:gd name="T3" fmla="*/ 113 h 9"/>
                <a:gd name="T4" fmla="*/ 0 w 8"/>
                <a:gd name="T5" fmla="*/ 64 h 9"/>
                <a:gd name="T6" fmla="*/ 0 w 8"/>
                <a:gd name="T7" fmla="*/ 64 h 9"/>
                <a:gd name="T8" fmla="*/ 69 w 8"/>
                <a:gd name="T9" fmla="*/ 0 h 9"/>
                <a:gd name="T10" fmla="*/ 131 w 8"/>
                <a:gd name="T11" fmla="*/ 64 h 9"/>
                <a:gd name="T12" fmla="*/ 69 w 8"/>
                <a:gd name="T13" fmla="*/ 113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5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767" name="Freeform 750"/>
            <p:cNvSpPr>
              <a:spLocks noChangeArrowheads="1"/>
            </p:cNvSpPr>
            <p:nvPr/>
          </p:nvSpPr>
          <p:spPr bwMode="auto">
            <a:xfrm>
              <a:off x="5558" y="595"/>
              <a:ext cx="12" cy="13"/>
            </a:xfrm>
            <a:custGeom>
              <a:avLst/>
              <a:gdLst>
                <a:gd name="T0" fmla="*/ 49 w 9"/>
                <a:gd name="T1" fmla="*/ 188 h 9"/>
                <a:gd name="T2" fmla="*/ 0 w 9"/>
                <a:gd name="T3" fmla="*/ 108 h 9"/>
                <a:gd name="T4" fmla="*/ 0 w 9"/>
                <a:gd name="T5" fmla="*/ 81 h 9"/>
                <a:gd name="T6" fmla="*/ 49 w 9"/>
                <a:gd name="T7" fmla="*/ 0 h 9"/>
                <a:gd name="T8" fmla="*/ 49 w 9"/>
                <a:gd name="T9" fmla="*/ 0 h 9"/>
                <a:gd name="T10" fmla="*/ 113 w 9"/>
                <a:gd name="T11" fmla="*/ 81 h 9"/>
                <a:gd name="T12" fmla="*/ 49 w 9"/>
                <a:gd name="T13" fmla="*/ 188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768" name="Freeform 751"/>
            <p:cNvSpPr>
              <a:spLocks noChangeArrowheads="1"/>
            </p:cNvSpPr>
            <p:nvPr/>
          </p:nvSpPr>
          <p:spPr bwMode="auto">
            <a:xfrm>
              <a:off x="5538" y="581"/>
              <a:ext cx="12" cy="12"/>
            </a:xfrm>
            <a:custGeom>
              <a:avLst/>
              <a:gdLst>
                <a:gd name="T0" fmla="*/ 64 w 9"/>
                <a:gd name="T1" fmla="*/ 113 h 9"/>
                <a:gd name="T2" fmla="*/ 49 w 9"/>
                <a:gd name="T3" fmla="*/ 113 h 9"/>
                <a:gd name="T4" fmla="*/ 0 w 9"/>
                <a:gd name="T5" fmla="*/ 64 h 9"/>
                <a:gd name="T6" fmla="*/ 0 w 9"/>
                <a:gd name="T7" fmla="*/ 64 h 9"/>
                <a:gd name="T8" fmla="*/ 64 w 9"/>
                <a:gd name="T9" fmla="*/ 0 h 9"/>
                <a:gd name="T10" fmla="*/ 113 w 9"/>
                <a:gd name="T11" fmla="*/ 64 h 9"/>
                <a:gd name="T12" fmla="*/ 64 w 9"/>
                <a:gd name="T13" fmla="*/ 113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769" name="Freeform 752"/>
            <p:cNvSpPr>
              <a:spLocks noChangeArrowheads="1"/>
            </p:cNvSpPr>
            <p:nvPr/>
          </p:nvSpPr>
          <p:spPr bwMode="auto">
            <a:xfrm>
              <a:off x="5455" y="581"/>
              <a:ext cx="13" cy="12"/>
            </a:xfrm>
            <a:custGeom>
              <a:avLst/>
              <a:gdLst>
                <a:gd name="T0" fmla="*/ 108 w 9"/>
                <a:gd name="T1" fmla="*/ 113 h 9"/>
                <a:gd name="T2" fmla="*/ 108 w 9"/>
                <a:gd name="T3" fmla="*/ 113 h 9"/>
                <a:gd name="T4" fmla="*/ 0 w 9"/>
                <a:gd name="T5" fmla="*/ 64 h 9"/>
                <a:gd name="T6" fmla="*/ 108 w 9"/>
                <a:gd name="T7" fmla="*/ 0 h 9"/>
                <a:gd name="T8" fmla="*/ 188 w 9"/>
                <a:gd name="T9" fmla="*/ 64 h 9"/>
                <a:gd name="T10" fmla="*/ 108 w 9"/>
                <a:gd name="T11" fmla="*/ 113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5" y="9"/>
                    <a:pt x="5" y="9"/>
                    <a:pt x="5" y="9"/>
                  </a:cubicBezTo>
                  <a:cubicBezTo>
                    <a:pt x="2" y="9"/>
                    <a:pt x="0" y="7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770" name="Freeform 753"/>
            <p:cNvSpPr>
              <a:spLocks noChangeArrowheads="1"/>
            </p:cNvSpPr>
            <p:nvPr/>
          </p:nvSpPr>
          <p:spPr bwMode="auto">
            <a:xfrm>
              <a:off x="5744" y="581"/>
              <a:ext cx="13" cy="12"/>
            </a:xfrm>
            <a:custGeom>
              <a:avLst/>
              <a:gdLst>
                <a:gd name="T0" fmla="*/ 108 w 9"/>
                <a:gd name="T1" fmla="*/ 113 h 9"/>
                <a:gd name="T2" fmla="*/ 81 w 9"/>
                <a:gd name="T3" fmla="*/ 113 h 9"/>
                <a:gd name="T4" fmla="*/ 0 w 9"/>
                <a:gd name="T5" fmla="*/ 64 h 9"/>
                <a:gd name="T6" fmla="*/ 81 w 9"/>
                <a:gd name="T7" fmla="*/ 0 h 9"/>
                <a:gd name="T8" fmla="*/ 188 w 9"/>
                <a:gd name="T9" fmla="*/ 64 h 9"/>
                <a:gd name="T10" fmla="*/ 108 w 9"/>
                <a:gd name="T11" fmla="*/ 113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771" name="Freeform 754"/>
            <p:cNvSpPr>
              <a:spLocks noChangeArrowheads="1"/>
            </p:cNvSpPr>
            <p:nvPr/>
          </p:nvSpPr>
          <p:spPr bwMode="auto">
            <a:xfrm>
              <a:off x="5723" y="595"/>
              <a:ext cx="12" cy="13"/>
            </a:xfrm>
            <a:custGeom>
              <a:avLst/>
              <a:gdLst>
                <a:gd name="T0" fmla="*/ 64 w 9"/>
                <a:gd name="T1" fmla="*/ 188 h 9"/>
                <a:gd name="T2" fmla="*/ 0 w 9"/>
                <a:gd name="T3" fmla="*/ 108 h 9"/>
                <a:gd name="T4" fmla="*/ 0 w 9"/>
                <a:gd name="T5" fmla="*/ 81 h 9"/>
                <a:gd name="T6" fmla="*/ 64 w 9"/>
                <a:gd name="T7" fmla="*/ 0 h 9"/>
                <a:gd name="T8" fmla="*/ 64 w 9"/>
                <a:gd name="T9" fmla="*/ 0 h 9"/>
                <a:gd name="T10" fmla="*/ 113 w 9"/>
                <a:gd name="T11" fmla="*/ 81 h 9"/>
                <a:gd name="T12" fmla="*/ 64 w 9"/>
                <a:gd name="T13" fmla="*/ 188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772" name="Freeform 755"/>
            <p:cNvSpPr>
              <a:spLocks noChangeArrowheads="1"/>
            </p:cNvSpPr>
            <p:nvPr/>
          </p:nvSpPr>
          <p:spPr bwMode="auto">
            <a:xfrm>
              <a:off x="5703" y="581"/>
              <a:ext cx="11" cy="12"/>
            </a:xfrm>
            <a:custGeom>
              <a:avLst/>
              <a:gdLst>
                <a:gd name="T0" fmla="*/ 69 w 8"/>
                <a:gd name="T1" fmla="*/ 113 h 9"/>
                <a:gd name="T2" fmla="*/ 69 w 8"/>
                <a:gd name="T3" fmla="*/ 113 h 9"/>
                <a:gd name="T4" fmla="*/ 0 w 8"/>
                <a:gd name="T5" fmla="*/ 64 h 9"/>
                <a:gd name="T6" fmla="*/ 0 w 8"/>
                <a:gd name="T7" fmla="*/ 64 h 9"/>
                <a:gd name="T8" fmla="*/ 69 w 8"/>
                <a:gd name="T9" fmla="*/ 0 h 9"/>
                <a:gd name="T10" fmla="*/ 131 w 8"/>
                <a:gd name="T11" fmla="*/ 64 h 9"/>
                <a:gd name="T12" fmla="*/ 69 w 8"/>
                <a:gd name="T13" fmla="*/ 113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5"/>
                  </a:cubicBezTo>
                  <a:cubicBezTo>
                    <a:pt x="8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773" name="Freeform 756"/>
            <p:cNvSpPr>
              <a:spLocks noChangeArrowheads="1"/>
            </p:cNvSpPr>
            <p:nvPr/>
          </p:nvSpPr>
          <p:spPr bwMode="auto">
            <a:xfrm>
              <a:off x="5682" y="595"/>
              <a:ext cx="12" cy="13"/>
            </a:xfrm>
            <a:custGeom>
              <a:avLst/>
              <a:gdLst>
                <a:gd name="T0" fmla="*/ 49 w 9"/>
                <a:gd name="T1" fmla="*/ 188 h 9"/>
                <a:gd name="T2" fmla="*/ 0 w 9"/>
                <a:gd name="T3" fmla="*/ 81 h 9"/>
                <a:gd name="T4" fmla="*/ 49 w 9"/>
                <a:gd name="T5" fmla="*/ 0 h 9"/>
                <a:gd name="T6" fmla="*/ 49 w 9"/>
                <a:gd name="T7" fmla="*/ 0 h 9"/>
                <a:gd name="T8" fmla="*/ 113 w 9"/>
                <a:gd name="T9" fmla="*/ 81 h 9"/>
                <a:gd name="T10" fmla="*/ 49 w 9"/>
                <a:gd name="T11" fmla="*/ 188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2" y="9"/>
                    <a:pt x="0" y="7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774" name="Freeform 757"/>
            <p:cNvSpPr>
              <a:spLocks noChangeArrowheads="1"/>
            </p:cNvSpPr>
            <p:nvPr/>
          </p:nvSpPr>
          <p:spPr bwMode="auto">
            <a:xfrm>
              <a:off x="5661" y="581"/>
              <a:ext cx="12" cy="12"/>
            </a:xfrm>
            <a:custGeom>
              <a:avLst/>
              <a:gdLst>
                <a:gd name="T0" fmla="*/ 64 w 9"/>
                <a:gd name="T1" fmla="*/ 113 h 9"/>
                <a:gd name="T2" fmla="*/ 64 w 9"/>
                <a:gd name="T3" fmla="*/ 113 h 9"/>
                <a:gd name="T4" fmla="*/ 0 w 9"/>
                <a:gd name="T5" fmla="*/ 64 h 9"/>
                <a:gd name="T6" fmla="*/ 0 w 9"/>
                <a:gd name="T7" fmla="*/ 64 h 9"/>
                <a:gd name="T8" fmla="*/ 64 w 9"/>
                <a:gd name="T9" fmla="*/ 0 h 9"/>
                <a:gd name="T10" fmla="*/ 113 w 9"/>
                <a:gd name="T11" fmla="*/ 64 h 9"/>
                <a:gd name="T12" fmla="*/ 64 w 9"/>
                <a:gd name="T13" fmla="*/ 113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5" y="9"/>
                    <a:pt x="5" y="9"/>
                    <a:pt x="5" y="9"/>
                  </a:cubicBez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775" name="Freeform 758"/>
            <p:cNvSpPr>
              <a:spLocks noChangeArrowheads="1"/>
            </p:cNvSpPr>
            <p:nvPr/>
          </p:nvSpPr>
          <p:spPr bwMode="auto">
            <a:xfrm>
              <a:off x="5640" y="595"/>
              <a:ext cx="12" cy="13"/>
            </a:xfrm>
            <a:custGeom>
              <a:avLst/>
              <a:gdLst>
                <a:gd name="T0" fmla="*/ 120 w 8"/>
                <a:gd name="T1" fmla="*/ 188 h 9"/>
                <a:gd name="T2" fmla="*/ 0 w 8"/>
                <a:gd name="T3" fmla="*/ 108 h 9"/>
                <a:gd name="T4" fmla="*/ 0 w 8"/>
                <a:gd name="T5" fmla="*/ 81 h 9"/>
                <a:gd name="T6" fmla="*/ 120 w 8"/>
                <a:gd name="T7" fmla="*/ 0 h 9"/>
                <a:gd name="T8" fmla="*/ 120 w 8"/>
                <a:gd name="T9" fmla="*/ 0 h 9"/>
                <a:gd name="T10" fmla="*/ 230 w 8"/>
                <a:gd name="T11" fmla="*/ 81 h 9"/>
                <a:gd name="T12" fmla="*/ 230 w 8"/>
                <a:gd name="T13" fmla="*/ 108 h 9"/>
                <a:gd name="T14" fmla="*/ 120 w 8"/>
                <a:gd name="T15" fmla="*/ 188 h 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776" name="Freeform 759"/>
            <p:cNvSpPr>
              <a:spLocks noChangeArrowheads="1"/>
            </p:cNvSpPr>
            <p:nvPr/>
          </p:nvSpPr>
          <p:spPr bwMode="auto">
            <a:xfrm>
              <a:off x="5621" y="581"/>
              <a:ext cx="12" cy="12"/>
            </a:xfrm>
            <a:custGeom>
              <a:avLst/>
              <a:gdLst>
                <a:gd name="T0" fmla="*/ 49 w 9"/>
                <a:gd name="T1" fmla="*/ 113 h 9"/>
                <a:gd name="T2" fmla="*/ 49 w 9"/>
                <a:gd name="T3" fmla="*/ 113 h 9"/>
                <a:gd name="T4" fmla="*/ 0 w 9"/>
                <a:gd name="T5" fmla="*/ 64 h 9"/>
                <a:gd name="T6" fmla="*/ 49 w 9"/>
                <a:gd name="T7" fmla="*/ 0 h 9"/>
                <a:gd name="T8" fmla="*/ 113 w 9"/>
                <a:gd name="T9" fmla="*/ 64 h 9"/>
                <a:gd name="T10" fmla="*/ 49 w 9"/>
                <a:gd name="T11" fmla="*/ 113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777" name="Freeform 760"/>
            <p:cNvSpPr>
              <a:spLocks noChangeArrowheads="1"/>
            </p:cNvSpPr>
            <p:nvPr/>
          </p:nvSpPr>
          <p:spPr bwMode="auto">
            <a:xfrm>
              <a:off x="5393" y="595"/>
              <a:ext cx="13" cy="13"/>
            </a:xfrm>
            <a:custGeom>
              <a:avLst/>
              <a:gdLst>
                <a:gd name="T0" fmla="*/ 108 w 9"/>
                <a:gd name="T1" fmla="*/ 188 h 9"/>
                <a:gd name="T2" fmla="*/ 0 w 9"/>
                <a:gd name="T3" fmla="*/ 108 h 9"/>
                <a:gd name="T4" fmla="*/ 0 w 9"/>
                <a:gd name="T5" fmla="*/ 81 h 9"/>
                <a:gd name="T6" fmla="*/ 108 w 9"/>
                <a:gd name="T7" fmla="*/ 0 h 9"/>
                <a:gd name="T8" fmla="*/ 108 w 9"/>
                <a:gd name="T9" fmla="*/ 0 h 9"/>
                <a:gd name="T10" fmla="*/ 188 w 9"/>
                <a:gd name="T11" fmla="*/ 81 h 9"/>
                <a:gd name="T12" fmla="*/ 108 w 9"/>
                <a:gd name="T13" fmla="*/ 188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778" name="Freeform 761"/>
            <p:cNvSpPr>
              <a:spLocks noChangeArrowheads="1"/>
            </p:cNvSpPr>
            <p:nvPr/>
          </p:nvSpPr>
          <p:spPr bwMode="auto">
            <a:xfrm>
              <a:off x="5250" y="581"/>
              <a:ext cx="11" cy="12"/>
            </a:xfrm>
            <a:custGeom>
              <a:avLst/>
              <a:gdLst>
                <a:gd name="T0" fmla="*/ 69 w 8"/>
                <a:gd name="T1" fmla="*/ 113 h 9"/>
                <a:gd name="T2" fmla="*/ 69 w 8"/>
                <a:gd name="T3" fmla="*/ 113 h 9"/>
                <a:gd name="T4" fmla="*/ 0 w 8"/>
                <a:gd name="T5" fmla="*/ 64 h 9"/>
                <a:gd name="T6" fmla="*/ 0 w 8"/>
                <a:gd name="T7" fmla="*/ 64 h 9"/>
                <a:gd name="T8" fmla="*/ 69 w 8"/>
                <a:gd name="T9" fmla="*/ 0 h 9"/>
                <a:gd name="T10" fmla="*/ 131 w 8"/>
                <a:gd name="T11" fmla="*/ 64 h 9"/>
                <a:gd name="T12" fmla="*/ 69 w 8"/>
                <a:gd name="T13" fmla="*/ 113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1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5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779" name="Freeform 762"/>
            <p:cNvSpPr>
              <a:spLocks noChangeArrowheads="1"/>
            </p:cNvSpPr>
            <p:nvPr/>
          </p:nvSpPr>
          <p:spPr bwMode="auto">
            <a:xfrm>
              <a:off x="5023" y="595"/>
              <a:ext cx="13" cy="13"/>
            </a:xfrm>
            <a:custGeom>
              <a:avLst/>
              <a:gdLst>
                <a:gd name="T0" fmla="*/ 81 w 9"/>
                <a:gd name="T1" fmla="*/ 188 h 9"/>
                <a:gd name="T2" fmla="*/ 0 w 9"/>
                <a:gd name="T3" fmla="*/ 108 h 9"/>
                <a:gd name="T4" fmla="*/ 0 w 9"/>
                <a:gd name="T5" fmla="*/ 81 h 9"/>
                <a:gd name="T6" fmla="*/ 81 w 9"/>
                <a:gd name="T7" fmla="*/ 0 h 9"/>
                <a:gd name="T8" fmla="*/ 81 w 9"/>
                <a:gd name="T9" fmla="*/ 0 h 9"/>
                <a:gd name="T10" fmla="*/ 188 w 9"/>
                <a:gd name="T11" fmla="*/ 81 h 9"/>
                <a:gd name="T12" fmla="*/ 81 w 9"/>
                <a:gd name="T13" fmla="*/ 188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780" name="Freeform 763"/>
            <p:cNvSpPr>
              <a:spLocks noChangeArrowheads="1"/>
            </p:cNvSpPr>
            <p:nvPr/>
          </p:nvSpPr>
          <p:spPr bwMode="auto">
            <a:xfrm>
              <a:off x="4961" y="581"/>
              <a:ext cx="14" cy="12"/>
            </a:xfrm>
            <a:custGeom>
              <a:avLst/>
              <a:gdLst>
                <a:gd name="T0" fmla="*/ 148 w 9"/>
                <a:gd name="T1" fmla="*/ 113 h 9"/>
                <a:gd name="T2" fmla="*/ 148 w 9"/>
                <a:gd name="T3" fmla="*/ 113 h 9"/>
                <a:gd name="T4" fmla="*/ 0 w 9"/>
                <a:gd name="T5" fmla="*/ 64 h 9"/>
                <a:gd name="T6" fmla="*/ 0 w 9"/>
                <a:gd name="T7" fmla="*/ 64 h 9"/>
                <a:gd name="T8" fmla="*/ 148 w 9"/>
                <a:gd name="T9" fmla="*/ 0 h 9"/>
                <a:gd name="T10" fmla="*/ 327 w 9"/>
                <a:gd name="T11" fmla="*/ 64 h 9"/>
                <a:gd name="T12" fmla="*/ 148 w 9"/>
                <a:gd name="T13" fmla="*/ 113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781" name="Freeform 764"/>
            <p:cNvSpPr>
              <a:spLocks noChangeArrowheads="1"/>
            </p:cNvSpPr>
            <p:nvPr/>
          </p:nvSpPr>
          <p:spPr bwMode="auto">
            <a:xfrm>
              <a:off x="5374" y="581"/>
              <a:ext cx="11" cy="12"/>
            </a:xfrm>
            <a:custGeom>
              <a:avLst/>
              <a:gdLst>
                <a:gd name="T0" fmla="*/ 69 w 8"/>
                <a:gd name="T1" fmla="*/ 113 h 9"/>
                <a:gd name="T2" fmla="*/ 69 w 8"/>
                <a:gd name="T3" fmla="*/ 113 h 9"/>
                <a:gd name="T4" fmla="*/ 0 w 8"/>
                <a:gd name="T5" fmla="*/ 64 h 9"/>
                <a:gd name="T6" fmla="*/ 0 w 8"/>
                <a:gd name="T7" fmla="*/ 64 h 9"/>
                <a:gd name="T8" fmla="*/ 69 w 8"/>
                <a:gd name="T9" fmla="*/ 0 h 9"/>
                <a:gd name="T10" fmla="*/ 131 w 8"/>
                <a:gd name="T11" fmla="*/ 64 h 9"/>
                <a:gd name="T12" fmla="*/ 69 w 8"/>
                <a:gd name="T13" fmla="*/ 113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5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782" name="Freeform 765"/>
            <p:cNvSpPr>
              <a:spLocks noChangeArrowheads="1"/>
            </p:cNvSpPr>
            <p:nvPr/>
          </p:nvSpPr>
          <p:spPr bwMode="auto">
            <a:xfrm>
              <a:off x="5002" y="581"/>
              <a:ext cx="12" cy="12"/>
            </a:xfrm>
            <a:custGeom>
              <a:avLst/>
              <a:gdLst>
                <a:gd name="T0" fmla="*/ 65 w 9"/>
                <a:gd name="T1" fmla="*/ 113 h 9"/>
                <a:gd name="T2" fmla="*/ 65 w 9"/>
                <a:gd name="T3" fmla="*/ 113 h 9"/>
                <a:gd name="T4" fmla="*/ 0 w 9"/>
                <a:gd name="T5" fmla="*/ 64 h 9"/>
                <a:gd name="T6" fmla="*/ 0 w 9"/>
                <a:gd name="T7" fmla="*/ 64 h 9"/>
                <a:gd name="T8" fmla="*/ 65 w 9"/>
                <a:gd name="T9" fmla="*/ 0 h 9"/>
                <a:gd name="T10" fmla="*/ 116 w 9"/>
                <a:gd name="T11" fmla="*/ 64 h 9"/>
                <a:gd name="T12" fmla="*/ 65 w 9"/>
                <a:gd name="T13" fmla="*/ 113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5" y="9"/>
                    <a:pt x="5" y="9"/>
                    <a:pt x="5" y="9"/>
                  </a:cubicBez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783" name="Freeform 766"/>
            <p:cNvSpPr>
              <a:spLocks noChangeArrowheads="1"/>
            </p:cNvSpPr>
            <p:nvPr/>
          </p:nvSpPr>
          <p:spPr bwMode="auto">
            <a:xfrm>
              <a:off x="4940" y="595"/>
              <a:ext cx="12" cy="13"/>
            </a:xfrm>
            <a:custGeom>
              <a:avLst/>
              <a:gdLst>
                <a:gd name="T0" fmla="*/ 64 w 9"/>
                <a:gd name="T1" fmla="*/ 188 h 9"/>
                <a:gd name="T2" fmla="*/ 0 w 9"/>
                <a:gd name="T3" fmla="*/ 81 h 9"/>
                <a:gd name="T4" fmla="*/ 49 w 9"/>
                <a:gd name="T5" fmla="*/ 0 h 9"/>
                <a:gd name="T6" fmla="*/ 64 w 9"/>
                <a:gd name="T7" fmla="*/ 0 h 9"/>
                <a:gd name="T8" fmla="*/ 113 w 9"/>
                <a:gd name="T9" fmla="*/ 81 h 9"/>
                <a:gd name="T10" fmla="*/ 64 w 9"/>
                <a:gd name="T11" fmla="*/ 188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2" y="9"/>
                    <a:pt x="0" y="7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784" name="Freeform 767"/>
            <p:cNvSpPr>
              <a:spLocks noChangeArrowheads="1"/>
            </p:cNvSpPr>
            <p:nvPr/>
          </p:nvSpPr>
          <p:spPr bwMode="auto">
            <a:xfrm>
              <a:off x="5353" y="595"/>
              <a:ext cx="12" cy="13"/>
            </a:xfrm>
            <a:custGeom>
              <a:avLst/>
              <a:gdLst>
                <a:gd name="T0" fmla="*/ 49 w 9"/>
                <a:gd name="T1" fmla="*/ 188 h 9"/>
                <a:gd name="T2" fmla="*/ 0 w 9"/>
                <a:gd name="T3" fmla="*/ 108 h 9"/>
                <a:gd name="T4" fmla="*/ 0 w 9"/>
                <a:gd name="T5" fmla="*/ 81 h 9"/>
                <a:gd name="T6" fmla="*/ 49 w 9"/>
                <a:gd name="T7" fmla="*/ 0 h 9"/>
                <a:gd name="T8" fmla="*/ 49 w 9"/>
                <a:gd name="T9" fmla="*/ 0 h 9"/>
                <a:gd name="T10" fmla="*/ 113 w 9"/>
                <a:gd name="T11" fmla="*/ 81 h 9"/>
                <a:gd name="T12" fmla="*/ 49 w 9"/>
                <a:gd name="T13" fmla="*/ 188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785" name="Freeform 768"/>
            <p:cNvSpPr>
              <a:spLocks noChangeArrowheads="1"/>
            </p:cNvSpPr>
            <p:nvPr/>
          </p:nvSpPr>
          <p:spPr bwMode="auto">
            <a:xfrm>
              <a:off x="5270" y="595"/>
              <a:ext cx="12" cy="13"/>
            </a:xfrm>
            <a:custGeom>
              <a:avLst/>
              <a:gdLst>
                <a:gd name="T0" fmla="*/ 65 w 9"/>
                <a:gd name="T1" fmla="*/ 188 h 9"/>
                <a:gd name="T2" fmla="*/ 0 w 9"/>
                <a:gd name="T3" fmla="*/ 108 h 9"/>
                <a:gd name="T4" fmla="*/ 0 w 9"/>
                <a:gd name="T5" fmla="*/ 81 h 9"/>
                <a:gd name="T6" fmla="*/ 49 w 9"/>
                <a:gd name="T7" fmla="*/ 0 h 9"/>
                <a:gd name="T8" fmla="*/ 65 w 9"/>
                <a:gd name="T9" fmla="*/ 0 h 9"/>
                <a:gd name="T10" fmla="*/ 116 w 9"/>
                <a:gd name="T11" fmla="*/ 81 h 9"/>
                <a:gd name="T12" fmla="*/ 65 w 9"/>
                <a:gd name="T13" fmla="*/ 188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786" name="Freeform 769"/>
            <p:cNvSpPr>
              <a:spLocks noChangeArrowheads="1"/>
            </p:cNvSpPr>
            <p:nvPr/>
          </p:nvSpPr>
          <p:spPr bwMode="auto">
            <a:xfrm>
              <a:off x="4983" y="595"/>
              <a:ext cx="11" cy="13"/>
            </a:xfrm>
            <a:custGeom>
              <a:avLst/>
              <a:gdLst>
                <a:gd name="T0" fmla="*/ 69 w 8"/>
                <a:gd name="T1" fmla="*/ 188 h 9"/>
                <a:gd name="T2" fmla="*/ 0 w 8"/>
                <a:gd name="T3" fmla="*/ 108 h 9"/>
                <a:gd name="T4" fmla="*/ 0 w 8"/>
                <a:gd name="T5" fmla="*/ 81 h 9"/>
                <a:gd name="T6" fmla="*/ 69 w 8"/>
                <a:gd name="T7" fmla="*/ 0 h 9"/>
                <a:gd name="T8" fmla="*/ 69 w 8"/>
                <a:gd name="T9" fmla="*/ 0 h 9"/>
                <a:gd name="T10" fmla="*/ 131 w 8"/>
                <a:gd name="T11" fmla="*/ 81 h 9"/>
                <a:gd name="T12" fmla="*/ 69 w 8"/>
                <a:gd name="T13" fmla="*/ 188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787" name="Freeform 770"/>
            <p:cNvSpPr>
              <a:spLocks noChangeArrowheads="1"/>
            </p:cNvSpPr>
            <p:nvPr/>
          </p:nvSpPr>
          <p:spPr bwMode="auto">
            <a:xfrm>
              <a:off x="4921" y="581"/>
              <a:ext cx="11" cy="12"/>
            </a:xfrm>
            <a:custGeom>
              <a:avLst/>
              <a:gdLst>
                <a:gd name="T0" fmla="*/ 69 w 8"/>
                <a:gd name="T1" fmla="*/ 113 h 9"/>
                <a:gd name="T2" fmla="*/ 69 w 8"/>
                <a:gd name="T3" fmla="*/ 113 h 9"/>
                <a:gd name="T4" fmla="*/ 0 w 8"/>
                <a:gd name="T5" fmla="*/ 64 h 9"/>
                <a:gd name="T6" fmla="*/ 0 w 8"/>
                <a:gd name="T7" fmla="*/ 64 h 9"/>
                <a:gd name="T8" fmla="*/ 69 w 8"/>
                <a:gd name="T9" fmla="*/ 0 h 9"/>
                <a:gd name="T10" fmla="*/ 131 w 8"/>
                <a:gd name="T11" fmla="*/ 64 h 9"/>
                <a:gd name="T12" fmla="*/ 69 w 8"/>
                <a:gd name="T13" fmla="*/ 113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1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5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788" name="Freeform 771"/>
            <p:cNvSpPr>
              <a:spLocks noChangeArrowheads="1"/>
            </p:cNvSpPr>
            <p:nvPr/>
          </p:nvSpPr>
          <p:spPr bwMode="auto">
            <a:xfrm>
              <a:off x="5476" y="616"/>
              <a:ext cx="12" cy="12"/>
            </a:xfrm>
            <a:custGeom>
              <a:avLst/>
              <a:gdLst>
                <a:gd name="T0" fmla="*/ 49 w 9"/>
                <a:gd name="T1" fmla="*/ 116 h 9"/>
                <a:gd name="T2" fmla="*/ 0 w 9"/>
                <a:gd name="T3" fmla="*/ 49 h 9"/>
                <a:gd name="T4" fmla="*/ 0 w 9"/>
                <a:gd name="T5" fmla="*/ 49 h 9"/>
                <a:gd name="T6" fmla="*/ 49 w 9"/>
                <a:gd name="T7" fmla="*/ 0 h 9"/>
                <a:gd name="T8" fmla="*/ 116 w 9"/>
                <a:gd name="T9" fmla="*/ 49 h 9"/>
                <a:gd name="T10" fmla="*/ 49 w 9"/>
                <a:gd name="T11" fmla="*/ 116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2" y="9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789" name="Freeform 772"/>
            <p:cNvSpPr>
              <a:spLocks noChangeArrowheads="1"/>
            </p:cNvSpPr>
            <p:nvPr/>
          </p:nvSpPr>
          <p:spPr bwMode="auto">
            <a:xfrm>
              <a:off x="5415" y="602"/>
              <a:ext cx="12" cy="12"/>
            </a:xfrm>
            <a:custGeom>
              <a:avLst/>
              <a:gdLst>
                <a:gd name="T0" fmla="*/ 49 w 9"/>
                <a:gd name="T1" fmla="*/ 113 h 9"/>
                <a:gd name="T2" fmla="*/ 0 w 9"/>
                <a:gd name="T3" fmla="*/ 64 h 9"/>
                <a:gd name="T4" fmla="*/ 0 w 9"/>
                <a:gd name="T5" fmla="*/ 49 h 9"/>
                <a:gd name="T6" fmla="*/ 49 w 9"/>
                <a:gd name="T7" fmla="*/ 0 h 9"/>
                <a:gd name="T8" fmla="*/ 64 w 9"/>
                <a:gd name="T9" fmla="*/ 0 h 9"/>
                <a:gd name="T10" fmla="*/ 113 w 9"/>
                <a:gd name="T11" fmla="*/ 49 h 9"/>
                <a:gd name="T12" fmla="*/ 49 w 9"/>
                <a:gd name="T13" fmla="*/ 113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790" name="Freeform 773"/>
            <p:cNvSpPr>
              <a:spLocks noChangeArrowheads="1"/>
            </p:cNvSpPr>
            <p:nvPr/>
          </p:nvSpPr>
          <p:spPr bwMode="auto">
            <a:xfrm>
              <a:off x="5189" y="616"/>
              <a:ext cx="11" cy="12"/>
            </a:xfrm>
            <a:custGeom>
              <a:avLst/>
              <a:gdLst>
                <a:gd name="T0" fmla="*/ 69 w 8"/>
                <a:gd name="T1" fmla="*/ 116 h 9"/>
                <a:gd name="T2" fmla="*/ 0 w 8"/>
                <a:gd name="T3" fmla="*/ 49 h 9"/>
                <a:gd name="T4" fmla="*/ 0 w 8"/>
                <a:gd name="T5" fmla="*/ 49 h 9"/>
                <a:gd name="T6" fmla="*/ 69 w 8"/>
                <a:gd name="T7" fmla="*/ 0 h 9"/>
                <a:gd name="T8" fmla="*/ 131 w 8"/>
                <a:gd name="T9" fmla="*/ 49 h 9"/>
                <a:gd name="T10" fmla="*/ 69 w 8"/>
                <a:gd name="T11" fmla="*/ 116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1" y="9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791" name="Freeform 774"/>
            <p:cNvSpPr>
              <a:spLocks noChangeArrowheads="1"/>
            </p:cNvSpPr>
            <p:nvPr/>
          </p:nvSpPr>
          <p:spPr bwMode="auto">
            <a:xfrm>
              <a:off x="5044" y="602"/>
              <a:ext cx="11" cy="12"/>
            </a:xfrm>
            <a:custGeom>
              <a:avLst/>
              <a:gdLst>
                <a:gd name="T0" fmla="*/ 69 w 8"/>
                <a:gd name="T1" fmla="*/ 113 h 9"/>
                <a:gd name="T2" fmla="*/ 0 w 8"/>
                <a:gd name="T3" fmla="*/ 64 h 9"/>
                <a:gd name="T4" fmla="*/ 0 w 8"/>
                <a:gd name="T5" fmla="*/ 49 h 9"/>
                <a:gd name="T6" fmla="*/ 69 w 8"/>
                <a:gd name="T7" fmla="*/ 0 h 9"/>
                <a:gd name="T8" fmla="*/ 69 w 8"/>
                <a:gd name="T9" fmla="*/ 0 h 9"/>
                <a:gd name="T10" fmla="*/ 131 w 8"/>
                <a:gd name="T11" fmla="*/ 49 h 9"/>
                <a:gd name="T12" fmla="*/ 69 w 8"/>
                <a:gd name="T13" fmla="*/ 113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792" name="Oval 775"/>
            <p:cNvSpPr>
              <a:spLocks noChangeArrowheads="1"/>
            </p:cNvSpPr>
            <p:nvPr/>
          </p:nvSpPr>
          <p:spPr bwMode="auto">
            <a:xfrm>
              <a:off x="5600" y="616"/>
              <a:ext cx="12" cy="12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US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793" name="Freeform 776"/>
            <p:cNvSpPr>
              <a:spLocks noChangeArrowheads="1"/>
            </p:cNvSpPr>
            <p:nvPr/>
          </p:nvSpPr>
          <p:spPr bwMode="auto">
            <a:xfrm>
              <a:off x="5580" y="602"/>
              <a:ext cx="11" cy="12"/>
            </a:xfrm>
            <a:custGeom>
              <a:avLst/>
              <a:gdLst>
                <a:gd name="T0" fmla="*/ 69 w 8"/>
                <a:gd name="T1" fmla="*/ 113 h 9"/>
                <a:gd name="T2" fmla="*/ 0 w 8"/>
                <a:gd name="T3" fmla="*/ 64 h 9"/>
                <a:gd name="T4" fmla="*/ 0 w 8"/>
                <a:gd name="T5" fmla="*/ 49 h 9"/>
                <a:gd name="T6" fmla="*/ 69 w 8"/>
                <a:gd name="T7" fmla="*/ 0 h 9"/>
                <a:gd name="T8" fmla="*/ 69 w 8"/>
                <a:gd name="T9" fmla="*/ 0 h 9"/>
                <a:gd name="T10" fmla="*/ 131 w 8"/>
                <a:gd name="T11" fmla="*/ 49 h 9"/>
                <a:gd name="T12" fmla="*/ 69 w 8"/>
                <a:gd name="T13" fmla="*/ 113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794" name="Freeform 777"/>
            <p:cNvSpPr>
              <a:spLocks noChangeArrowheads="1"/>
            </p:cNvSpPr>
            <p:nvPr/>
          </p:nvSpPr>
          <p:spPr bwMode="auto">
            <a:xfrm>
              <a:off x="5558" y="616"/>
              <a:ext cx="12" cy="12"/>
            </a:xfrm>
            <a:custGeom>
              <a:avLst/>
              <a:gdLst>
                <a:gd name="T0" fmla="*/ 49 w 9"/>
                <a:gd name="T1" fmla="*/ 116 h 9"/>
                <a:gd name="T2" fmla="*/ 0 w 9"/>
                <a:gd name="T3" fmla="*/ 49 h 9"/>
                <a:gd name="T4" fmla="*/ 0 w 9"/>
                <a:gd name="T5" fmla="*/ 49 h 9"/>
                <a:gd name="T6" fmla="*/ 49 w 9"/>
                <a:gd name="T7" fmla="*/ 0 h 9"/>
                <a:gd name="T8" fmla="*/ 113 w 9"/>
                <a:gd name="T9" fmla="*/ 49 h 9"/>
                <a:gd name="T10" fmla="*/ 49 w 9"/>
                <a:gd name="T11" fmla="*/ 116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2" y="9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795" name="Freeform 778"/>
            <p:cNvSpPr>
              <a:spLocks noChangeArrowheads="1"/>
            </p:cNvSpPr>
            <p:nvPr/>
          </p:nvSpPr>
          <p:spPr bwMode="auto">
            <a:xfrm>
              <a:off x="5538" y="602"/>
              <a:ext cx="12" cy="12"/>
            </a:xfrm>
            <a:custGeom>
              <a:avLst/>
              <a:gdLst>
                <a:gd name="T0" fmla="*/ 64 w 9"/>
                <a:gd name="T1" fmla="*/ 113 h 9"/>
                <a:gd name="T2" fmla="*/ 0 w 9"/>
                <a:gd name="T3" fmla="*/ 64 h 9"/>
                <a:gd name="T4" fmla="*/ 0 w 9"/>
                <a:gd name="T5" fmla="*/ 49 h 9"/>
                <a:gd name="T6" fmla="*/ 49 w 9"/>
                <a:gd name="T7" fmla="*/ 0 h 9"/>
                <a:gd name="T8" fmla="*/ 64 w 9"/>
                <a:gd name="T9" fmla="*/ 0 h 9"/>
                <a:gd name="T10" fmla="*/ 113 w 9"/>
                <a:gd name="T11" fmla="*/ 49 h 9"/>
                <a:gd name="T12" fmla="*/ 64 w 9"/>
                <a:gd name="T13" fmla="*/ 113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796" name="Freeform 779"/>
            <p:cNvSpPr>
              <a:spLocks noChangeArrowheads="1"/>
            </p:cNvSpPr>
            <p:nvPr/>
          </p:nvSpPr>
          <p:spPr bwMode="auto">
            <a:xfrm>
              <a:off x="5518" y="616"/>
              <a:ext cx="12" cy="12"/>
            </a:xfrm>
            <a:custGeom>
              <a:avLst/>
              <a:gdLst>
                <a:gd name="T0" fmla="*/ 120 w 8"/>
                <a:gd name="T1" fmla="*/ 116 h 9"/>
                <a:gd name="T2" fmla="*/ 0 w 8"/>
                <a:gd name="T3" fmla="*/ 49 h 9"/>
                <a:gd name="T4" fmla="*/ 0 w 8"/>
                <a:gd name="T5" fmla="*/ 49 h 9"/>
                <a:gd name="T6" fmla="*/ 120 w 8"/>
                <a:gd name="T7" fmla="*/ 0 h 9"/>
                <a:gd name="T8" fmla="*/ 230 w 8"/>
                <a:gd name="T9" fmla="*/ 49 h 9"/>
                <a:gd name="T10" fmla="*/ 120 w 8"/>
                <a:gd name="T11" fmla="*/ 116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2" y="9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797" name="Freeform 780"/>
            <p:cNvSpPr>
              <a:spLocks noChangeArrowheads="1"/>
            </p:cNvSpPr>
            <p:nvPr/>
          </p:nvSpPr>
          <p:spPr bwMode="auto">
            <a:xfrm>
              <a:off x="5496" y="602"/>
              <a:ext cx="12" cy="12"/>
            </a:xfrm>
            <a:custGeom>
              <a:avLst/>
              <a:gdLst>
                <a:gd name="T0" fmla="*/ 49 w 9"/>
                <a:gd name="T1" fmla="*/ 113 h 9"/>
                <a:gd name="T2" fmla="*/ 0 w 9"/>
                <a:gd name="T3" fmla="*/ 64 h 9"/>
                <a:gd name="T4" fmla="*/ 0 w 9"/>
                <a:gd name="T5" fmla="*/ 49 h 9"/>
                <a:gd name="T6" fmla="*/ 49 w 9"/>
                <a:gd name="T7" fmla="*/ 0 h 9"/>
                <a:gd name="T8" fmla="*/ 49 w 9"/>
                <a:gd name="T9" fmla="*/ 0 h 9"/>
                <a:gd name="T10" fmla="*/ 113 w 9"/>
                <a:gd name="T11" fmla="*/ 49 h 9"/>
                <a:gd name="T12" fmla="*/ 49 w 9"/>
                <a:gd name="T13" fmla="*/ 113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798" name="Freeform 781"/>
            <p:cNvSpPr>
              <a:spLocks noChangeArrowheads="1"/>
            </p:cNvSpPr>
            <p:nvPr/>
          </p:nvSpPr>
          <p:spPr bwMode="auto">
            <a:xfrm>
              <a:off x="5455" y="602"/>
              <a:ext cx="13" cy="12"/>
            </a:xfrm>
            <a:custGeom>
              <a:avLst/>
              <a:gdLst>
                <a:gd name="T0" fmla="*/ 108 w 9"/>
                <a:gd name="T1" fmla="*/ 113 h 9"/>
                <a:gd name="T2" fmla="*/ 0 w 9"/>
                <a:gd name="T3" fmla="*/ 49 h 9"/>
                <a:gd name="T4" fmla="*/ 108 w 9"/>
                <a:gd name="T5" fmla="*/ 0 h 9"/>
                <a:gd name="T6" fmla="*/ 108 w 9"/>
                <a:gd name="T7" fmla="*/ 0 h 9"/>
                <a:gd name="T8" fmla="*/ 188 w 9"/>
                <a:gd name="T9" fmla="*/ 49 h 9"/>
                <a:gd name="T10" fmla="*/ 108 w 9"/>
                <a:gd name="T11" fmla="*/ 113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2" y="9"/>
                    <a:pt x="0" y="7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799" name="Freeform 782"/>
            <p:cNvSpPr>
              <a:spLocks noChangeArrowheads="1"/>
            </p:cNvSpPr>
            <p:nvPr/>
          </p:nvSpPr>
          <p:spPr bwMode="auto">
            <a:xfrm>
              <a:off x="5744" y="602"/>
              <a:ext cx="13" cy="12"/>
            </a:xfrm>
            <a:custGeom>
              <a:avLst/>
              <a:gdLst>
                <a:gd name="T0" fmla="*/ 81 w 9"/>
                <a:gd name="T1" fmla="*/ 113 h 9"/>
                <a:gd name="T2" fmla="*/ 0 w 9"/>
                <a:gd name="T3" fmla="*/ 49 h 9"/>
                <a:gd name="T4" fmla="*/ 81 w 9"/>
                <a:gd name="T5" fmla="*/ 0 h 9"/>
                <a:gd name="T6" fmla="*/ 108 w 9"/>
                <a:gd name="T7" fmla="*/ 0 h 9"/>
                <a:gd name="T8" fmla="*/ 188 w 9"/>
                <a:gd name="T9" fmla="*/ 49 h 9"/>
                <a:gd name="T10" fmla="*/ 81 w 9"/>
                <a:gd name="T11" fmla="*/ 113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2" y="9"/>
                    <a:pt x="0" y="7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800" name="Freeform 783"/>
            <p:cNvSpPr>
              <a:spLocks noChangeArrowheads="1"/>
            </p:cNvSpPr>
            <p:nvPr/>
          </p:nvSpPr>
          <p:spPr bwMode="auto">
            <a:xfrm>
              <a:off x="5723" y="616"/>
              <a:ext cx="12" cy="12"/>
            </a:xfrm>
            <a:custGeom>
              <a:avLst/>
              <a:gdLst>
                <a:gd name="T0" fmla="*/ 64 w 9"/>
                <a:gd name="T1" fmla="*/ 116 h 9"/>
                <a:gd name="T2" fmla="*/ 0 w 9"/>
                <a:gd name="T3" fmla="*/ 49 h 9"/>
                <a:gd name="T4" fmla="*/ 0 w 9"/>
                <a:gd name="T5" fmla="*/ 49 h 9"/>
                <a:gd name="T6" fmla="*/ 64 w 9"/>
                <a:gd name="T7" fmla="*/ 0 h 9"/>
                <a:gd name="T8" fmla="*/ 113 w 9"/>
                <a:gd name="T9" fmla="*/ 49 h 9"/>
                <a:gd name="T10" fmla="*/ 64 w 9"/>
                <a:gd name="T11" fmla="*/ 116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2" y="9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801" name="Freeform 784"/>
            <p:cNvSpPr>
              <a:spLocks noChangeArrowheads="1"/>
            </p:cNvSpPr>
            <p:nvPr/>
          </p:nvSpPr>
          <p:spPr bwMode="auto">
            <a:xfrm>
              <a:off x="5703" y="602"/>
              <a:ext cx="11" cy="12"/>
            </a:xfrm>
            <a:custGeom>
              <a:avLst/>
              <a:gdLst>
                <a:gd name="T0" fmla="*/ 69 w 8"/>
                <a:gd name="T1" fmla="*/ 113 h 9"/>
                <a:gd name="T2" fmla="*/ 0 w 8"/>
                <a:gd name="T3" fmla="*/ 64 h 9"/>
                <a:gd name="T4" fmla="*/ 0 w 8"/>
                <a:gd name="T5" fmla="*/ 49 h 9"/>
                <a:gd name="T6" fmla="*/ 69 w 8"/>
                <a:gd name="T7" fmla="*/ 0 h 9"/>
                <a:gd name="T8" fmla="*/ 69 w 8"/>
                <a:gd name="T9" fmla="*/ 0 h 9"/>
                <a:gd name="T10" fmla="*/ 131 w 8"/>
                <a:gd name="T11" fmla="*/ 49 h 9"/>
                <a:gd name="T12" fmla="*/ 69 w 8"/>
                <a:gd name="T13" fmla="*/ 113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7" y="0"/>
                    <a:pt x="8" y="2"/>
                    <a:pt x="8" y="4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802" name="Oval 785"/>
            <p:cNvSpPr>
              <a:spLocks noChangeArrowheads="1"/>
            </p:cNvSpPr>
            <p:nvPr/>
          </p:nvSpPr>
          <p:spPr bwMode="auto">
            <a:xfrm>
              <a:off x="5682" y="616"/>
              <a:ext cx="12" cy="12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US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803" name="Freeform 786"/>
            <p:cNvSpPr>
              <a:spLocks noChangeArrowheads="1"/>
            </p:cNvSpPr>
            <p:nvPr/>
          </p:nvSpPr>
          <p:spPr bwMode="auto">
            <a:xfrm>
              <a:off x="5661" y="602"/>
              <a:ext cx="12" cy="12"/>
            </a:xfrm>
            <a:custGeom>
              <a:avLst/>
              <a:gdLst>
                <a:gd name="T0" fmla="*/ 64 w 9"/>
                <a:gd name="T1" fmla="*/ 113 h 9"/>
                <a:gd name="T2" fmla="*/ 0 w 9"/>
                <a:gd name="T3" fmla="*/ 64 h 9"/>
                <a:gd name="T4" fmla="*/ 0 w 9"/>
                <a:gd name="T5" fmla="*/ 49 h 9"/>
                <a:gd name="T6" fmla="*/ 64 w 9"/>
                <a:gd name="T7" fmla="*/ 0 h 9"/>
                <a:gd name="T8" fmla="*/ 64 w 9"/>
                <a:gd name="T9" fmla="*/ 0 h 9"/>
                <a:gd name="T10" fmla="*/ 113 w 9"/>
                <a:gd name="T11" fmla="*/ 49 h 9"/>
                <a:gd name="T12" fmla="*/ 64 w 9"/>
                <a:gd name="T13" fmla="*/ 113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804" name="Freeform 787"/>
            <p:cNvSpPr>
              <a:spLocks noChangeArrowheads="1"/>
            </p:cNvSpPr>
            <p:nvPr/>
          </p:nvSpPr>
          <p:spPr bwMode="auto">
            <a:xfrm>
              <a:off x="5640" y="616"/>
              <a:ext cx="12" cy="12"/>
            </a:xfrm>
            <a:custGeom>
              <a:avLst/>
              <a:gdLst>
                <a:gd name="T0" fmla="*/ 120 w 8"/>
                <a:gd name="T1" fmla="*/ 116 h 9"/>
                <a:gd name="T2" fmla="*/ 0 w 8"/>
                <a:gd name="T3" fmla="*/ 49 h 9"/>
                <a:gd name="T4" fmla="*/ 0 w 8"/>
                <a:gd name="T5" fmla="*/ 49 h 9"/>
                <a:gd name="T6" fmla="*/ 120 w 8"/>
                <a:gd name="T7" fmla="*/ 0 h 9"/>
                <a:gd name="T8" fmla="*/ 230 w 8"/>
                <a:gd name="T9" fmla="*/ 49 h 9"/>
                <a:gd name="T10" fmla="*/ 230 w 8"/>
                <a:gd name="T11" fmla="*/ 49 h 9"/>
                <a:gd name="T12" fmla="*/ 120 w 8"/>
                <a:gd name="T13" fmla="*/ 116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2" y="9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805" name="Freeform 788"/>
            <p:cNvSpPr>
              <a:spLocks noChangeArrowheads="1"/>
            </p:cNvSpPr>
            <p:nvPr/>
          </p:nvSpPr>
          <p:spPr bwMode="auto">
            <a:xfrm>
              <a:off x="5621" y="602"/>
              <a:ext cx="12" cy="12"/>
            </a:xfrm>
            <a:custGeom>
              <a:avLst/>
              <a:gdLst>
                <a:gd name="T0" fmla="*/ 49 w 9"/>
                <a:gd name="T1" fmla="*/ 113 h 9"/>
                <a:gd name="T2" fmla="*/ 0 w 9"/>
                <a:gd name="T3" fmla="*/ 49 h 9"/>
                <a:gd name="T4" fmla="*/ 49 w 9"/>
                <a:gd name="T5" fmla="*/ 0 h 9"/>
                <a:gd name="T6" fmla="*/ 49 w 9"/>
                <a:gd name="T7" fmla="*/ 0 h 9"/>
                <a:gd name="T8" fmla="*/ 113 w 9"/>
                <a:gd name="T9" fmla="*/ 49 h 9"/>
                <a:gd name="T10" fmla="*/ 49 w 9"/>
                <a:gd name="T11" fmla="*/ 113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2" y="9"/>
                    <a:pt x="0" y="7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806" name="Freeform 789"/>
            <p:cNvSpPr>
              <a:spLocks noChangeArrowheads="1"/>
            </p:cNvSpPr>
            <p:nvPr/>
          </p:nvSpPr>
          <p:spPr bwMode="auto">
            <a:xfrm>
              <a:off x="5393" y="616"/>
              <a:ext cx="13" cy="12"/>
            </a:xfrm>
            <a:custGeom>
              <a:avLst/>
              <a:gdLst>
                <a:gd name="T0" fmla="*/ 108 w 9"/>
                <a:gd name="T1" fmla="*/ 116 h 9"/>
                <a:gd name="T2" fmla="*/ 0 w 9"/>
                <a:gd name="T3" fmla="*/ 49 h 9"/>
                <a:gd name="T4" fmla="*/ 0 w 9"/>
                <a:gd name="T5" fmla="*/ 49 h 9"/>
                <a:gd name="T6" fmla="*/ 108 w 9"/>
                <a:gd name="T7" fmla="*/ 0 h 9"/>
                <a:gd name="T8" fmla="*/ 188 w 9"/>
                <a:gd name="T9" fmla="*/ 49 h 9"/>
                <a:gd name="T10" fmla="*/ 108 w 9"/>
                <a:gd name="T11" fmla="*/ 116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2" y="9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807" name="Freeform 790"/>
            <p:cNvSpPr>
              <a:spLocks noChangeArrowheads="1"/>
            </p:cNvSpPr>
            <p:nvPr/>
          </p:nvSpPr>
          <p:spPr bwMode="auto">
            <a:xfrm>
              <a:off x="5023" y="616"/>
              <a:ext cx="13" cy="12"/>
            </a:xfrm>
            <a:custGeom>
              <a:avLst/>
              <a:gdLst>
                <a:gd name="T0" fmla="*/ 81 w 9"/>
                <a:gd name="T1" fmla="*/ 116 h 9"/>
                <a:gd name="T2" fmla="*/ 0 w 9"/>
                <a:gd name="T3" fmla="*/ 49 h 9"/>
                <a:gd name="T4" fmla="*/ 0 w 9"/>
                <a:gd name="T5" fmla="*/ 49 h 9"/>
                <a:gd name="T6" fmla="*/ 81 w 9"/>
                <a:gd name="T7" fmla="*/ 0 h 9"/>
                <a:gd name="T8" fmla="*/ 188 w 9"/>
                <a:gd name="T9" fmla="*/ 49 h 9"/>
                <a:gd name="T10" fmla="*/ 81 w 9"/>
                <a:gd name="T11" fmla="*/ 116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2" y="9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808" name="Freeform 791"/>
            <p:cNvSpPr>
              <a:spLocks noChangeArrowheads="1"/>
            </p:cNvSpPr>
            <p:nvPr/>
          </p:nvSpPr>
          <p:spPr bwMode="auto">
            <a:xfrm>
              <a:off x="4961" y="602"/>
              <a:ext cx="14" cy="12"/>
            </a:xfrm>
            <a:custGeom>
              <a:avLst/>
              <a:gdLst>
                <a:gd name="T0" fmla="*/ 148 w 9"/>
                <a:gd name="T1" fmla="*/ 113 h 9"/>
                <a:gd name="T2" fmla="*/ 0 w 9"/>
                <a:gd name="T3" fmla="*/ 64 h 9"/>
                <a:gd name="T4" fmla="*/ 0 w 9"/>
                <a:gd name="T5" fmla="*/ 49 h 9"/>
                <a:gd name="T6" fmla="*/ 148 w 9"/>
                <a:gd name="T7" fmla="*/ 0 h 9"/>
                <a:gd name="T8" fmla="*/ 148 w 9"/>
                <a:gd name="T9" fmla="*/ 0 h 9"/>
                <a:gd name="T10" fmla="*/ 327 w 9"/>
                <a:gd name="T11" fmla="*/ 49 h 9"/>
                <a:gd name="T12" fmla="*/ 148 w 9"/>
                <a:gd name="T13" fmla="*/ 113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809" name="Freeform 792"/>
            <p:cNvSpPr>
              <a:spLocks noChangeArrowheads="1"/>
            </p:cNvSpPr>
            <p:nvPr/>
          </p:nvSpPr>
          <p:spPr bwMode="auto">
            <a:xfrm>
              <a:off x="5374" y="602"/>
              <a:ext cx="11" cy="12"/>
            </a:xfrm>
            <a:custGeom>
              <a:avLst/>
              <a:gdLst>
                <a:gd name="T0" fmla="*/ 69 w 8"/>
                <a:gd name="T1" fmla="*/ 113 h 9"/>
                <a:gd name="T2" fmla="*/ 0 w 8"/>
                <a:gd name="T3" fmla="*/ 64 h 9"/>
                <a:gd name="T4" fmla="*/ 0 w 8"/>
                <a:gd name="T5" fmla="*/ 49 h 9"/>
                <a:gd name="T6" fmla="*/ 69 w 8"/>
                <a:gd name="T7" fmla="*/ 0 h 9"/>
                <a:gd name="T8" fmla="*/ 69 w 8"/>
                <a:gd name="T9" fmla="*/ 0 h 9"/>
                <a:gd name="T10" fmla="*/ 131 w 8"/>
                <a:gd name="T11" fmla="*/ 49 h 9"/>
                <a:gd name="T12" fmla="*/ 69 w 8"/>
                <a:gd name="T13" fmla="*/ 113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810" name="Freeform 793"/>
            <p:cNvSpPr>
              <a:spLocks noChangeArrowheads="1"/>
            </p:cNvSpPr>
            <p:nvPr/>
          </p:nvSpPr>
          <p:spPr bwMode="auto">
            <a:xfrm>
              <a:off x="5291" y="602"/>
              <a:ext cx="13" cy="12"/>
            </a:xfrm>
            <a:custGeom>
              <a:avLst/>
              <a:gdLst>
                <a:gd name="T0" fmla="*/ 81 w 9"/>
                <a:gd name="T1" fmla="*/ 113 h 9"/>
                <a:gd name="T2" fmla="*/ 0 w 9"/>
                <a:gd name="T3" fmla="*/ 64 h 9"/>
                <a:gd name="T4" fmla="*/ 0 w 9"/>
                <a:gd name="T5" fmla="*/ 49 h 9"/>
                <a:gd name="T6" fmla="*/ 81 w 9"/>
                <a:gd name="T7" fmla="*/ 0 h 9"/>
                <a:gd name="T8" fmla="*/ 81 w 9"/>
                <a:gd name="T9" fmla="*/ 0 h 9"/>
                <a:gd name="T10" fmla="*/ 188 w 9"/>
                <a:gd name="T11" fmla="*/ 49 h 9"/>
                <a:gd name="T12" fmla="*/ 81 w 9"/>
                <a:gd name="T13" fmla="*/ 113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811" name="Freeform 794"/>
            <p:cNvSpPr>
              <a:spLocks noChangeArrowheads="1"/>
            </p:cNvSpPr>
            <p:nvPr/>
          </p:nvSpPr>
          <p:spPr bwMode="auto">
            <a:xfrm>
              <a:off x="5002" y="602"/>
              <a:ext cx="12" cy="12"/>
            </a:xfrm>
            <a:custGeom>
              <a:avLst/>
              <a:gdLst>
                <a:gd name="T0" fmla="*/ 65 w 9"/>
                <a:gd name="T1" fmla="*/ 113 h 9"/>
                <a:gd name="T2" fmla="*/ 0 w 9"/>
                <a:gd name="T3" fmla="*/ 64 h 9"/>
                <a:gd name="T4" fmla="*/ 0 w 9"/>
                <a:gd name="T5" fmla="*/ 49 h 9"/>
                <a:gd name="T6" fmla="*/ 65 w 9"/>
                <a:gd name="T7" fmla="*/ 0 h 9"/>
                <a:gd name="T8" fmla="*/ 65 w 9"/>
                <a:gd name="T9" fmla="*/ 0 h 9"/>
                <a:gd name="T10" fmla="*/ 116 w 9"/>
                <a:gd name="T11" fmla="*/ 49 h 9"/>
                <a:gd name="T12" fmla="*/ 65 w 9"/>
                <a:gd name="T13" fmla="*/ 113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812" name="Oval 795"/>
            <p:cNvSpPr>
              <a:spLocks noChangeArrowheads="1"/>
            </p:cNvSpPr>
            <p:nvPr/>
          </p:nvSpPr>
          <p:spPr bwMode="auto">
            <a:xfrm>
              <a:off x="4940" y="616"/>
              <a:ext cx="12" cy="12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US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813" name="Freeform 796"/>
            <p:cNvSpPr>
              <a:spLocks noChangeArrowheads="1"/>
            </p:cNvSpPr>
            <p:nvPr/>
          </p:nvSpPr>
          <p:spPr bwMode="auto">
            <a:xfrm>
              <a:off x="5312" y="616"/>
              <a:ext cx="11" cy="12"/>
            </a:xfrm>
            <a:custGeom>
              <a:avLst/>
              <a:gdLst>
                <a:gd name="T0" fmla="*/ 69 w 8"/>
                <a:gd name="T1" fmla="*/ 116 h 9"/>
                <a:gd name="T2" fmla="*/ 0 w 8"/>
                <a:gd name="T3" fmla="*/ 49 h 9"/>
                <a:gd name="T4" fmla="*/ 0 w 8"/>
                <a:gd name="T5" fmla="*/ 49 h 9"/>
                <a:gd name="T6" fmla="*/ 69 w 8"/>
                <a:gd name="T7" fmla="*/ 0 h 9"/>
                <a:gd name="T8" fmla="*/ 131 w 8"/>
                <a:gd name="T9" fmla="*/ 49 h 9"/>
                <a:gd name="T10" fmla="*/ 69 w 8"/>
                <a:gd name="T11" fmla="*/ 116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2" y="9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814" name="Freeform 797"/>
            <p:cNvSpPr>
              <a:spLocks noChangeArrowheads="1"/>
            </p:cNvSpPr>
            <p:nvPr/>
          </p:nvSpPr>
          <p:spPr bwMode="auto">
            <a:xfrm>
              <a:off x="4983" y="616"/>
              <a:ext cx="11" cy="12"/>
            </a:xfrm>
            <a:custGeom>
              <a:avLst/>
              <a:gdLst>
                <a:gd name="T0" fmla="*/ 69 w 8"/>
                <a:gd name="T1" fmla="*/ 116 h 9"/>
                <a:gd name="T2" fmla="*/ 0 w 8"/>
                <a:gd name="T3" fmla="*/ 49 h 9"/>
                <a:gd name="T4" fmla="*/ 0 w 8"/>
                <a:gd name="T5" fmla="*/ 49 h 9"/>
                <a:gd name="T6" fmla="*/ 69 w 8"/>
                <a:gd name="T7" fmla="*/ 0 h 9"/>
                <a:gd name="T8" fmla="*/ 131 w 8"/>
                <a:gd name="T9" fmla="*/ 49 h 9"/>
                <a:gd name="T10" fmla="*/ 69 w 8"/>
                <a:gd name="T11" fmla="*/ 116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2" y="9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815" name="Freeform 798"/>
            <p:cNvSpPr>
              <a:spLocks noChangeArrowheads="1"/>
            </p:cNvSpPr>
            <p:nvPr/>
          </p:nvSpPr>
          <p:spPr bwMode="auto">
            <a:xfrm>
              <a:off x="4921" y="602"/>
              <a:ext cx="11" cy="12"/>
            </a:xfrm>
            <a:custGeom>
              <a:avLst/>
              <a:gdLst>
                <a:gd name="T0" fmla="*/ 69 w 8"/>
                <a:gd name="T1" fmla="*/ 113 h 9"/>
                <a:gd name="T2" fmla="*/ 0 w 8"/>
                <a:gd name="T3" fmla="*/ 64 h 9"/>
                <a:gd name="T4" fmla="*/ 0 w 8"/>
                <a:gd name="T5" fmla="*/ 49 h 9"/>
                <a:gd name="T6" fmla="*/ 69 w 8"/>
                <a:gd name="T7" fmla="*/ 0 h 9"/>
                <a:gd name="T8" fmla="*/ 69 w 8"/>
                <a:gd name="T9" fmla="*/ 0 h 9"/>
                <a:gd name="T10" fmla="*/ 131 w 8"/>
                <a:gd name="T11" fmla="*/ 49 h 9"/>
                <a:gd name="T12" fmla="*/ 69 w 8"/>
                <a:gd name="T13" fmla="*/ 113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816" name="Freeform 799"/>
            <p:cNvSpPr>
              <a:spLocks noChangeArrowheads="1"/>
            </p:cNvSpPr>
            <p:nvPr/>
          </p:nvSpPr>
          <p:spPr bwMode="auto">
            <a:xfrm>
              <a:off x="5476" y="637"/>
              <a:ext cx="12" cy="11"/>
            </a:xfrm>
            <a:custGeom>
              <a:avLst/>
              <a:gdLst>
                <a:gd name="T0" fmla="*/ 49 w 9"/>
                <a:gd name="T1" fmla="*/ 131 h 8"/>
                <a:gd name="T2" fmla="*/ 0 w 9"/>
                <a:gd name="T3" fmla="*/ 69 h 8"/>
                <a:gd name="T4" fmla="*/ 0 w 9"/>
                <a:gd name="T5" fmla="*/ 69 h 8"/>
                <a:gd name="T6" fmla="*/ 49 w 9"/>
                <a:gd name="T7" fmla="*/ 0 h 8"/>
                <a:gd name="T8" fmla="*/ 116 w 9"/>
                <a:gd name="T9" fmla="*/ 69 h 8"/>
                <a:gd name="T10" fmla="*/ 49 w 9"/>
                <a:gd name="T11" fmla="*/ 131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8">
                  <a:moveTo>
                    <a:pt x="4" y="8"/>
                  </a:moveTo>
                  <a:cubicBezTo>
                    <a:pt x="2" y="8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6"/>
                    <a:pt x="7" y="8"/>
                    <a:pt x="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817" name="Freeform 800"/>
            <p:cNvSpPr>
              <a:spLocks noChangeArrowheads="1"/>
            </p:cNvSpPr>
            <p:nvPr/>
          </p:nvSpPr>
          <p:spPr bwMode="auto">
            <a:xfrm>
              <a:off x="5331" y="623"/>
              <a:ext cx="14" cy="12"/>
            </a:xfrm>
            <a:custGeom>
              <a:avLst/>
              <a:gdLst>
                <a:gd name="T0" fmla="*/ 182 w 9"/>
                <a:gd name="T1" fmla="*/ 116 h 9"/>
                <a:gd name="T2" fmla="*/ 0 w 9"/>
                <a:gd name="T3" fmla="*/ 49 h 9"/>
                <a:gd name="T4" fmla="*/ 0 w 9"/>
                <a:gd name="T5" fmla="*/ 49 h 9"/>
                <a:gd name="T6" fmla="*/ 182 w 9"/>
                <a:gd name="T7" fmla="*/ 0 h 9"/>
                <a:gd name="T8" fmla="*/ 327 w 9"/>
                <a:gd name="T9" fmla="*/ 49 h 9"/>
                <a:gd name="T10" fmla="*/ 182 w 9"/>
                <a:gd name="T11" fmla="*/ 116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2" y="9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818" name="Freeform 801"/>
            <p:cNvSpPr>
              <a:spLocks noChangeArrowheads="1"/>
            </p:cNvSpPr>
            <p:nvPr/>
          </p:nvSpPr>
          <p:spPr bwMode="auto">
            <a:xfrm>
              <a:off x="5189" y="637"/>
              <a:ext cx="11" cy="11"/>
            </a:xfrm>
            <a:custGeom>
              <a:avLst/>
              <a:gdLst>
                <a:gd name="T0" fmla="*/ 69 w 8"/>
                <a:gd name="T1" fmla="*/ 131 h 8"/>
                <a:gd name="T2" fmla="*/ 0 w 8"/>
                <a:gd name="T3" fmla="*/ 69 h 8"/>
                <a:gd name="T4" fmla="*/ 0 w 8"/>
                <a:gd name="T5" fmla="*/ 69 h 8"/>
                <a:gd name="T6" fmla="*/ 69 w 8"/>
                <a:gd name="T7" fmla="*/ 0 h 8"/>
                <a:gd name="T8" fmla="*/ 131 w 8"/>
                <a:gd name="T9" fmla="*/ 69 h 8"/>
                <a:gd name="T10" fmla="*/ 69 w 8"/>
                <a:gd name="T11" fmla="*/ 131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" h="8">
                  <a:moveTo>
                    <a:pt x="4" y="8"/>
                  </a:moveTo>
                  <a:cubicBezTo>
                    <a:pt x="1" y="8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6"/>
                    <a:pt x="6" y="8"/>
                    <a:pt x="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819" name="Oval 802"/>
            <p:cNvSpPr>
              <a:spLocks noChangeArrowheads="1"/>
            </p:cNvSpPr>
            <p:nvPr/>
          </p:nvSpPr>
          <p:spPr bwMode="auto">
            <a:xfrm>
              <a:off x="5600" y="637"/>
              <a:ext cx="12" cy="11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US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820" name="Freeform 803"/>
            <p:cNvSpPr>
              <a:spLocks noChangeArrowheads="1"/>
            </p:cNvSpPr>
            <p:nvPr/>
          </p:nvSpPr>
          <p:spPr bwMode="auto">
            <a:xfrm>
              <a:off x="5580" y="623"/>
              <a:ext cx="11" cy="12"/>
            </a:xfrm>
            <a:custGeom>
              <a:avLst/>
              <a:gdLst>
                <a:gd name="T0" fmla="*/ 69 w 8"/>
                <a:gd name="T1" fmla="*/ 116 h 9"/>
                <a:gd name="T2" fmla="*/ 0 w 8"/>
                <a:gd name="T3" fmla="*/ 49 h 9"/>
                <a:gd name="T4" fmla="*/ 0 w 8"/>
                <a:gd name="T5" fmla="*/ 49 h 9"/>
                <a:gd name="T6" fmla="*/ 69 w 8"/>
                <a:gd name="T7" fmla="*/ 0 h 9"/>
                <a:gd name="T8" fmla="*/ 131 w 8"/>
                <a:gd name="T9" fmla="*/ 49 h 9"/>
                <a:gd name="T10" fmla="*/ 69 w 8"/>
                <a:gd name="T11" fmla="*/ 116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2" y="9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821" name="Freeform 804"/>
            <p:cNvSpPr>
              <a:spLocks noChangeArrowheads="1"/>
            </p:cNvSpPr>
            <p:nvPr/>
          </p:nvSpPr>
          <p:spPr bwMode="auto">
            <a:xfrm>
              <a:off x="5558" y="637"/>
              <a:ext cx="12" cy="11"/>
            </a:xfrm>
            <a:custGeom>
              <a:avLst/>
              <a:gdLst>
                <a:gd name="T0" fmla="*/ 49 w 9"/>
                <a:gd name="T1" fmla="*/ 131 h 8"/>
                <a:gd name="T2" fmla="*/ 0 w 9"/>
                <a:gd name="T3" fmla="*/ 69 h 8"/>
                <a:gd name="T4" fmla="*/ 0 w 9"/>
                <a:gd name="T5" fmla="*/ 69 h 8"/>
                <a:gd name="T6" fmla="*/ 49 w 9"/>
                <a:gd name="T7" fmla="*/ 0 h 8"/>
                <a:gd name="T8" fmla="*/ 113 w 9"/>
                <a:gd name="T9" fmla="*/ 69 h 8"/>
                <a:gd name="T10" fmla="*/ 49 w 9"/>
                <a:gd name="T11" fmla="*/ 131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8">
                  <a:moveTo>
                    <a:pt x="4" y="8"/>
                  </a:moveTo>
                  <a:cubicBezTo>
                    <a:pt x="2" y="8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6"/>
                    <a:pt x="7" y="8"/>
                    <a:pt x="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822" name="Freeform 805"/>
            <p:cNvSpPr>
              <a:spLocks noChangeArrowheads="1"/>
            </p:cNvSpPr>
            <p:nvPr/>
          </p:nvSpPr>
          <p:spPr bwMode="auto">
            <a:xfrm>
              <a:off x="5538" y="623"/>
              <a:ext cx="12" cy="12"/>
            </a:xfrm>
            <a:custGeom>
              <a:avLst/>
              <a:gdLst>
                <a:gd name="T0" fmla="*/ 64 w 9"/>
                <a:gd name="T1" fmla="*/ 116 h 9"/>
                <a:gd name="T2" fmla="*/ 0 w 9"/>
                <a:gd name="T3" fmla="*/ 49 h 9"/>
                <a:gd name="T4" fmla="*/ 0 w 9"/>
                <a:gd name="T5" fmla="*/ 49 h 9"/>
                <a:gd name="T6" fmla="*/ 64 w 9"/>
                <a:gd name="T7" fmla="*/ 0 h 9"/>
                <a:gd name="T8" fmla="*/ 113 w 9"/>
                <a:gd name="T9" fmla="*/ 49 h 9"/>
                <a:gd name="T10" fmla="*/ 64 w 9"/>
                <a:gd name="T11" fmla="*/ 116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2" y="9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823" name="Freeform 806"/>
            <p:cNvSpPr>
              <a:spLocks noChangeArrowheads="1"/>
            </p:cNvSpPr>
            <p:nvPr/>
          </p:nvSpPr>
          <p:spPr bwMode="auto">
            <a:xfrm>
              <a:off x="5518" y="637"/>
              <a:ext cx="12" cy="11"/>
            </a:xfrm>
            <a:custGeom>
              <a:avLst/>
              <a:gdLst>
                <a:gd name="T0" fmla="*/ 120 w 8"/>
                <a:gd name="T1" fmla="*/ 131 h 8"/>
                <a:gd name="T2" fmla="*/ 0 w 8"/>
                <a:gd name="T3" fmla="*/ 69 h 8"/>
                <a:gd name="T4" fmla="*/ 0 w 8"/>
                <a:gd name="T5" fmla="*/ 69 h 8"/>
                <a:gd name="T6" fmla="*/ 120 w 8"/>
                <a:gd name="T7" fmla="*/ 0 h 8"/>
                <a:gd name="T8" fmla="*/ 230 w 8"/>
                <a:gd name="T9" fmla="*/ 69 h 8"/>
                <a:gd name="T10" fmla="*/ 120 w 8"/>
                <a:gd name="T11" fmla="*/ 131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" h="8">
                  <a:moveTo>
                    <a:pt x="4" y="8"/>
                  </a:moveTo>
                  <a:cubicBezTo>
                    <a:pt x="2" y="8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6"/>
                    <a:pt x="6" y="8"/>
                    <a:pt x="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824" name="Freeform 807"/>
            <p:cNvSpPr>
              <a:spLocks noChangeArrowheads="1"/>
            </p:cNvSpPr>
            <p:nvPr/>
          </p:nvSpPr>
          <p:spPr bwMode="auto">
            <a:xfrm>
              <a:off x="5496" y="623"/>
              <a:ext cx="12" cy="12"/>
            </a:xfrm>
            <a:custGeom>
              <a:avLst/>
              <a:gdLst>
                <a:gd name="T0" fmla="*/ 49 w 9"/>
                <a:gd name="T1" fmla="*/ 116 h 9"/>
                <a:gd name="T2" fmla="*/ 0 w 9"/>
                <a:gd name="T3" fmla="*/ 49 h 9"/>
                <a:gd name="T4" fmla="*/ 0 w 9"/>
                <a:gd name="T5" fmla="*/ 49 h 9"/>
                <a:gd name="T6" fmla="*/ 49 w 9"/>
                <a:gd name="T7" fmla="*/ 0 h 9"/>
                <a:gd name="T8" fmla="*/ 113 w 9"/>
                <a:gd name="T9" fmla="*/ 49 h 9"/>
                <a:gd name="T10" fmla="*/ 49 w 9"/>
                <a:gd name="T11" fmla="*/ 116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2" y="9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825" name="Oval 808"/>
            <p:cNvSpPr>
              <a:spLocks noChangeArrowheads="1"/>
            </p:cNvSpPr>
            <p:nvPr/>
          </p:nvSpPr>
          <p:spPr bwMode="auto">
            <a:xfrm>
              <a:off x="5744" y="623"/>
              <a:ext cx="13" cy="12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US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826" name="Freeform 809"/>
            <p:cNvSpPr>
              <a:spLocks noChangeArrowheads="1"/>
            </p:cNvSpPr>
            <p:nvPr/>
          </p:nvSpPr>
          <p:spPr bwMode="auto">
            <a:xfrm>
              <a:off x="5723" y="637"/>
              <a:ext cx="12" cy="11"/>
            </a:xfrm>
            <a:custGeom>
              <a:avLst/>
              <a:gdLst>
                <a:gd name="T0" fmla="*/ 64 w 9"/>
                <a:gd name="T1" fmla="*/ 131 h 8"/>
                <a:gd name="T2" fmla="*/ 0 w 9"/>
                <a:gd name="T3" fmla="*/ 69 h 8"/>
                <a:gd name="T4" fmla="*/ 0 w 9"/>
                <a:gd name="T5" fmla="*/ 69 h 8"/>
                <a:gd name="T6" fmla="*/ 64 w 9"/>
                <a:gd name="T7" fmla="*/ 0 h 8"/>
                <a:gd name="T8" fmla="*/ 113 w 9"/>
                <a:gd name="T9" fmla="*/ 69 h 8"/>
                <a:gd name="T10" fmla="*/ 64 w 9"/>
                <a:gd name="T11" fmla="*/ 131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8">
                  <a:moveTo>
                    <a:pt x="5" y="8"/>
                  </a:moveTo>
                  <a:cubicBezTo>
                    <a:pt x="2" y="8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6"/>
                    <a:pt x="7" y="8"/>
                    <a:pt x="5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827" name="Freeform 810"/>
            <p:cNvSpPr>
              <a:spLocks noChangeArrowheads="1"/>
            </p:cNvSpPr>
            <p:nvPr/>
          </p:nvSpPr>
          <p:spPr bwMode="auto">
            <a:xfrm>
              <a:off x="5703" y="623"/>
              <a:ext cx="11" cy="12"/>
            </a:xfrm>
            <a:custGeom>
              <a:avLst/>
              <a:gdLst>
                <a:gd name="T0" fmla="*/ 69 w 8"/>
                <a:gd name="T1" fmla="*/ 116 h 9"/>
                <a:gd name="T2" fmla="*/ 0 w 8"/>
                <a:gd name="T3" fmla="*/ 49 h 9"/>
                <a:gd name="T4" fmla="*/ 0 w 8"/>
                <a:gd name="T5" fmla="*/ 49 h 9"/>
                <a:gd name="T6" fmla="*/ 69 w 8"/>
                <a:gd name="T7" fmla="*/ 0 h 9"/>
                <a:gd name="T8" fmla="*/ 131 w 8"/>
                <a:gd name="T9" fmla="*/ 49 h 9"/>
                <a:gd name="T10" fmla="*/ 69 w 8"/>
                <a:gd name="T11" fmla="*/ 116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2" y="9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828" name="Oval 811"/>
            <p:cNvSpPr>
              <a:spLocks noChangeArrowheads="1"/>
            </p:cNvSpPr>
            <p:nvPr/>
          </p:nvSpPr>
          <p:spPr bwMode="auto">
            <a:xfrm>
              <a:off x="5682" y="637"/>
              <a:ext cx="12" cy="11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US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829" name="Freeform 812"/>
            <p:cNvSpPr>
              <a:spLocks noChangeArrowheads="1"/>
            </p:cNvSpPr>
            <p:nvPr/>
          </p:nvSpPr>
          <p:spPr bwMode="auto">
            <a:xfrm>
              <a:off x="5661" y="623"/>
              <a:ext cx="12" cy="12"/>
            </a:xfrm>
            <a:custGeom>
              <a:avLst/>
              <a:gdLst>
                <a:gd name="T0" fmla="*/ 64 w 9"/>
                <a:gd name="T1" fmla="*/ 116 h 9"/>
                <a:gd name="T2" fmla="*/ 0 w 9"/>
                <a:gd name="T3" fmla="*/ 49 h 9"/>
                <a:gd name="T4" fmla="*/ 0 w 9"/>
                <a:gd name="T5" fmla="*/ 49 h 9"/>
                <a:gd name="T6" fmla="*/ 64 w 9"/>
                <a:gd name="T7" fmla="*/ 0 h 9"/>
                <a:gd name="T8" fmla="*/ 113 w 9"/>
                <a:gd name="T9" fmla="*/ 49 h 9"/>
                <a:gd name="T10" fmla="*/ 64 w 9"/>
                <a:gd name="T11" fmla="*/ 116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2" y="9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830" name="Freeform 813"/>
            <p:cNvSpPr>
              <a:spLocks noChangeArrowheads="1"/>
            </p:cNvSpPr>
            <p:nvPr/>
          </p:nvSpPr>
          <p:spPr bwMode="auto">
            <a:xfrm>
              <a:off x="5640" y="637"/>
              <a:ext cx="12" cy="11"/>
            </a:xfrm>
            <a:custGeom>
              <a:avLst/>
              <a:gdLst>
                <a:gd name="T0" fmla="*/ 120 w 8"/>
                <a:gd name="T1" fmla="*/ 131 h 8"/>
                <a:gd name="T2" fmla="*/ 0 w 8"/>
                <a:gd name="T3" fmla="*/ 69 h 8"/>
                <a:gd name="T4" fmla="*/ 0 w 8"/>
                <a:gd name="T5" fmla="*/ 69 h 8"/>
                <a:gd name="T6" fmla="*/ 120 w 8"/>
                <a:gd name="T7" fmla="*/ 0 h 8"/>
                <a:gd name="T8" fmla="*/ 230 w 8"/>
                <a:gd name="T9" fmla="*/ 69 h 8"/>
                <a:gd name="T10" fmla="*/ 230 w 8"/>
                <a:gd name="T11" fmla="*/ 69 h 8"/>
                <a:gd name="T12" fmla="*/ 120 w 8"/>
                <a:gd name="T13" fmla="*/ 131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" h="8">
                  <a:moveTo>
                    <a:pt x="4" y="8"/>
                  </a:moveTo>
                  <a:cubicBezTo>
                    <a:pt x="2" y="8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7"/>
                    <a:pt x="6" y="8"/>
                    <a:pt x="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831" name="Oval 814"/>
            <p:cNvSpPr>
              <a:spLocks noChangeArrowheads="1"/>
            </p:cNvSpPr>
            <p:nvPr/>
          </p:nvSpPr>
          <p:spPr bwMode="auto">
            <a:xfrm>
              <a:off x="5621" y="623"/>
              <a:ext cx="12" cy="12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US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832" name="Freeform 815"/>
            <p:cNvSpPr>
              <a:spLocks noChangeArrowheads="1"/>
            </p:cNvSpPr>
            <p:nvPr/>
          </p:nvSpPr>
          <p:spPr bwMode="auto">
            <a:xfrm>
              <a:off x="5393" y="637"/>
              <a:ext cx="13" cy="11"/>
            </a:xfrm>
            <a:custGeom>
              <a:avLst/>
              <a:gdLst>
                <a:gd name="T0" fmla="*/ 108 w 9"/>
                <a:gd name="T1" fmla="*/ 131 h 8"/>
                <a:gd name="T2" fmla="*/ 0 w 9"/>
                <a:gd name="T3" fmla="*/ 69 h 8"/>
                <a:gd name="T4" fmla="*/ 0 w 9"/>
                <a:gd name="T5" fmla="*/ 69 h 8"/>
                <a:gd name="T6" fmla="*/ 108 w 9"/>
                <a:gd name="T7" fmla="*/ 0 h 8"/>
                <a:gd name="T8" fmla="*/ 188 w 9"/>
                <a:gd name="T9" fmla="*/ 69 h 8"/>
                <a:gd name="T10" fmla="*/ 108 w 9"/>
                <a:gd name="T11" fmla="*/ 131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8">
                  <a:moveTo>
                    <a:pt x="5" y="8"/>
                  </a:moveTo>
                  <a:cubicBezTo>
                    <a:pt x="2" y="8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6"/>
                    <a:pt x="7" y="8"/>
                    <a:pt x="5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833" name="Freeform 816"/>
            <p:cNvSpPr>
              <a:spLocks noChangeArrowheads="1"/>
            </p:cNvSpPr>
            <p:nvPr/>
          </p:nvSpPr>
          <p:spPr bwMode="auto">
            <a:xfrm>
              <a:off x="5312" y="637"/>
              <a:ext cx="11" cy="11"/>
            </a:xfrm>
            <a:custGeom>
              <a:avLst/>
              <a:gdLst>
                <a:gd name="T0" fmla="*/ 69 w 8"/>
                <a:gd name="T1" fmla="*/ 131 h 8"/>
                <a:gd name="T2" fmla="*/ 0 w 8"/>
                <a:gd name="T3" fmla="*/ 69 h 8"/>
                <a:gd name="T4" fmla="*/ 0 w 8"/>
                <a:gd name="T5" fmla="*/ 69 h 8"/>
                <a:gd name="T6" fmla="*/ 69 w 8"/>
                <a:gd name="T7" fmla="*/ 0 h 8"/>
                <a:gd name="T8" fmla="*/ 131 w 8"/>
                <a:gd name="T9" fmla="*/ 69 h 8"/>
                <a:gd name="T10" fmla="*/ 69 w 8"/>
                <a:gd name="T11" fmla="*/ 131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" h="8">
                  <a:moveTo>
                    <a:pt x="4" y="8"/>
                  </a:moveTo>
                  <a:cubicBezTo>
                    <a:pt x="2" y="8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6"/>
                    <a:pt x="6" y="8"/>
                    <a:pt x="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834" name="Freeform 817"/>
            <p:cNvSpPr>
              <a:spLocks noChangeArrowheads="1"/>
            </p:cNvSpPr>
            <p:nvPr/>
          </p:nvSpPr>
          <p:spPr bwMode="auto">
            <a:xfrm>
              <a:off x="5023" y="637"/>
              <a:ext cx="13" cy="11"/>
            </a:xfrm>
            <a:custGeom>
              <a:avLst/>
              <a:gdLst>
                <a:gd name="T0" fmla="*/ 81 w 9"/>
                <a:gd name="T1" fmla="*/ 131 h 8"/>
                <a:gd name="T2" fmla="*/ 0 w 9"/>
                <a:gd name="T3" fmla="*/ 69 h 8"/>
                <a:gd name="T4" fmla="*/ 0 w 9"/>
                <a:gd name="T5" fmla="*/ 69 h 8"/>
                <a:gd name="T6" fmla="*/ 81 w 9"/>
                <a:gd name="T7" fmla="*/ 0 h 8"/>
                <a:gd name="T8" fmla="*/ 188 w 9"/>
                <a:gd name="T9" fmla="*/ 69 h 8"/>
                <a:gd name="T10" fmla="*/ 81 w 9"/>
                <a:gd name="T11" fmla="*/ 131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8">
                  <a:moveTo>
                    <a:pt x="4" y="8"/>
                  </a:moveTo>
                  <a:cubicBezTo>
                    <a:pt x="2" y="8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6"/>
                    <a:pt x="7" y="8"/>
                    <a:pt x="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835" name="Freeform 818"/>
            <p:cNvSpPr>
              <a:spLocks noChangeArrowheads="1"/>
            </p:cNvSpPr>
            <p:nvPr/>
          </p:nvSpPr>
          <p:spPr bwMode="auto">
            <a:xfrm>
              <a:off x="4961" y="623"/>
              <a:ext cx="14" cy="12"/>
            </a:xfrm>
            <a:custGeom>
              <a:avLst/>
              <a:gdLst>
                <a:gd name="T0" fmla="*/ 148 w 9"/>
                <a:gd name="T1" fmla="*/ 116 h 9"/>
                <a:gd name="T2" fmla="*/ 0 w 9"/>
                <a:gd name="T3" fmla="*/ 49 h 9"/>
                <a:gd name="T4" fmla="*/ 0 w 9"/>
                <a:gd name="T5" fmla="*/ 49 h 9"/>
                <a:gd name="T6" fmla="*/ 148 w 9"/>
                <a:gd name="T7" fmla="*/ 0 h 9"/>
                <a:gd name="T8" fmla="*/ 327 w 9"/>
                <a:gd name="T9" fmla="*/ 49 h 9"/>
                <a:gd name="T10" fmla="*/ 148 w 9"/>
                <a:gd name="T11" fmla="*/ 116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2" y="9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836" name="Freeform 819"/>
            <p:cNvSpPr>
              <a:spLocks noChangeArrowheads="1"/>
            </p:cNvSpPr>
            <p:nvPr/>
          </p:nvSpPr>
          <p:spPr bwMode="auto">
            <a:xfrm>
              <a:off x="5374" y="623"/>
              <a:ext cx="11" cy="12"/>
            </a:xfrm>
            <a:custGeom>
              <a:avLst/>
              <a:gdLst>
                <a:gd name="T0" fmla="*/ 69 w 8"/>
                <a:gd name="T1" fmla="*/ 116 h 9"/>
                <a:gd name="T2" fmla="*/ 0 w 8"/>
                <a:gd name="T3" fmla="*/ 49 h 9"/>
                <a:gd name="T4" fmla="*/ 0 w 8"/>
                <a:gd name="T5" fmla="*/ 49 h 9"/>
                <a:gd name="T6" fmla="*/ 69 w 8"/>
                <a:gd name="T7" fmla="*/ 0 h 9"/>
                <a:gd name="T8" fmla="*/ 131 w 8"/>
                <a:gd name="T9" fmla="*/ 49 h 9"/>
                <a:gd name="T10" fmla="*/ 69 w 8"/>
                <a:gd name="T11" fmla="*/ 116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2" y="9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837" name="Freeform 820"/>
            <p:cNvSpPr>
              <a:spLocks noChangeArrowheads="1"/>
            </p:cNvSpPr>
            <p:nvPr/>
          </p:nvSpPr>
          <p:spPr bwMode="auto">
            <a:xfrm>
              <a:off x="5291" y="623"/>
              <a:ext cx="13" cy="12"/>
            </a:xfrm>
            <a:custGeom>
              <a:avLst/>
              <a:gdLst>
                <a:gd name="T0" fmla="*/ 81 w 9"/>
                <a:gd name="T1" fmla="*/ 116 h 9"/>
                <a:gd name="T2" fmla="*/ 0 w 9"/>
                <a:gd name="T3" fmla="*/ 49 h 9"/>
                <a:gd name="T4" fmla="*/ 0 w 9"/>
                <a:gd name="T5" fmla="*/ 49 h 9"/>
                <a:gd name="T6" fmla="*/ 81 w 9"/>
                <a:gd name="T7" fmla="*/ 0 h 9"/>
                <a:gd name="T8" fmla="*/ 188 w 9"/>
                <a:gd name="T9" fmla="*/ 49 h 9"/>
                <a:gd name="T10" fmla="*/ 81 w 9"/>
                <a:gd name="T11" fmla="*/ 116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2" y="9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838" name="Freeform 821"/>
            <p:cNvSpPr>
              <a:spLocks noChangeArrowheads="1"/>
            </p:cNvSpPr>
            <p:nvPr/>
          </p:nvSpPr>
          <p:spPr bwMode="auto">
            <a:xfrm>
              <a:off x="5291" y="665"/>
              <a:ext cx="13" cy="11"/>
            </a:xfrm>
            <a:custGeom>
              <a:avLst/>
              <a:gdLst>
                <a:gd name="T0" fmla="*/ 81 w 9"/>
                <a:gd name="T1" fmla="*/ 131 h 8"/>
                <a:gd name="T2" fmla="*/ 81 w 9"/>
                <a:gd name="T3" fmla="*/ 131 h 8"/>
                <a:gd name="T4" fmla="*/ 0 w 9"/>
                <a:gd name="T5" fmla="*/ 69 h 8"/>
                <a:gd name="T6" fmla="*/ 0 w 9"/>
                <a:gd name="T7" fmla="*/ 69 h 8"/>
                <a:gd name="T8" fmla="*/ 81 w 9"/>
                <a:gd name="T9" fmla="*/ 0 h 8"/>
                <a:gd name="T10" fmla="*/ 81 w 9"/>
                <a:gd name="T11" fmla="*/ 0 h 8"/>
                <a:gd name="T12" fmla="*/ 188 w 9"/>
                <a:gd name="T13" fmla="*/ 69 h 8"/>
                <a:gd name="T14" fmla="*/ 81 w 9"/>
                <a:gd name="T15" fmla="*/ 131 h 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9" h="8">
                  <a:moveTo>
                    <a:pt x="4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7" y="0"/>
                    <a:pt x="9" y="1"/>
                    <a:pt x="9" y="4"/>
                  </a:cubicBezTo>
                  <a:cubicBezTo>
                    <a:pt x="9" y="6"/>
                    <a:pt x="7" y="8"/>
                    <a:pt x="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839" name="Freeform 822"/>
            <p:cNvSpPr>
              <a:spLocks noChangeArrowheads="1"/>
            </p:cNvSpPr>
            <p:nvPr/>
          </p:nvSpPr>
          <p:spPr bwMode="auto">
            <a:xfrm>
              <a:off x="5002" y="623"/>
              <a:ext cx="12" cy="12"/>
            </a:xfrm>
            <a:custGeom>
              <a:avLst/>
              <a:gdLst>
                <a:gd name="T0" fmla="*/ 65 w 9"/>
                <a:gd name="T1" fmla="*/ 116 h 9"/>
                <a:gd name="T2" fmla="*/ 0 w 9"/>
                <a:gd name="T3" fmla="*/ 49 h 9"/>
                <a:gd name="T4" fmla="*/ 0 w 9"/>
                <a:gd name="T5" fmla="*/ 49 h 9"/>
                <a:gd name="T6" fmla="*/ 65 w 9"/>
                <a:gd name="T7" fmla="*/ 0 h 9"/>
                <a:gd name="T8" fmla="*/ 116 w 9"/>
                <a:gd name="T9" fmla="*/ 49 h 9"/>
                <a:gd name="T10" fmla="*/ 65 w 9"/>
                <a:gd name="T11" fmla="*/ 116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2" y="9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840" name="Oval 823"/>
            <p:cNvSpPr>
              <a:spLocks noChangeArrowheads="1"/>
            </p:cNvSpPr>
            <p:nvPr/>
          </p:nvSpPr>
          <p:spPr bwMode="auto">
            <a:xfrm>
              <a:off x="4940" y="637"/>
              <a:ext cx="12" cy="11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US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841" name="Freeform 824"/>
            <p:cNvSpPr>
              <a:spLocks noChangeArrowheads="1"/>
            </p:cNvSpPr>
            <p:nvPr/>
          </p:nvSpPr>
          <p:spPr bwMode="auto">
            <a:xfrm>
              <a:off x="4983" y="637"/>
              <a:ext cx="11" cy="11"/>
            </a:xfrm>
            <a:custGeom>
              <a:avLst/>
              <a:gdLst>
                <a:gd name="T0" fmla="*/ 69 w 8"/>
                <a:gd name="T1" fmla="*/ 131 h 8"/>
                <a:gd name="T2" fmla="*/ 0 w 8"/>
                <a:gd name="T3" fmla="*/ 69 h 8"/>
                <a:gd name="T4" fmla="*/ 0 w 8"/>
                <a:gd name="T5" fmla="*/ 69 h 8"/>
                <a:gd name="T6" fmla="*/ 69 w 8"/>
                <a:gd name="T7" fmla="*/ 0 h 8"/>
                <a:gd name="T8" fmla="*/ 131 w 8"/>
                <a:gd name="T9" fmla="*/ 69 h 8"/>
                <a:gd name="T10" fmla="*/ 69 w 8"/>
                <a:gd name="T11" fmla="*/ 131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" h="8">
                  <a:moveTo>
                    <a:pt x="4" y="8"/>
                  </a:moveTo>
                  <a:cubicBezTo>
                    <a:pt x="2" y="8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6"/>
                    <a:pt x="6" y="8"/>
                    <a:pt x="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842" name="Freeform 825"/>
            <p:cNvSpPr>
              <a:spLocks noChangeArrowheads="1"/>
            </p:cNvSpPr>
            <p:nvPr/>
          </p:nvSpPr>
          <p:spPr bwMode="auto">
            <a:xfrm>
              <a:off x="4921" y="623"/>
              <a:ext cx="11" cy="12"/>
            </a:xfrm>
            <a:custGeom>
              <a:avLst/>
              <a:gdLst>
                <a:gd name="T0" fmla="*/ 69 w 8"/>
                <a:gd name="T1" fmla="*/ 116 h 9"/>
                <a:gd name="T2" fmla="*/ 0 w 8"/>
                <a:gd name="T3" fmla="*/ 49 h 9"/>
                <a:gd name="T4" fmla="*/ 0 w 8"/>
                <a:gd name="T5" fmla="*/ 49 h 9"/>
                <a:gd name="T6" fmla="*/ 69 w 8"/>
                <a:gd name="T7" fmla="*/ 0 h 9"/>
                <a:gd name="T8" fmla="*/ 131 w 8"/>
                <a:gd name="T9" fmla="*/ 49 h 9"/>
                <a:gd name="T10" fmla="*/ 69 w 8"/>
                <a:gd name="T11" fmla="*/ 116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2" y="9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843" name="Freeform 826"/>
            <p:cNvSpPr>
              <a:spLocks noChangeArrowheads="1"/>
            </p:cNvSpPr>
            <p:nvPr/>
          </p:nvSpPr>
          <p:spPr bwMode="auto">
            <a:xfrm>
              <a:off x="5476" y="658"/>
              <a:ext cx="12" cy="12"/>
            </a:xfrm>
            <a:custGeom>
              <a:avLst/>
              <a:gdLst>
                <a:gd name="T0" fmla="*/ 49 w 9"/>
                <a:gd name="T1" fmla="*/ 230 h 8"/>
                <a:gd name="T2" fmla="*/ 0 w 9"/>
                <a:gd name="T3" fmla="*/ 120 h 8"/>
                <a:gd name="T4" fmla="*/ 0 w 9"/>
                <a:gd name="T5" fmla="*/ 120 h 8"/>
                <a:gd name="T6" fmla="*/ 49 w 9"/>
                <a:gd name="T7" fmla="*/ 0 h 8"/>
                <a:gd name="T8" fmla="*/ 65 w 9"/>
                <a:gd name="T9" fmla="*/ 0 h 8"/>
                <a:gd name="T10" fmla="*/ 116 w 9"/>
                <a:gd name="T11" fmla="*/ 120 h 8"/>
                <a:gd name="T12" fmla="*/ 49 w 9"/>
                <a:gd name="T13" fmla="*/ 230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8">
                  <a:moveTo>
                    <a:pt x="4" y="8"/>
                  </a:moveTo>
                  <a:cubicBezTo>
                    <a:pt x="2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7" y="0"/>
                    <a:pt x="9" y="1"/>
                    <a:pt x="9" y="4"/>
                  </a:cubicBezTo>
                  <a:cubicBezTo>
                    <a:pt x="9" y="6"/>
                    <a:pt x="7" y="8"/>
                    <a:pt x="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844" name="Freeform 827"/>
            <p:cNvSpPr>
              <a:spLocks noChangeArrowheads="1"/>
            </p:cNvSpPr>
            <p:nvPr/>
          </p:nvSpPr>
          <p:spPr bwMode="auto">
            <a:xfrm>
              <a:off x="5600" y="658"/>
              <a:ext cx="12" cy="12"/>
            </a:xfrm>
            <a:custGeom>
              <a:avLst/>
              <a:gdLst>
                <a:gd name="T0" fmla="*/ 64 w 9"/>
                <a:gd name="T1" fmla="*/ 230 h 8"/>
                <a:gd name="T2" fmla="*/ 0 w 9"/>
                <a:gd name="T3" fmla="*/ 120 h 8"/>
                <a:gd name="T4" fmla="*/ 49 w 9"/>
                <a:gd name="T5" fmla="*/ 0 h 8"/>
                <a:gd name="T6" fmla="*/ 64 w 9"/>
                <a:gd name="T7" fmla="*/ 0 h 8"/>
                <a:gd name="T8" fmla="*/ 113 w 9"/>
                <a:gd name="T9" fmla="*/ 120 h 8"/>
                <a:gd name="T10" fmla="*/ 64 w 9"/>
                <a:gd name="T11" fmla="*/ 230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8">
                  <a:moveTo>
                    <a:pt x="5" y="8"/>
                  </a:moveTo>
                  <a:cubicBezTo>
                    <a:pt x="2" y="8"/>
                    <a:pt x="0" y="6"/>
                    <a:pt x="0" y="4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7" y="0"/>
                    <a:pt x="9" y="1"/>
                    <a:pt x="9" y="4"/>
                  </a:cubicBezTo>
                  <a:cubicBezTo>
                    <a:pt x="9" y="6"/>
                    <a:pt x="7" y="8"/>
                    <a:pt x="5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845" name="Freeform 828"/>
            <p:cNvSpPr>
              <a:spLocks noChangeArrowheads="1"/>
            </p:cNvSpPr>
            <p:nvPr/>
          </p:nvSpPr>
          <p:spPr bwMode="auto">
            <a:xfrm>
              <a:off x="5580" y="644"/>
              <a:ext cx="11" cy="11"/>
            </a:xfrm>
            <a:custGeom>
              <a:avLst/>
              <a:gdLst>
                <a:gd name="T0" fmla="*/ 69 w 8"/>
                <a:gd name="T1" fmla="*/ 131 h 8"/>
                <a:gd name="T2" fmla="*/ 69 w 8"/>
                <a:gd name="T3" fmla="*/ 131 h 8"/>
                <a:gd name="T4" fmla="*/ 0 w 8"/>
                <a:gd name="T5" fmla="*/ 69 h 8"/>
                <a:gd name="T6" fmla="*/ 0 w 8"/>
                <a:gd name="T7" fmla="*/ 69 h 8"/>
                <a:gd name="T8" fmla="*/ 69 w 8"/>
                <a:gd name="T9" fmla="*/ 0 h 8"/>
                <a:gd name="T10" fmla="*/ 131 w 8"/>
                <a:gd name="T11" fmla="*/ 69 h 8"/>
                <a:gd name="T12" fmla="*/ 69 w 8"/>
                <a:gd name="T13" fmla="*/ 131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" h="8">
                  <a:moveTo>
                    <a:pt x="4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6"/>
                    <a:pt x="6" y="8"/>
                    <a:pt x="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846" name="Freeform 829"/>
            <p:cNvSpPr>
              <a:spLocks noChangeArrowheads="1"/>
            </p:cNvSpPr>
            <p:nvPr/>
          </p:nvSpPr>
          <p:spPr bwMode="auto">
            <a:xfrm>
              <a:off x="5558" y="658"/>
              <a:ext cx="12" cy="12"/>
            </a:xfrm>
            <a:custGeom>
              <a:avLst/>
              <a:gdLst>
                <a:gd name="T0" fmla="*/ 49 w 9"/>
                <a:gd name="T1" fmla="*/ 230 h 8"/>
                <a:gd name="T2" fmla="*/ 0 w 9"/>
                <a:gd name="T3" fmla="*/ 120 h 8"/>
                <a:gd name="T4" fmla="*/ 0 w 9"/>
                <a:gd name="T5" fmla="*/ 120 h 8"/>
                <a:gd name="T6" fmla="*/ 49 w 9"/>
                <a:gd name="T7" fmla="*/ 0 h 8"/>
                <a:gd name="T8" fmla="*/ 49 w 9"/>
                <a:gd name="T9" fmla="*/ 0 h 8"/>
                <a:gd name="T10" fmla="*/ 113 w 9"/>
                <a:gd name="T11" fmla="*/ 120 h 8"/>
                <a:gd name="T12" fmla="*/ 49 w 9"/>
                <a:gd name="T13" fmla="*/ 230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8">
                  <a:moveTo>
                    <a:pt x="4" y="8"/>
                  </a:moveTo>
                  <a:cubicBezTo>
                    <a:pt x="2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7" y="0"/>
                    <a:pt x="9" y="1"/>
                    <a:pt x="9" y="4"/>
                  </a:cubicBezTo>
                  <a:cubicBezTo>
                    <a:pt x="9" y="6"/>
                    <a:pt x="7" y="8"/>
                    <a:pt x="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847" name="Freeform 830"/>
            <p:cNvSpPr>
              <a:spLocks noChangeArrowheads="1"/>
            </p:cNvSpPr>
            <p:nvPr/>
          </p:nvSpPr>
          <p:spPr bwMode="auto">
            <a:xfrm>
              <a:off x="5538" y="644"/>
              <a:ext cx="12" cy="11"/>
            </a:xfrm>
            <a:custGeom>
              <a:avLst/>
              <a:gdLst>
                <a:gd name="T0" fmla="*/ 64 w 9"/>
                <a:gd name="T1" fmla="*/ 131 h 8"/>
                <a:gd name="T2" fmla="*/ 49 w 9"/>
                <a:gd name="T3" fmla="*/ 131 h 8"/>
                <a:gd name="T4" fmla="*/ 0 w 9"/>
                <a:gd name="T5" fmla="*/ 69 h 8"/>
                <a:gd name="T6" fmla="*/ 0 w 9"/>
                <a:gd name="T7" fmla="*/ 69 h 8"/>
                <a:gd name="T8" fmla="*/ 64 w 9"/>
                <a:gd name="T9" fmla="*/ 0 h 8"/>
                <a:gd name="T10" fmla="*/ 113 w 9"/>
                <a:gd name="T11" fmla="*/ 69 h 8"/>
                <a:gd name="T12" fmla="*/ 64 w 9"/>
                <a:gd name="T13" fmla="*/ 131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8">
                  <a:moveTo>
                    <a:pt x="5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6"/>
                    <a:pt x="7" y="8"/>
                    <a:pt x="5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848" name="Freeform 831"/>
            <p:cNvSpPr>
              <a:spLocks noChangeArrowheads="1"/>
            </p:cNvSpPr>
            <p:nvPr/>
          </p:nvSpPr>
          <p:spPr bwMode="auto">
            <a:xfrm>
              <a:off x="5518" y="658"/>
              <a:ext cx="12" cy="12"/>
            </a:xfrm>
            <a:custGeom>
              <a:avLst/>
              <a:gdLst>
                <a:gd name="T0" fmla="*/ 120 w 8"/>
                <a:gd name="T1" fmla="*/ 230 h 8"/>
                <a:gd name="T2" fmla="*/ 0 w 8"/>
                <a:gd name="T3" fmla="*/ 120 h 8"/>
                <a:gd name="T4" fmla="*/ 0 w 8"/>
                <a:gd name="T5" fmla="*/ 120 h 8"/>
                <a:gd name="T6" fmla="*/ 120 w 8"/>
                <a:gd name="T7" fmla="*/ 0 h 8"/>
                <a:gd name="T8" fmla="*/ 120 w 8"/>
                <a:gd name="T9" fmla="*/ 0 h 8"/>
                <a:gd name="T10" fmla="*/ 230 w 8"/>
                <a:gd name="T11" fmla="*/ 120 h 8"/>
                <a:gd name="T12" fmla="*/ 120 w 8"/>
                <a:gd name="T13" fmla="*/ 230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" h="8">
                  <a:moveTo>
                    <a:pt x="4" y="8"/>
                  </a:moveTo>
                  <a:cubicBezTo>
                    <a:pt x="2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"/>
                    <a:pt x="1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6" y="0"/>
                    <a:pt x="8" y="1"/>
                    <a:pt x="8" y="4"/>
                  </a:cubicBezTo>
                  <a:cubicBezTo>
                    <a:pt x="8" y="6"/>
                    <a:pt x="6" y="8"/>
                    <a:pt x="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849" name="Freeform 832"/>
            <p:cNvSpPr>
              <a:spLocks noChangeArrowheads="1"/>
            </p:cNvSpPr>
            <p:nvPr/>
          </p:nvSpPr>
          <p:spPr bwMode="auto">
            <a:xfrm>
              <a:off x="5496" y="644"/>
              <a:ext cx="12" cy="11"/>
            </a:xfrm>
            <a:custGeom>
              <a:avLst/>
              <a:gdLst>
                <a:gd name="T0" fmla="*/ 49 w 9"/>
                <a:gd name="T1" fmla="*/ 131 h 8"/>
                <a:gd name="T2" fmla="*/ 49 w 9"/>
                <a:gd name="T3" fmla="*/ 131 h 8"/>
                <a:gd name="T4" fmla="*/ 0 w 9"/>
                <a:gd name="T5" fmla="*/ 69 h 8"/>
                <a:gd name="T6" fmla="*/ 0 w 9"/>
                <a:gd name="T7" fmla="*/ 69 h 8"/>
                <a:gd name="T8" fmla="*/ 49 w 9"/>
                <a:gd name="T9" fmla="*/ 0 h 8"/>
                <a:gd name="T10" fmla="*/ 113 w 9"/>
                <a:gd name="T11" fmla="*/ 69 h 8"/>
                <a:gd name="T12" fmla="*/ 49 w 9"/>
                <a:gd name="T13" fmla="*/ 131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8">
                  <a:moveTo>
                    <a:pt x="4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6"/>
                    <a:pt x="7" y="8"/>
                    <a:pt x="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850" name="Freeform 833"/>
            <p:cNvSpPr>
              <a:spLocks noChangeArrowheads="1"/>
            </p:cNvSpPr>
            <p:nvPr/>
          </p:nvSpPr>
          <p:spPr bwMode="auto">
            <a:xfrm>
              <a:off x="5744" y="644"/>
              <a:ext cx="13" cy="11"/>
            </a:xfrm>
            <a:custGeom>
              <a:avLst/>
              <a:gdLst>
                <a:gd name="T0" fmla="*/ 108 w 9"/>
                <a:gd name="T1" fmla="*/ 131 h 8"/>
                <a:gd name="T2" fmla="*/ 81 w 9"/>
                <a:gd name="T3" fmla="*/ 131 h 8"/>
                <a:gd name="T4" fmla="*/ 0 w 9"/>
                <a:gd name="T5" fmla="*/ 69 h 8"/>
                <a:gd name="T6" fmla="*/ 81 w 9"/>
                <a:gd name="T7" fmla="*/ 0 h 8"/>
                <a:gd name="T8" fmla="*/ 188 w 9"/>
                <a:gd name="T9" fmla="*/ 69 h 8"/>
                <a:gd name="T10" fmla="*/ 108 w 9"/>
                <a:gd name="T11" fmla="*/ 131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8">
                  <a:moveTo>
                    <a:pt x="5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6"/>
                    <a:pt x="7" y="8"/>
                    <a:pt x="5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851" name="Freeform 834"/>
            <p:cNvSpPr>
              <a:spLocks noChangeArrowheads="1"/>
            </p:cNvSpPr>
            <p:nvPr/>
          </p:nvSpPr>
          <p:spPr bwMode="auto">
            <a:xfrm>
              <a:off x="5723" y="658"/>
              <a:ext cx="12" cy="12"/>
            </a:xfrm>
            <a:custGeom>
              <a:avLst/>
              <a:gdLst>
                <a:gd name="T0" fmla="*/ 64 w 9"/>
                <a:gd name="T1" fmla="*/ 230 h 8"/>
                <a:gd name="T2" fmla="*/ 0 w 9"/>
                <a:gd name="T3" fmla="*/ 120 h 8"/>
                <a:gd name="T4" fmla="*/ 0 w 9"/>
                <a:gd name="T5" fmla="*/ 120 h 8"/>
                <a:gd name="T6" fmla="*/ 64 w 9"/>
                <a:gd name="T7" fmla="*/ 0 h 8"/>
                <a:gd name="T8" fmla="*/ 64 w 9"/>
                <a:gd name="T9" fmla="*/ 0 h 8"/>
                <a:gd name="T10" fmla="*/ 113 w 9"/>
                <a:gd name="T11" fmla="*/ 120 h 8"/>
                <a:gd name="T12" fmla="*/ 64 w 9"/>
                <a:gd name="T13" fmla="*/ 230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8">
                  <a:moveTo>
                    <a:pt x="5" y="8"/>
                  </a:moveTo>
                  <a:cubicBezTo>
                    <a:pt x="2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"/>
                    <a:pt x="2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7" y="0"/>
                    <a:pt x="9" y="1"/>
                    <a:pt x="9" y="4"/>
                  </a:cubicBezTo>
                  <a:cubicBezTo>
                    <a:pt x="9" y="6"/>
                    <a:pt x="7" y="8"/>
                    <a:pt x="5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852" name="Freeform 835"/>
            <p:cNvSpPr>
              <a:spLocks noChangeArrowheads="1"/>
            </p:cNvSpPr>
            <p:nvPr/>
          </p:nvSpPr>
          <p:spPr bwMode="auto">
            <a:xfrm>
              <a:off x="5703" y="644"/>
              <a:ext cx="11" cy="11"/>
            </a:xfrm>
            <a:custGeom>
              <a:avLst/>
              <a:gdLst>
                <a:gd name="T0" fmla="*/ 69 w 8"/>
                <a:gd name="T1" fmla="*/ 131 h 8"/>
                <a:gd name="T2" fmla="*/ 69 w 8"/>
                <a:gd name="T3" fmla="*/ 131 h 8"/>
                <a:gd name="T4" fmla="*/ 0 w 8"/>
                <a:gd name="T5" fmla="*/ 69 h 8"/>
                <a:gd name="T6" fmla="*/ 0 w 8"/>
                <a:gd name="T7" fmla="*/ 69 h 8"/>
                <a:gd name="T8" fmla="*/ 69 w 8"/>
                <a:gd name="T9" fmla="*/ 0 h 8"/>
                <a:gd name="T10" fmla="*/ 131 w 8"/>
                <a:gd name="T11" fmla="*/ 69 h 8"/>
                <a:gd name="T12" fmla="*/ 69 w 8"/>
                <a:gd name="T13" fmla="*/ 131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" h="8">
                  <a:moveTo>
                    <a:pt x="4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6"/>
                    <a:pt x="7" y="8"/>
                    <a:pt x="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853" name="Freeform 836"/>
            <p:cNvSpPr>
              <a:spLocks noChangeArrowheads="1"/>
            </p:cNvSpPr>
            <p:nvPr/>
          </p:nvSpPr>
          <p:spPr bwMode="auto">
            <a:xfrm>
              <a:off x="5682" y="658"/>
              <a:ext cx="12" cy="12"/>
            </a:xfrm>
            <a:custGeom>
              <a:avLst/>
              <a:gdLst>
                <a:gd name="T0" fmla="*/ 49 w 9"/>
                <a:gd name="T1" fmla="*/ 230 h 8"/>
                <a:gd name="T2" fmla="*/ 0 w 9"/>
                <a:gd name="T3" fmla="*/ 120 h 8"/>
                <a:gd name="T4" fmla="*/ 49 w 9"/>
                <a:gd name="T5" fmla="*/ 0 h 8"/>
                <a:gd name="T6" fmla="*/ 64 w 9"/>
                <a:gd name="T7" fmla="*/ 0 h 8"/>
                <a:gd name="T8" fmla="*/ 113 w 9"/>
                <a:gd name="T9" fmla="*/ 120 h 8"/>
                <a:gd name="T10" fmla="*/ 49 w 9"/>
                <a:gd name="T11" fmla="*/ 230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8">
                  <a:moveTo>
                    <a:pt x="4" y="8"/>
                  </a:moveTo>
                  <a:cubicBezTo>
                    <a:pt x="2" y="8"/>
                    <a:pt x="0" y="6"/>
                    <a:pt x="0" y="4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7" y="0"/>
                    <a:pt x="9" y="1"/>
                    <a:pt x="9" y="4"/>
                  </a:cubicBezTo>
                  <a:cubicBezTo>
                    <a:pt x="9" y="6"/>
                    <a:pt x="7" y="8"/>
                    <a:pt x="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854" name="Freeform 837"/>
            <p:cNvSpPr>
              <a:spLocks noChangeArrowheads="1"/>
            </p:cNvSpPr>
            <p:nvPr/>
          </p:nvSpPr>
          <p:spPr bwMode="auto">
            <a:xfrm>
              <a:off x="5661" y="644"/>
              <a:ext cx="12" cy="11"/>
            </a:xfrm>
            <a:custGeom>
              <a:avLst/>
              <a:gdLst>
                <a:gd name="T0" fmla="*/ 64 w 9"/>
                <a:gd name="T1" fmla="*/ 131 h 8"/>
                <a:gd name="T2" fmla="*/ 64 w 9"/>
                <a:gd name="T3" fmla="*/ 131 h 8"/>
                <a:gd name="T4" fmla="*/ 0 w 9"/>
                <a:gd name="T5" fmla="*/ 69 h 8"/>
                <a:gd name="T6" fmla="*/ 0 w 9"/>
                <a:gd name="T7" fmla="*/ 69 h 8"/>
                <a:gd name="T8" fmla="*/ 64 w 9"/>
                <a:gd name="T9" fmla="*/ 0 h 8"/>
                <a:gd name="T10" fmla="*/ 113 w 9"/>
                <a:gd name="T11" fmla="*/ 69 h 8"/>
                <a:gd name="T12" fmla="*/ 64 w 9"/>
                <a:gd name="T13" fmla="*/ 131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8">
                  <a:moveTo>
                    <a:pt x="5" y="8"/>
                  </a:moveTo>
                  <a:cubicBezTo>
                    <a:pt x="5" y="8"/>
                    <a:pt x="5" y="8"/>
                    <a:pt x="5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6"/>
                    <a:pt x="7" y="8"/>
                    <a:pt x="5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855" name="Freeform 838"/>
            <p:cNvSpPr>
              <a:spLocks noChangeArrowheads="1"/>
            </p:cNvSpPr>
            <p:nvPr/>
          </p:nvSpPr>
          <p:spPr bwMode="auto">
            <a:xfrm>
              <a:off x="5640" y="658"/>
              <a:ext cx="12" cy="12"/>
            </a:xfrm>
            <a:custGeom>
              <a:avLst/>
              <a:gdLst>
                <a:gd name="T0" fmla="*/ 120 w 8"/>
                <a:gd name="T1" fmla="*/ 230 h 8"/>
                <a:gd name="T2" fmla="*/ 0 w 8"/>
                <a:gd name="T3" fmla="*/ 120 h 8"/>
                <a:gd name="T4" fmla="*/ 0 w 8"/>
                <a:gd name="T5" fmla="*/ 120 h 8"/>
                <a:gd name="T6" fmla="*/ 120 w 8"/>
                <a:gd name="T7" fmla="*/ 0 h 8"/>
                <a:gd name="T8" fmla="*/ 120 w 8"/>
                <a:gd name="T9" fmla="*/ 0 h 8"/>
                <a:gd name="T10" fmla="*/ 230 w 8"/>
                <a:gd name="T11" fmla="*/ 120 h 8"/>
                <a:gd name="T12" fmla="*/ 230 w 8"/>
                <a:gd name="T13" fmla="*/ 120 h 8"/>
                <a:gd name="T14" fmla="*/ 120 w 8"/>
                <a:gd name="T15" fmla="*/ 230 h 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8" h="8">
                  <a:moveTo>
                    <a:pt x="4" y="8"/>
                  </a:moveTo>
                  <a:cubicBezTo>
                    <a:pt x="2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6" y="0"/>
                    <a:pt x="8" y="1"/>
                    <a:pt x="8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6" y="8"/>
                    <a:pt x="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856" name="Freeform 839"/>
            <p:cNvSpPr>
              <a:spLocks noChangeArrowheads="1"/>
            </p:cNvSpPr>
            <p:nvPr/>
          </p:nvSpPr>
          <p:spPr bwMode="auto">
            <a:xfrm>
              <a:off x="5621" y="644"/>
              <a:ext cx="12" cy="11"/>
            </a:xfrm>
            <a:custGeom>
              <a:avLst/>
              <a:gdLst>
                <a:gd name="T0" fmla="*/ 49 w 9"/>
                <a:gd name="T1" fmla="*/ 131 h 8"/>
                <a:gd name="T2" fmla="*/ 49 w 9"/>
                <a:gd name="T3" fmla="*/ 131 h 8"/>
                <a:gd name="T4" fmla="*/ 0 w 9"/>
                <a:gd name="T5" fmla="*/ 69 h 8"/>
                <a:gd name="T6" fmla="*/ 49 w 9"/>
                <a:gd name="T7" fmla="*/ 0 h 8"/>
                <a:gd name="T8" fmla="*/ 113 w 9"/>
                <a:gd name="T9" fmla="*/ 69 h 8"/>
                <a:gd name="T10" fmla="*/ 49 w 9"/>
                <a:gd name="T11" fmla="*/ 131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8">
                  <a:moveTo>
                    <a:pt x="4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6"/>
                    <a:pt x="7" y="8"/>
                    <a:pt x="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857" name="Freeform 840"/>
            <p:cNvSpPr>
              <a:spLocks noChangeArrowheads="1"/>
            </p:cNvSpPr>
            <p:nvPr/>
          </p:nvSpPr>
          <p:spPr bwMode="auto">
            <a:xfrm>
              <a:off x="5393" y="658"/>
              <a:ext cx="13" cy="12"/>
            </a:xfrm>
            <a:custGeom>
              <a:avLst/>
              <a:gdLst>
                <a:gd name="T0" fmla="*/ 108 w 9"/>
                <a:gd name="T1" fmla="*/ 230 h 8"/>
                <a:gd name="T2" fmla="*/ 0 w 9"/>
                <a:gd name="T3" fmla="*/ 120 h 8"/>
                <a:gd name="T4" fmla="*/ 0 w 9"/>
                <a:gd name="T5" fmla="*/ 120 h 8"/>
                <a:gd name="T6" fmla="*/ 108 w 9"/>
                <a:gd name="T7" fmla="*/ 0 h 8"/>
                <a:gd name="T8" fmla="*/ 108 w 9"/>
                <a:gd name="T9" fmla="*/ 0 h 8"/>
                <a:gd name="T10" fmla="*/ 188 w 9"/>
                <a:gd name="T11" fmla="*/ 120 h 8"/>
                <a:gd name="T12" fmla="*/ 108 w 9"/>
                <a:gd name="T13" fmla="*/ 230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8">
                  <a:moveTo>
                    <a:pt x="5" y="8"/>
                  </a:moveTo>
                  <a:cubicBezTo>
                    <a:pt x="2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"/>
                    <a:pt x="2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7" y="0"/>
                    <a:pt x="9" y="1"/>
                    <a:pt x="9" y="4"/>
                  </a:cubicBezTo>
                  <a:cubicBezTo>
                    <a:pt x="9" y="6"/>
                    <a:pt x="7" y="8"/>
                    <a:pt x="5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858" name="Freeform 841"/>
            <p:cNvSpPr>
              <a:spLocks noChangeArrowheads="1"/>
            </p:cNvSpPr>
            <p:nvPr/>
          </p:nvSpPr>
          <p:spPr bwMode="auto">
            <a:xfrm>
              <a:off x="5312" y="658"/>
              <a:ext cx="11" cy="12"/>
            </a:xfrm>
            <a:custGeom>
              <a:avLst/>
              <a:gdLst>
                <a:gd name="T0" fmla="*/ 69 w 8"/>
                <a:gd name="T1" fmla="*/ 230 h 8"/>
                <a:gd name="T2" fmla="*/ 0 w 8"/>
                <a:gd name="T3" fmla="*/ 120 h 8"/>
                <a:gd name="T4" fmla="*/ 0 w 8"/>
                <a:gd name="T5" fmla="*/ 120 h 8"/>
                <a:gd name="T6" fmla="*/ 69 w 8"/>
                <a:gd name="T7" fmla="*/ 0 h 8"/>
                <a:gd name="T8" fmla="*/ 69 w 8"/>
                <a:gd name="T9" fmla="*/ 0 h 8"/>
                <a:gd name="T10" fmla="*/ 131 w 8"/>
                <a:gd name="T11" fmla="*/ 120 h 8"/>
                <a:gd name="T12" fmla="*/ 69 w 8"/>
                <a:gd name="T13" fmla="*/ 230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" h="8">
                  <a:moveTo>
                    <a:pt x="4" y="8"/>
                  </a:moveTo>
                  <a:cubicBezTo>
                    <a:pt x="2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6" y="0"/>
                    <a:pt x="8" y="1"/>
                    <a:pt x="8" y="4"/>
                  </a:cubicBezTo>
                  <a:cubicBezTo>
                    <a:pt x="8" y="6"/>
                    <a:pt x="6" y="8"/>
                    <a:pt x="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859" name="Freeform 842"/>
            <p:cNvSpPr>
              <a:spLocks noChangeArrowheads="1"/>
            </p:cNvSpPr>
            <p:nvPr/>
          </p:nvSpPr>
          <p:spPr bwMode="auto">
            <a:xfrm>
              <a:off x="4961" y="644"/>
              <a:ext cx="14" cy="11"/>
            </a:xfrm>
            <a:custGeom>
              <a:avLst/>
              <a:gdLst>
                <a:gd name="T0" fmla="*/ 148 w 9"/>
                <a:gd name="T1" fmla="*/ 131 h 8"/>
                <a:gd name="T2" fmla="*/ 148 w 9"/>
                <a:gd name="T3" fmla="*/ 131 h 8"/>
                <a:gd name="T4" fmla="*/ 0 w 9"/>
                <a:gd name="T5" fmla="*/ 69 h 8"/>
                <a:gd name="T6" fmla="*/ 0 w 9"/>
                <a:gd name="T7" fmla="*/ 69 h 8"/>
                <a:gd name="T8" fmla="*/ 148 w 9"/>
                <a:gd name="T9" fmla="*/ 0 h 8"/>
                <a:gd name="T10" fmla="*/ 327 w 9"/>
                <a:gd name="T11" fmla="*/ 69 h 8"/>
                <a:gd name="T12" fmla="*/ 148 w 9"/>
                <a:gd name="T13" fmla="*/ 131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8">
                  <a:moveTo>
                    <a:pt x="4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6"/>
                    <a:pt x="7" y="8"/>
                    <a:pt x="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860" name="Freeform 843"/>
            <p:cNvSpPr>
              <a:spLocks noChangeArrowheads="1"/>
            </p:cNvSpPr>
            <p:nvPr/>
          </p:nvSpPr>
          <p:spPr bwMode="auto">
            <a:xfrm>
              <a:off x="5374" y="644"/>
              <a:ext cx="11" cy="11"/>
            </a:xfrm>
            <a:custGeom>
              <a:avLst/>
              <a:gdLst>
                <a:gd name="T0" fmla="*/ 69 w 8"/>
                <a:gd name="T1" fmla="*/ 131 h 8"/>
                <a:gd name="T2" fmla="*/ 69 w 8"/>
                <a:gd name="T3" fmla="*/ 131 h 8"/>
                <a:gd name="T4" fmla="*/ 0 w 8"/>
                <a:gd name="T5" fmla="*/ 69 h 8"/>
                <a:gd name="T6" fmla="*/ 0 w 8"/>
                <a:gd name="T7" fmla="*/ 69 h 8"/>
                <a:gd name="T8" fmla="*/ 69 w 8"/>
                <a:gd name="T9" fmla="*/ 0 h 8"/>
                <a:gd name="T10" fmla="*/ 131 w 8"/>
                <a:gd name="T11" fmla="*/ 69 h 8"/>
                <a:gd name="T12" fmla="*/ 69 w 8"/>
                <a:gd name="T13" fmla="*/ 131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" h="8">
                  <a:moveTo>
                    <a:pt x="4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6"/>
                    <a:pt x="6" y="8"/>
                    <a:pt x="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861" name="Freeform 844"/>
            <p:cNvSpPr>
              <a:spLocks noChangeArrowheads="1"/>
            </p:cNvSpPr>
            <p:nvPr/>
          </p:nvSpPr>
          <p:spPr bwMode="auto">
            <a:xfrm>
              <a:off x="5002" y="644"/>
              <a:ext cx="12" cy="11"/>
            </a:xfrm>
            <a:custGeom>
              <a:avLst/>
              <a:gdLst>
                <a:gd name="T0" fmla="*/ 65 w 9"/>
                <a:gd name="T1" fmla="*/ 131 h 8"/>
                <a:gd name="T2" fmla="*/ 65 w 9"/>
                <a:gd name="T3" fmla="*/ 131 h 8"/>
                <a:gd name="T4" fmla="*/ 0 w 9"/>
                <a:gd name="T5" fmla="*/ 69 h 8"/>
                <a:gd name="T6" fmla="*/ 0 w 9"/>
                <a:gd name="T7" fmla="*/ 69 h 8"/>
                <a:gd name="T8" fmla="*/ 65 w 9"/>
                <a:gd name="T9" fmla="*/ 0 h 8"/>
                <a:gd name="T10" fmla="*/ 116 w 9"/>
                <a:gd name="T11" fmla="*/ 69 h 8"/>
                <a:gd name="T12" fmla="*/ 65 w 9"/>
                <a:gd name="T13" fmla="*/ 131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8">
                  <a:moveTo>
                    <a:pt x="5" y="8"/>
                  </a:moveTo>
                  <a:cubicBezTo>
                    <a:pt x="5" y="8"/>
                    <a:pt x="5" y="8"/>
                    <a:pt x="5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6"/>
                    <a:pt x="7" y="8"/>
                    <a:pt x="5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862" name="Freeform 845"/>
            <p:cNvSpPr>
              <a:spLocks noChangeArrowheads="1"/>
            </p:cNvSpPr>
            <p:nvPr/>
          </p:nvSpPr>
          <p:spPr bwMode="auto">
            <a:xfrm>
              <a:off x="5476" y="678"/>
              <a:ext cx="12" cy="12"/>
            </a:xfrm>
            <a:custGeom>
              <a:avLst/>
              <a:gdLst>
                <a:gd name="T0" fmla="*/ 49 w 9"/>
                <a:gd name="T1" fmla="*/ 113 h 9"/>
                <a:gd name="T2" fmla="*/ 0 w 9"/>
                <a:gd name="T3" fmla="*/ 64 h 9"/>
                <a:gd name="T4" fmla="*/ 0 w 9"/>
                <a:gd name="T5" fmla="*/ 64 h 9"/>
                <a:gd name="T6" fmla="*/ 49 w 9"/>
                <a:gd name="T7" fmla="*/ 0 h 9"/>
                <a:gd name="T8" fmla="*/ 116 w 9"/>
                <a:gd name="T9" fmla="*/ 64 h 9"/>
                <a:gd name="T10" fmla="*/ 49 w 9"/>
                <a:gd name="T11" fmla="*/ 113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863" name="Freeform 846"/>
            <p:cNvSpPr>
              <a:spLocks noChangeArrowheads="1"/>
            </p:cNvSpPr>
            <p:nvPr/>
          </p:nvSpPr>
          <p:spPr bwMode="auto">
            <a:xfrm>
              <a:off x="5415" y="665"/>
              <a:ext cx="12" cy="11"/>
            </a:xfrm>
            <a:custGeom>
              <a:avLst/>
              <a:gdLst>
                <a:gd name="T0" fmla="*/ 49 w 9"/>
                <a:gd name="T1" fmla="*/ 131 h 8"/>
                <a:gd name="T2" fmla="*/ 0 w 9"/>
                <a:gd name="T3" fmla="*/ 69 h 8"/>
                <a:gd name="T4" fmla="*/ 0 w 9"/>
                <a:gd name="T5" fmla="*/ 69 h 8"/>
                <a:gd name="T6" fmla="*/ 49 w 9"/>
                <a:gd name="T7" fmla="*/ 0 h 8"/>
                <a:gd name="T8" fmla="*/ 64 w 9"/>
                <a:gd name="T9" fmla="*/ 0 h 8"/>
                <a:gd name="T10" fmla="*/ 113 w 9"/>
                <a:gd name="T11" fmla="*/ 69 h 8"/>
                <a:gd name="T12" fmla="*/ 49 w 9"/>
                <a:gd name="T13" fmla="*/ 131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8">
                  <a:moveTo>
                    <a:pt x="4" y="8"/>
                  </a:moveTo>
                  <a:cubicBezTo>
                    <a:pt x="2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7" y="0"/>
                    <a:pt x="9" y="1"/>
                    <a:pt x="9" y="4"/>
                  </a:cubicBezTo>
                  <a:cubicBezTo>
                    <a:pt x="9" y="6"/>
                    <a:pt x="7" y="8"/>
                    <a:pt x="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864" name="Oval 847"/>
            <p:cNvSpPr>
              <a:spLocks noChangeArrowheads="1"/>
            </p:cNvSpPr>
            <p:nvPr/>
          </p:nvSpPr>
          <p:spPr bwMode="auto">
            <a:xfrm>
              <a:off x="5600" y="678"/>
              <a:ext cx="12" cy="12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US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865" name="Freeform 848"/>
            <p:cNvSpPr>
              <a:spLocks noChangeArrowheads="1"/>
            </p:cNvSpPr>
            <p:nvPr/>
          </p:nvSpPr>
          <p:spPr bwMode="auto">
            <a:xfrm>
              <a:off x="5580" y="665"/>
              <a:ext cx="11" cy="11"/>
            </a:xfrm>
            <a:custGeom>
              <a:avLst/>
              <a:gdLst>
                <a:gd name="T0" fmla="*/ 69 w 8"/>
                <a:gd name="T1" fmla="*/ 131 h 8"/>
                <a:gd name="T2" fmla="*/ 0 w 8"/>
                <a:gd name="T3" fmla="*/ 69 h 8"/>
                <a:gd name="T4" fmla="*/ 0 w 8"/>
                <a:gd name="T5" fmla="*/ 69 h 8"/>
                <a:gd name="T6" fmla="*/ 69 w 8"/>
                <a:gd name="T7" fmla="*/ 0 h 8"/>
                <a:gd name="T8" fmla="*/ 69 w 8"/>
                <a:gd name="T9" fmla="*/ 0 h 8"/>
                <a:gd name="T10" fmla="*/ 131 w 8"/>
                <a:gd name="T11" fmla="*/ 69 h 8"/>
                <a:gd name="T12" fmla="*/ 69 w 8"/>
                <a:gd name="T13" fmla="*/ 131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" h="8">
                  <a:moveTo>
                    <a:pt x="4" y="8"/>
                  </a:moveTo>
                  <a:cubicBezTo>
                    <a:pt x="2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6" y="0"/>
                    <a:pt x="8" y="1"/>
                    <a:pt x="8" y="4"/>
                  </a:cubicBezTo>
                  <a:cubicBezTo>
                    <a:pt x="8" y="6"/>
                    <a:pt x="6" y="8"/>
                    <a:pt x="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866" name="Freeform 849"/>
            <p:cNvSpPr>
              <a:spLocks noChangeArrowheads="1"/>
            </p:cNvSpPr>
            <p:nvPr/>
          </p:nvSpPr>
          <p:spPr bwMode="auto">
            <a:xfrm>
              <a:off x="5558" y="678"/>
              <a:ext cx="12" cy="12"/>
            </a:xfrm>
            <a:custGeom>
              <a:avLst/>
              <a:gdLst>
                <a:gd name="T0" fmla="*/ 49 w 9"/>
                <a:gd name="T1" fmla="*/ 113 h 9"/>
                <a:gd name="T2" fmla="*/ 0 w 9"/>
                <a:gd name="T3" fmla="*/ 64 h 9"/>
                <a:gd name="T4" fmla="*/ 0 w 9"/>
                <a:gd name="T5" fmla="*/ 64 h 9"/>
                <a:gd name="T6" fmla="*/ 49 w 9"/>
                <a:gd name="T7" fmla="*/ 0 h 9"/>
                <a:gd name="T8" fmla="*/ 113 w 9"/>
                <a:gd name="T9" fmla="*/ 64 h 9"/>
                <a:gd name="T10" fmla="*/ 49 w 9"/>
                <a:gd name="T11" fmla="*/ 113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867" name="Freeform 850"/>
            <p:cNvSpPr>
              <a:spLocks noChangeArrowheads="1"/>
            </p:cNvSpPr>
            <p:nvPr/>
          </p:nvSpPr>
          <p:spPr bwMode="auto">
            <a:xfrm>
              <a:off x="5538" y="665"/>
              <a:ext cx="12" cy="11"/>
            </a:xfrm>
            <a:custGeom>
              <a:avLst/>
              <a:gdLst>
                <a:gd name="T0" fmla="*/ 64 w 9"/>
                <a:gd name="T1" fmla="*/ 131 h 8"/>
                <a:gd name="T2" fmla="*/ 0 w 9"/>
                <a:gd name="T3" fmla="*/ 69 h 8"/>
                <a:gd name="T4" fmla="*/ 0 w 9"/>
                <a:gd name="T5" fmla="*/ 69 h 8"/>
                <a:gd name="T6" fmla="*/ 49 w 9"/>
                <a:gd name="T7" fmla="*/ 0 h 8"/>
                <a:gd name="T8" fmla="*/ 64 w 9"/>
                <a:gd name="T9" fmla="*/ 0 h 8"/>
                <a:gd name="T10" fmla="*/ 113 w 9"/>
                <a:gd name="T11" fmla="*/ 69 h 8"/>
                <a:gd name="T12" fmla="*/ 64 w 9"/>
                <a:gd name="T13" fmla="*/ 131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8">
                  <a:moveTo>
                    <a:pt x="5" y="8"/>
                  </a:moveTo>
                  <a:cubicBezTo>
                    <a:pt x="2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7" y="0"/>
                    <a:pt x="9" y="1"/>
                    <a:pt x="9" y="4"/>
                  </a:cubicBezTo>
                  <a:cubicBezTo>
                    <a:pt x="9" y="6"/>
                    <a:pt x="7" y="8"/>
                    <a:pt x="5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868" name="Freeform 851"/>
            <p:cNvSpPr>
              <a:spLocks noChangeArrowheads="1"/>
            </p:cNvSpPr>
            <p:nvPr/>
          </p:nvSpPr>
          <p:spPr bwMode="auto">
            <a:xfrm>
              <a:off x="5518" y="678"/>
              <a:ext cx="12" cy="12"/>
            </a:xfrm>
            <a:custGeom>
              <a:avLst/>
              <a:gdLst>
                <a:gd name="T0" fmla="*/ 120 w 8"/>
                <a:gd name="T1" fmla="*/ 113 h 9"/>
                <a:gd name="T2" fmla="*/ 0 w 8"/>
                <a:gd name="T3" fmla="*/ 64 h 9"/>
                <a:gd name="T4" fmla="*/ 0 w 8"/>
                <a:gd name="T5" fmla="*/ 64 h 9"/>
                <a:gd name="T6" fmla="*/ 120 w 8"/>
                <a:gd name="T7" fmla="*/ 0 h 9"/>
                <a:gd name="T8" fmla="*/ 230 w 8"/>
                <a:gd name="T9" fmla="*/ 64 h 9"/>
                <a:gd name="T10" fmla="*/ 120 w 8"/>
                <a:gd name="T11" fmla="*/ 113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5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869" name="Freeform 852"/>
            <p:cNvSpPr>
              <a:spLocks noChangeArrowheads="1"/>
            </p:cNvSpPr>
            <p:nvPr/>
          </p:nvSpPr>
          <p:spPr bwMode="auto">
            <a:xfrm>
              <a:off x="5496" y="665"/>
              <a:ext cx="12" cy="11"/>
            </a:xfrm>
            <a:custGeom>
              <a:avLst/>
              <a:gdLst>
                <a:gd name="T0" fmla="*/ 49 w 9"/>
                <a:gd name="T1" fmla="*/ 131 h 8"/>
                <a:gd name="T2" fmla="*/ 0 w 9"/>
                <a:gd name="T3" fmla="*/ 69 h 8"/>
                <a:gd name="T4" fmla="*/ 0 w 9"/>
                <a:gd name="T5" fmla="*/ 69 h 8"/>
                <a:gd name="T6" fmla="*/ 49 w 9"/>
                <a:gd name="T7" fmla="*/ 0 h 8"/>
                <a:gd name="T8" fmla="*/ 49 w 9"/>
                <a:gd name="T9" fmla="*/ 0 h 8"/>
                <a:gd name="T10" fmla="*/ 113 w 9"/>
                <a:gd name="T11" fmla="*/ 69 h 8"/>
                <a:gd name="T12" fmla="*/ 49 w 9"/>
                <a:gd name="T13" fmla="*/ 131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8">
                  <a:moveTo>
                    <a:pt x="4" y="8"/>
                  </a:moveTo>
                  <a:cubicBezTo>
                    <a:pt x="2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7" y="0"/>
                    <a:pt x="9" y="1"/>
                    <a:pt x="9" y="4"/>
                  </a:cubicBezTo>
                  <a:cubicBezTo>
                    <a:pt x="9" y="6"/>
                    <a:pt x="7" y="8"/>
                    <a:pt x="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870" name="Freeform 853"/>
            <p:cNvSpPr>
              <a:spLocks noChangeArrowheads="1"/>
            </p:cNvSpPr>
            <p:nvPr/>
          </p:nvSpPr>
          <p:spPr bwMode="auto">
            <a:xfrm>
              <a:off x="5744" y="665"/>
              <a:ext cx="13" cy="11"/>
            </a:xfrm>
            <a:custGeom>
              <a:avLst/>
              <a:gdLst>
                <a:gd name="T0" fmla="*/ 81 w 9"/>
                <a:gd name="T1" fmla="*/ 131 h 8"/>
                <a:gd name="T2" fmla="*/ 0 w 9"/>
                <a:gd name="T3" fmla="*/ 69 h 8"/>
                <a:gd name="T4" fmla="*/ 81 w 9"/>
                <a:gd name="T5" fmla="*/ 0 h 8"/>
                <a:gd name="T6" fmla="*/ 108 w 9"/>
                <a:gd name="T7" fmla="*/ 0 h 8"/>
                <a:gd name="T8" fmla="*/ 188 w 9"/>
                <a:gd name="T9" fmla="*/ 69 h 8"/>
                <a:gd name="T10" fmla="*/ 81 w 9"/>
                <a:gd name="T11" fmla="*/ 131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8">
                  <a:moveTo>
                    <a:pt x="4" y="8"/>
                  </a:moveTo>
                  <a:cubicBezTo>
                    <a:pt x="2" y="8"/>
                    <a:pt x="0" y="6"/>
                    <a:pt x="0" y="4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7" y="0"/>
                    <a:pt x="9" y="1"/>
                    <a:pt x="9" y="4"/>
                  </a:cubicBezTo>
                  <a:cubicBezTo>
                    <a:pt x="9" y="6"/>
                    <a:pt x="7" y="8"/>
                    <a:pt x="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871" name="Freeform 854"/>
            <p:cNvSpPr>
              <a:spLocks noChangeArrowheads="1"/>
            </p:cNvSpPr>
            <p:nvPr/>
          </p:nvSpPr>
          <p:spPr bwMode="auto">
            <a:xfrm>
              <a:off x="5723" y="678"/>
              <a:ext cx="12" cy="12"/>
            </a:xfrm>
            <a:custGeom>
              <a:avLst/>
              <a:gdLst>
                <a:gd name="T0" fmla="*/ 64 w 9"/>
                <a:gd name="T1" fmla="*/ 113 h 9"/>
                <a:gd name="T2" fmla="*/ 0 w 9"/>
                <a:gd name="T3" fmla="*/ 64 h 9"/>
                <a:gd name="T4" fmla="*/ 0 w 9"/>
                <a:gd name="T5" fmla="*/ 64 h 9"/>
                <a:gd name="T6" fmla="*/ 64 w 9"/>
                <a:gd name="T7" fmla="*/ 0 h 9"/>
                <a:gd name="T8" fmla="*/ 113 w 9"/>
                <a:gd name="T9" fmla="*/ 64 h 9"/>
                <a:gd name="T10" fmla="*/ 64 w 9"/>
                <a:gd name="T11" fmla="*/ 113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872" name="Freeform 855"/>
            <p:cNvSpPr>
              <a:spLocks noChangeArrowheads="1"/>
            </p:cNvSpPr>
            <p:nvPr/>
          </p:nvSpPr>
          <p:spPr bwMode="auto">
            <a:xfrm>
              <a:off x="5703" y="665"/>
              <a:ext cx="11" cy="11"/>
            </a:xfrm>
            <a:custGeom>
              <a:avLst/>
              <a:gdLst>
                <a:gd name="T0" fmla="*/ 69 w 8"/>
                <a:gd name="T1" fmla="*/ 131 h 8"/>
                <a:gd name="T2" fmla="*/ 0 w 8"/>
                <a:gd name="T3" fmla="*/ 69 h 8"/>
                <a:gd name="T4" fmla="*/ 0 w 8"/>
                <a:gd name="T5" fmla="*/ 69 h 8"/>
                <a:gd name="T6" fmla="*/ 69 w 8"/>
                <a:gd name="T7" fmla="*/ 0 h 8"/>
                <a:gd name="T8" fmla="*/ 69 w 8"/>
                <a:gd name="T9" fmla="*/ 0 h 8"/>
                <a:gd name="T10" fmla="*/ 131 w 8"/>
                <a:gd name="T11" fmla="*/ 69 h 8"/>
                <a:gd name="T12" fmla="*/ 69 w 8"/>
                <a:gd name="T13" fmla="*/ 131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" h="8">
                  <a:moveTo>
                    <a:pt x="4" y="8"/>
                  </a:moveTo>
                  <a:cubicBezTo>
                    <a:pt x="2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7" y="0"/>
                    <a:pt x="8" y="1"/>
                    <a:pt x="8" y="4"/>
                  </a:cubicBezTo>
                  <a:cubicBezTo>
                    <a:pt x="8" y="6"/>
                    <a:pt x="6" y="8"/>
                    <a:pt x="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873" name="Oval 856"/>
            <p:cNvSpPr>
              <a:spLocks noChangeArrowheads="1"/>
            </p:cNvSpPr>
            <p:nvPr/>
          </p:nvSpPr>
          <p:spPr bwMode="auto">
            <a:xfrm>
              <a:off x="5682" y="678"/>
              <a:ext cx="12" cy="12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US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874" name="Freeform 857"/>
            <p:cNvSpPr>
              <a:spLocks noChangeArrowheads="1"/>
            </p:cNvSpPr>
            <p:nvPr/>
          </p:nvSpPr>
          <p:spPr bwMode="auto">
            <a:xfrm>
              <a:off x="5661" y="665"/>
              <a:ext cx="12" cy="11"/>
            </a:xfrm>
            <a:custGeom>
              <a:avLst/>
              <a:gdLst>
                <a:gd name="T0" fmla="*/ 64 w 9"/>
                <a:gd name="T1" fmla="*/ 131 h 8"/>
                <a:gd name="T2" fmla="*/ 0 w 9"/>
                <a:gd name="T3" fmla="*/ 69 h 8"/>
                <a:gd name="T4" fmla="*/ 0 w 9"/>
                <a:gd name="T5" fmla="*/ 69 h 8"/>
                <a:gd name="T6" fmla="*/ 64 w 9"/>
                <a:gd name="T7" fmla="*/ 0 h 8"/>
                <a:gd name="T8" fmla="*/ 64 w 9"/>
                <a:gd name="T9" fmla="*/ 0 h 8"/>
                <a:gd name="T10" fmla="*/ 113 w 9"/>
                <a:gd name="T11" fmla="*/ 69 h 8"/>
                <a:gd name="T12" fmla="*/ 64 w 9"/>
                <a:gd name="T13" fmla="*/ 131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8">
                  <a:moveTo>
                    <a:pt x="5" y="8"/>
                  </a:moveTo>
                  <a:cubicBezTo>
                    <a:pt x="2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"/>
                    <a:pt x="2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7" y="0"/>
                    <a:pt x="9" y="1"/>
                    <a:pt x="9" y="4"/>
                  </a:cubicBezTo>
                  <a:cubicBezTo>
                    <a:pt x="9" y="6"/>
                    <a:pt x="7" y="8"/>
                    <a:pt x="5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875" name="Freeform 858"/>
            <p:cNvSpPr>
              <a:spLocks noChangeArrowheads="1"/>
            </p:cNvSpPr>
            <p:nvPr/>
          </p:nvSpPr>
          <p:spPr bwMode="auto">
            <a:xfrm>
              <a:off x="5640" y="678"/>
              <a:ext cx="12" cy="12"/>
            </a:xfrm>
            <a:custGeom>
              <a:avLst/>
              <a:gdLst>
                <a:gd name="T0" fmla="*/ 120 w 8"/>
                <a:gd name="T1" fmla="*/ 113 h 9"/>
                <a:gd name="T2" fmla="*/ 0 w 8"/>
                <a:gd name="T3" fmla="*/ 64 h 9"/>
                <a:gd name="T4" fmla="*/ 0 w 8"/>
                <a:gd name="T5" fmla="*/ 49 h 9"/>
                <a:gd name="T6" fmla="*/ 120 w 8"/>
                <a:gd name="T7" fmla="*/ 0 h 9"/>
                <a:gd name="T8" fmla="*/ 230 w 8"/>
                <a:gd name="T9" fmla="*/ 64 h 9"/>
                <a:gd name="T10" fmla="*/ 230 w 8"/>
                <a:gd name="T11" fmla="*/ 64 h 9"/>
                <a:gd name="T12" fmla="*/ 120 w 8"/>
                <a:gd name="T13" fmla="*/ 113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876" name="Freeform 859"/>
            <p:cNvSpPr>
              <a:spLocks noChangeArrowheads="1"/>
            </p:cNvSpPr>
            <p:nvPr/>
          </p:nvSpPr>
          <p:spPr bwMode="auto">
            <a:xfrm>
              <a:off x="5621" y="665"/>
              <a:ext cx="12" cy="11"/>
            </a:xfrm>
            <a:custGeom>
              <a:avLst/>
              <a:gdLst>
                <a:gd name="T0" fmla="*/ 49 w 9"/>
                <a:gd name="T1" fmla="*/ 131 h 8"/>
                <a:gd name="T2" fmla="*/ 0 w 9"/>
                <a:gd name="T3" fmla="*/ 69 h 8"/>
                <a:gd name="T4" fmla="*/ 49 w 9"/>
                <a:gd name="T5" fmla="*/ 0 h 8"/>
                <a:gd name="T6" fmla="*/ 49 w 9"/>
                <a:gd name="T7" fmla="*/ 0 h 8"/>
                <a:gd name="T8" fmla="*/ 113 w 9"/>
                <a:gd name="T9" fmla="*/ 69 h 8"/>
                <a:gd name="T10" fmla="*/ 49 w 9"/>
                <a:gd name="T11" fmla="*/ 131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8">
                  <a:moveTo>
                    <a:pt x="4" y="8"/>
                  </a:moveTo>
                  <a:cubicBezTo>
                    <a:pt x="2" y="8"/>
                    <a:pt x="0" y="6"/>
                    <a:pt x="0" y="4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7" y="0"/>
                    <a:pt x="9" y="1"/>
                    <a:pt x="9" y="4"/>
                  </a:cubicBezTo>
                  <a:cubicBezTo>
                    <a:pt x="9" y="6"/>
                    <a:pt x="7" y="8"/>
                    <a:pt x="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877" name="Freeform 860"/>
            <p:cNvSpPr>
              <a:spLocks noChangeArrowheads="1"/>
            </p:cNvSpPr>
            <p:nvPr/>
          </p:nvSpPr>
          <p:spPr bwMode="auto">
            <a:xfrm>
              <a:off x="5393" y="678"/>
              <a:ext cx="13" cy="12"/>
            </a:xfrm>
            <a:custGeom>
              <a:avLst/>
              <a:gdLst>
                <a:gd name="T0" fmla="*/ 108 w 9"/>
                <a:gd name="T1" fmla="*/ 113 h 9"/>
                <a:gd name="T2" fmla="*/ 0 w 9"/>
                <a:gd name="T3" fmla="*/ 64 h 9"/>
                <a:gd name="T4" fmla="*/ 0 w 9"/>
                <a:gd name="T5" fmla="*/ 64 h 9"/>
                <a:gd name="T6" fmla="*/ 108 w 9"/>
                <a:gd name="T7" fmla="*/ 0 h 9"/>
                <a:gd name="T8" fmla="*/ 188 w 9"/>
                <a:gd name="T9" fmla="*/ 64 h 9"/>
                <a:gd name="T10" fmla="*/ 108 w 9"/>
                <a:gd name="T11" fmla="*/ 113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878" name="Freeform 861"/>
            <p:cNvSpPr>
              <a:spLocks noChangeArrowheads="1"/>
            </p:cNvSpPr>
            <p:nvPr/>
          </p:nvSpPr>
          <p:spPr bwMode="auto">
            <a:xfrm>
              <a:off x="5250" y="665"/>
              <a:ext cx="11" cy="11"/>
            </a:xfrm>
            <a:custGeom>
              <a:avLst/>
              <a:gdLst>
                <a:gd name="T0" fmla="*/ 69 w 8"/>
                <a:gd name="T1" fmla="*/ 131 h 8"/>
                <a:gd name="T2" fmla="*/ 0 w 8"/>
                <a:gd name="T3" fmla="*/ 69 h 8"/>
                <a:gd name="T4" fmla="*/ 0 w 8"/>
                <a:gd name="T5" fmla="*/ 69 h 8"/>
                <a:gd name="T6" fmla="*/ 69 w 8"/>
                <a:gd name="T7" fmla="*/ 0 h 8"/>
                <a:gd name="T8" fmla="*/ 69 w 8"/>
                <a:gd name="T9" fmla="*/ 0 h 8"/>
                <a:gd name="T10" fmla="*/ 131 w 8"/>
                <a:gd name="T11" fmla="*/ 69 h 8"/>
                <a:gd name="T12" fmla="*/ 69 w 8"/>
                <a:gd name="T13" fmla="*/ 131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" h="8">
                  <a:moveTo>
                    <a:pt x="4" y="8"/>
                  </a:moveTo>
                  <a:cubicBezTo>
                    <a:pt x="2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"/>
                    <a:pt x="1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6" y="0"/>
                    <a:pt x="8" y="1"/>
                    <a:pt x="8" y="4"/>
                  </a:cubicBezTo>
                  <a:cubicBezTo>
                    <a:pt x="8" y="6"/>
                    <a:pt x="6" y="8"/>
                    <a:pt x="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879" name="Freeform 862"/>
            <p:cNvSpPr>
              <a:spLocks noChangeArrowheads="1"/>
            </p:cNvSpPr>
            <p:nvPr/>
          </p:nvSpPr>
          <p:spPr bwMode="auto">
            <a:xfrm>
              <a:off x="5374" y="665"/>
              <a:ext cx="11" cy="11"/>
            </a:xfrm>
            <a:custGeom>
              <a:avLst/>
              <a:gdLst>
                <a:gd name="T0" fmla="*/ 69 w 8"/>
                <a:gd name="T1" fmla="*/ 131 h 8"/>
                <a:gd name="T2" fmla="*/ 0 w 8"/>
                <a:gd name="T3" fmla="*/ 69 h 8"/>
                <a:gd name="T4" fmla="*/ 0 w 8"/>
                <a:gd name="T5" fmla="*/ 69 h 8"/>
                <a:gd name="T6" fmla="*/ 69 w 8"/>
                <a:gd name="T7" fmla="*/ 0 h 8"/>
                <a:gd name="T8" fmla="*/ 69 w 8"/>
                <a:gd name="T9" fmla="*/ 0 h 8"/>
                <a:gd name="T10" fmla="*/ 131 w 8"/>
                <a:gd name="T11" fmla="*/ 69 h 8"/>
                <a:gd name="T12" fmla="*/ 69 w 8"/>
                <a:gd name="T13" fmla="*/ 131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" h="8">
                  <a:moveTo>
                    <a:pt x="4" y="8"/>
                  </a:moveTo>
                  <a:cubicBezTo>
                    <a:pt x="2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6" y="0"/>
                    <a:pt x="8" y="1"/>
                    <a:pt x="8" y="4"/>
                  </a:cubicBezTo>
                  <a:cubicBezTo>
                    <a:pt x="8" y="6"/>
                    <a:pt x="6" y="8"/>
                    <a:pt x="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880" name="Freeform 863"/>
            <p:cNvSpPr>
              <a:spLocks noChangeArrowheads="1"/>
            </p:cNvSpPr>
            <p:nvPr/>
          </p:nvSpPr>
          <p:spPr bwMode="auto">
            <a:xfrm>
              <a:off x="5270" y="678"/>
              <a:ext cx="12" cy="12"/>
            </a:xfrm>
            <a:custGeom>
              <a:avLst/>
              <a:gdLst>
                <a:gd name="T0" fmla="*/ 65 w 9"/>
                <a:gd name="T1" fmla="*/ 113 h 9"/>
                <a:gd name="T2" fmla="*/ 65 w 9"/>
                <a:gd name="T3" fmla="*/ 113 h 9"/>
                <a:gd name="T4" fmla="*/ 49 w 9"/>
                <a:gd name="T5" fmla="*/ 113 h 9"/>
                <a:gd name="T6" fmla="*/ 0 w 9"/>
                <a:gd name="T7" fmla="*/ 49 h 9"/>
                <a:gd name="T8" fmla="*/ 65 w 9"/>
                <a:gd name="T9" fmla="*/ 0 h 9"/>
                <a:gd name="T10" fmla="*/ 65 w 9"/>
                <a:gd name="T11" fmla="*/ 0 h 9"/>
                <a:gd name="T12" fmla="*/ 65 w 9"/>
                <a:gd name="T13" fmla="*/ 0 h 9"/>
                <a:gd name="T14" fmla="*/ 116 w 9"/>
                <a:gd name="T15" fmla="*/ 64 h 9"/>
                <a:gd name="T16" fmla="*/ 65 w 9"/>
                <a:gd name="T17" fmla="*/ 113 h 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5" y="9"/>
                    <a:pt x="5" y="9"/>
                    <a:pt x="5" y="9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7" y="0"/>
                    <a:pt x="9" y="3"/>
                    <a:pt x="9" y="5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881" name="Freeform 864"/>
            <p:cNvSpPr>
              <a:spLocks noChangeArrowheads="1"/>
            </p:cNvSpPr>
            <p:nvPr/>
          </p:nvSpPr>
          <p:spPr bwMode="auto">
            <a:xfrm>
              <a:off x="5270" y="714"/>
              <a:ext cx="12" cy="12"/>
            </a:xfrm>
            <a:custGeom>
              <a:avLst/>
              <a:gdLst>
                <a:gd name="T0" fmla="*/ 65 w 9"/>
                <a:gd name="T1" fmla="*/ 116 h 9"/>
                <a:gd name="T2" fmla="*/ 65 w 9"/>
                <a:gd name="T3" fmla="*/ 116 h 9"/>
                <a:gd name="T4" fmla="*/ 49 w 9"/>
                <a:gd name="T5" fmla="*/ 116 h 9"/>
                <a:gd name="T6" fmla="*/ 0 w 9"/>
                <a:gd name="T7" fmla="*/ 49 h 9"/>
                <a:gd name="T8" fmla="*/ 65 w 9"/>
                <a:gd name="T9" fmla="*/ 0 h 9"/>
                <a:gd name="T10" fmla="*/ 65 w 9"/>
                <a:gd name="T11" fmla="*/ 0 h 9"/>
                <a:gd name="T12" fmla="*/ 65 w 9"/>
                <a:gd name="T13" fmla="*/ 0 h 9"/>
                <a:gd name="T14" fmla="*/ 116 w 9"/>
                <a:gd name="T15" fmla="*/ 65 h 9"/>
                <a:gd name="T16" fmla="*/ 65 w 9"/>
                <a:gd name="T17" fmla="*/ 116 h 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5" y="9"/>
                    <a:pt x="5" y="9"/>
                    <a:pt x="5" y="9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882" name="Freeform 865"/>
            <p:cNvSpPr>
              <a:spLocks noChangeArrowheads="1"/>
            </p:cNvSpPr>
            <p:nvPr/>
          </p:nvSpPr>
          <p:spPr bwMode="auto">
            <a:xfrm>
              <a:off x="5415" y="684"/>
              <a:ext cx="12" cy="12"/>
            </a:xfrm>
            <a:custGeom>
              <a:avLst/>
              <a:gdLst>
                <a:gd name="T0" fmla="*/ 49 w 9"/>
                <a:gd name="T1" fmla="*/ 113 h 9"/>
                <a:gd name="T2" fmla="*/ 0 w 9"/>
                <a:gd name="T3" fmla="*/ 64 h 9"/>
                <a:gd name="T4" fmla="*/ 0 w 9"/>
                <a:gd name="T5" fmla="*/ 64 h 9"/>
                <a:gd name="T6" fmla="*/ 49 w 9"/>
                <a:gd name="T7" fmla="*/ 0 h 9"/>
                <a:gd name="T8" fmla="*/ 113 w 9"/>
                <a:gd name="T9" fmla="*/ 64 h 9"/>
                <a:gd name="T10" fmla="*/ 49 w 9"/>
                <a:gd name="T11" fmla="*/ 113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883" name="Freeform 866"/>
            <p:cNvSpPr>
              <a:spLocks noChangeArrowheads="1"/>
            </p:cNvSpPr>
            <p:nvPr/>
          </p:nvSpPr>
          <p:spPr bwMode="auto">
            <a:xfrm>
              <a:off x="5558" y="720"/>
              <a:ext cx="12" cy="13"/>
            </a:xfrm>
            <a:custGeom>
              <a:avLst/>
              <a:gdLst>
                <a:gd name="T0" fmla="*/ 49 w 9"/>
                <a:gd name="T1" fmla="*/ 188 h 9"/>
                <a:gd name="T2" fmla="*/ 0 w 9"/>
                <a:gd name="T3" fmla="*/ 81 h 9"/>
                <a:gd name="T4" fmla="*/ 0 w 9"/>
                <a:gd name="T5" fmla="*/ 81 h 9"/>
                <a:gd name="T6" fmla="*/ 49 w 9"/>
                <a:gd name="T7" fmla="*/ 0 h 9"/>
                <a:gd name="T8" fmla="*/ 113 w 9"/>
                <a:gd name="T9" fmla="*/ 81 h 9"/>
                <a:gd name="T10" fmla="*/ 49 w 9"/>
                <a:gd name="T11" fmla="*/ 188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2" y="9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884" name="Freeform 867"/>
            <p:cNvSpPr>
              <a:spLocks noChangeArrowheads="1"/>
            </p:cNvSpPr>
            <p:nvPr/>
          </p:nvSpPr>
          <p:spPr bwMode="auto">
            <a:xfrm>
              <a:off x="5496" y="684"/>
              <a:ext cx="12" cy="12"/>
            </a:xfrm>
            <a:custGeom>
              <a:avLst/>
              <a:gdLst>
                <a:gd name="T0" fmla="*/ 49 w 9"/>
                <a:gd name="T1" fmla="*/ 113 h 9"/>
                <a:gd name="T2" fmla="*/ 0 w 9"/>
                <a:gd name="T3" fmla="*/ 64 h 9"/>
                <a:gd name="T4" fmla="*/ 0 w 9"/>
                <a:gd name="T5" fmla="*/ 64 h 9"/>
                <a:gd name="T6" fmla="*/ 49 w 9"/>
                <a:gd name="T7" fmla="*/ 0 h 9"/>
                <a:gd name="T8" fmla="*/ 113 w 9"/>
                <a:gd name="T9" fmla="*/ 64 h 9"/>
                <a:gd name="T10" fmla="*/ 49 w 9"/>
                <a:gd name="T11" fmla="*/ 113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885" name="Oval 868"/>
            <p:cNvSpPr>
              <a:spLocks noChangeArrowheads="1"/>
            </p:cNvSpPr>
            <p:nvPr/>
          </p:nvSpPr>
          <p:spPr bwMode="auto">
            <a:xfrm>
              <a:off x="5744" y="684"/>
              <a:ext cx="13" cy="12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US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886" name="Freeform 869"/>
            <p:cNvSpPr>
              <a:spLocks noChangeArrowheads="1"/>
            </p:cNvSpPr>
            <p:nvPr/>
          </p:nvSpPr>
          <p:spPr bwMode="auto">
            <a:xfrm>
              <a:off x="5723" y="699"/>
              <a:ext cx="12" cy="12"/>
            </a:xfrm>
            <a:custGeom>
              <a:avLst/>
              <a:gdLst>
                <a:gd name="T0" fmla="*/ 64 w 9"/>
                <a:gd name="T1" fmla="*/ 113 h 9"/>
                <a:gd name="T2" fmla="*/ 64 w 9"/>
                <a:gd name="T3" fmla="*/ 113 h 9"/>
                <a:gd name="T4" fmla="*/ 0 w 9"/>
                <a:gd name="T5" fmla="*/ 64 h 9"/>
                <a:gd name="T6" fmla="*/ 0 w 9"/>
                <a:gd name="T7" fmla="*/ 49 h 9"/>
                <a:gd name="T8" fmla="*/ 64 w 9"/>
                <a:gd name="T9" fmla="*/ 0 h 9"/>
                <a:gd name="T10" fmla="*/ 113 w 9"/>
                <a:gd name="T11" fmla="*/ 49 h 9"/>
                <a:gd name="T12" fmla="*/ 64 w 9"/>
                <a:gd name="T13" fmla="*/ 113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5" y="9"/>
                    <a:pt x="5" y="9"/>
                    <a:pt x="5" y="9"/>
                  </a:cubicBez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887" name="Freeform 870"/>
            <p:cNvSpPr>
              <a:spLocks noChangeArrowheads="1"/>
            </p:cNvSpPr>
            <p:nvPr/>
          </p:nvSpPr>
          <p:spPr bwMode="auto">
            <a:xfrm>
              <a:off x="5703" y="684"/>
              <a:ext cx="11" cy="12"/>
            </a:xfrm>
            <a:custGeom>
              <a:avLst/>
              <a:gdLst>
                <a:gd name="T0" fmla="*/ 69 w 8"/>
                <a:gd name="T1" fmla="*/ 113 h 9"/>
                <a:gd name="T2" fmla="*/ 0 w 8"/>
                <a:gd name="T3" fmla="*/ 64 h 9"/>
                <a:gd name="T4" fmla="*/ 0 w 8"/>
                <a:gd name="T5" fmla="*/ 64 h 9"/>
                <a:gd name="T6" fmla="*/ 69 w 8"/>
                <a:gd name="T7" fmla="*/ 0 h 9"/>
                <a:gd name="T8" fmla="*/ 131 w 8"/>
                <a:gd name="T9" fmla="*/ 64 h 9"/>
                <a:gd name="T10" fmla="*/ 69 w 8"/>
                <a:gd name="T11" fmla="*/ 113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5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888" name="Freeform 871"/>
            <p:cNvSpPr>
              <a:spLocks noChangeArrowheads="1"/>
            </p:cNvSpPr>
            <p:nvPr/>
          </p:nvSpPr>
          <p:spPr bwMode="auto">
            <a:xfrm>
              <a:off x="5682" y="699"/>
              <a:ext cx="12" cy="12"/>
            </a:xfrm>
            <a:custGeom>
              <a:avLst/>
              <a:gdLst>
                <a:gd name="T0" fmla="*/ 49 w 9"/>
                <a:gd name="T1" fmla="*/ 113 h 9"/>
                <a:gd name="T2" fmla="*/ 49 w 9"/>
                <a:gd name="T3" fmla="*/ 113 h 9"/>
                <a:gd name="T4" fmla="*/ 0 w 9"/>
                <a:gd name="T5" fmla="*/ 49 h 9"/>
                <a:gd name="T6" fmla="*/ 49 w 9"/>
                <a:gd name="T7" fmla="*/ 0 h 9"/>
                <a:gd name="T8" fmla="*/ 113 w 9"/>
                <a:gd name="T9" fmla="*/ 49 h 9"/>
                <a:gd name="T10" fmla="*/ 49 w 9"/>
                <a:gd name="T11" fmla="*/ 113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889" name="Freeform 872"/>
            <p:cNvSpPr>
              <a:spLocks noChangeArrowheads="1"/>
            </p:cNvSpPr>
            <p:nvPr/>
          </p:nvSpPr>
          <p:spPr bwMode="auto">
            <a:xfrm>
              <a:off x="5661" y="684"/>
              <a:ext cx="12" cy="12"/>
            </a:xfrm>
            <a:custGeom>
              <a:avLst/>
              <a:gdLst>
                <a:gd name="T0" fmla="*/ 64 w 9"/>
                <a:gd name="T1" fmla="*/ 113 h 9"/>
                <a:gd name="T2" fmla="*/ 0 w 9"/>
                <a:gd name="T3" fmla="*/ 64 h 9"/>
                <a:gd name="T4" fmla="*/ 0 w 9"/>
                <a:gd name="T5" fmla="*/ 64 h 9"/>
                <a:gd name="T6" fmla="*/ 64 w 9"/>
                <a:gd name="T7" fmla="*/ 0 h 9"/>
                <a:gd name="T8" fmla="*/ 113 w 9"/>
                <a:gd name="T9" fmla="*/ 64 h 9"/>
                <a:gd name="T10" fmla="*/ 64 w 9"/>
                <a:gd name="T11" fmla="*/ 113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890" name="Freeform 873"/>
            <p:cNvSpPr>
              <a:spLocks noChangeArrowheads="1"/>
            </p:cNvSpPr>
            <p:nvPr/>
          </p:nvSpPr>
          <p:spPr bwMode="auto">
            <a:xfrm>
              <a:off x="5640" y="699"/>
              <a:ext cx="12" cy="12"/>
            </a:xfrm>
            <a:custGeom>
              <a:avLst/>
              <a:gdLst>
                <a:gd name="T0" fmla="*/ 120 w 8"/>
                <a:gd name="T1" fmla="*/ 113 h 9"/>
                <a:gd name="T2" fmla="*/ 120 w 8"/>
                <a:gd name="T3" fmla="*/ 113 h 9"/>
                <a:gd name="T4" fmla="*/ 0 w 8"/>
                <a:gd name="T5" fmla="*/ 64 h 9"/>
                <a:gd name="T6" fmla="*/ 0 w 8"/>
                <a:gd name="T7" fmla="*/ 49 h 9"/>
                <a:gd name="T8" fmla="*/ 120 w 8"/>
                <a:gd name="T9" fmla="*/ 0 h 9"/>
                <a:gd name="T10" fmla="*/ 230 w 8"/>
                <a:gd name="T11" fmla="*/ 49 h 9"/>
                <a:gd name="T12" fmla="*/ 230 w 8"/>
                <a:gd name="T13" fmla="*/ 64 h 9"/>
                <a:gd name="T14" fmla="*/ 120 w 8"/>
                <a:gd name="T15" fmla="*/ 113 h 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891" name="Oval 874"/>
            <p:cNvSpPr>
              <a:spLocks noChangeArrowheads="1"/>
            </p:cNvSpPr>
            <p:nvPr/>
          </p:nvSpPr>
          <p:spPr bwMode="auto">
            <a:xfrm>
              <a:off x="5621" y="684"/>
              <a:ext cx="12" cy="12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US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892" name="Freeform 875"/>
            <p:cNvSpPr>
              <a:spLocks noChangeArrowheads="1"/>
            </p:cNvSpPr>
            <p:nvPr/>
          </p:nvSpPr>
          <p:spPr bwMode="auto">
            <a:xfrm>
              <a:off x="5393" y="699"/>
              <a:ext cx="13" cy="12"/>
            </a:xfrm>
            <a:custGeom>
              <a:avLst/>
              <a:gdLst>
                <a:gd name="T0" fmla="*/ 108 w 9"/>
                <a:gd name="T1" fmla="*/ 113 h 9"/>
                <a:gd name="T2" fmla="*/ 108 w 9"/>
                <a:gd name="T3" fmla="*/ 113 h 9"/>
                <a:gd name="T4" fmla="*/ 0 w 9"/>
                <a:gd name="T5" fmla="*/ 64 h 9"/>
                <a:gd name="T6" fmla="*/ 0 w 9"/>
                <a:gd name="T7" fmla="*/ 49 h 9"/>
                <a:gd name="T8" fmla="*/ 108 w 9"/>
                <a:gd name="T9" fmla="*/ 0 h 9"/>
                <a:gd name="T10" fmla="*/ 188 w 9"/>
                <a:gd name="T11" fmla="*/ 49 h 9"/>
                <a:gd name="T12" fmla="*/ 108 w 9"/>
                <a:gd name="T13" fmla="*/ 113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5" y="9"/>
                    <a:pt x="5" y="9"/>
                    <a:pt x="5" y="9"/>
                  </a:cubicBez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893" name="Rectangle 876"/>
            <p:cNvSpPr>
              <a:spLocks noChangeArrowheads="1"/>
            </p:cNvSpPr>
            <p:nvPr/>
          </p:nvSpPr>
          <p:spPr bwMode="auto">
            <a:xfrm>
              <a:off x="5393" y="699"/>
              <a:ext cx="13" cy="12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US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894" name="Rectangle 877"/>
            <p:cNvSpPr>
              <a:spLocks noChangeArrowheads="1"/>
            </p:cNvSpPr>
            <p:nvPr/>
          </p:nvSpPr>
          <p:spPr bwMode="auto">
            <a:xfrm>
              <a:off x="5393" y="699"/>
              <a:ext cx="13" cy="12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US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895" name="Freeform 878"/>
            <p:cNvSpPr>
              <a:spLocks noChangeArrowheads="1"/>
            </p:cNvSpPr>
            <p:nvPr/>
          </p:nvSpPr>
          <p:spPr bwMode="auto">
            <a:xfrm>
              <a:off x="5580" y="705"/>
              <a:ext cx="11" cy="14"/>
            </a:xfrm>
            <a:custGeom>
              <a:avLst/>
              <a:gdLst>
                <a:gd name="T0" fmla="*/ 69 w 8"/>
                <a:gd name="T1" fmla="*/ 327 h 9"/>
                <a:gd name="T2" fmla="*/ 69 w 8"/>
                <a:gd name="T3" fmla="*/ 327 h 9"/>
                <a:gd name="T4" fmla="*/ 0 w 8"/>
                <a:gd name="T5" fmla="*/ 182 h 9"/>
                <a:gd name="T6" fmla="*/ 0 w 8"/>
                <a:gd name="T7" fmla="*/ 148 h 9"/>
                <a:gd name="T8" fmla="*/ 69 w 8"/>
                <a:gd name="T9" fmla="*/ 0 h 9"/>
                <a:gd name="T10" fmla="*/ 131 w 8"/>
                <a:gd name="T11" fmla="*/ 148 h 9"/>
                <a:gd name="T12" fmla="*/ 69 w 8"/>
                <a:gd name="T13" fmla="*/ 327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896" name="Freeform 879"/>
            <p:cNvSpPr>
              <a:spLocks noChangeArrowheads="1"/>
            </p:cNvSpPr>
            <p:nvPr/>
          </p:nvSpPr>
          <p:spPr bwMode="auto">
            <a:xfrm>
              <a:off x="5744" y="705"/>
              <a:ext cx="13" cy="14"/>
            </a:xfrm>
            <a:custGeom>
              <a:avLst/>
              <a:gdLst>
                <a:gd name="T0" fmla="*/ 108 w 9"/>
                <a:gd name="T1" fmla="*/ 327 h 9"/>
                <a:gd name="T2" fmla="*/ 81 w 9"/>
                <a:gd name="T3" fmla="*/ 327 h 9"/>
                <a:gd name="T4" fmla="*/ 0 w 9"/>
                <a:gd name="T5" fmla="*/ 148 h 9"/>
                <a:gd name="T6" fmla="*/ 81 w 9"/>
                <a:gd name="T7" fmla="*/ 0 h 9"/>
                <a:gd name="T8" fmla="*/ 188 w 9"/>
                <a:gd name="T9" fmla="*/ 148 h 9"/>
                <a:gd name="T10" fmla="*/ 108 w 9"/>
                <a:gd name="T11" fmla="*/ 327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897" name="Freeform 880"/>
            <p:cNvSpPr>
              <a:spLocks noChangeArrowheads="1"/>
            </p:cNvSpPr>
            <p:nvPr/>
          </p:nvSpPr>
          <p:spPr bwMode="auto">
            <a:xfrm>
              <a:off x="5723" y="720"/>
              <a:ext cx="12" cy="13"/>
            </a:xfrm>
            <a:custGeom>
              <a:avLst/>
              <a:gdLst>
                <a:gd name="T0" fmla="*/ 64 w 9"/>
                <a:gd name="T1" fmla="*/ 188 h 9"/>
                <a:gd name="T2" fmla="*/ 0 w 9"/>
                <a:gd name="T3" fmla="*/ 81 h 9"/>
                <a:gd name="T4" fmla="*/ 0 w 9"/>
                <a:gd name="T5" fmla="*/ 81 h 9"/>
                <a:gd name="T6" fmla="*/ 64 w 9"/>
                <a:gd name="T7" fmla="*/ 0 h 9"/>
                <a:gd name="T8" fmla="*/ 113 w 9"/>
                <a:gd name="T9" fmla="*/ 81 h 9"/>
                <a:gd name="T10" fmla="*/ 64 w 9"/>
                <a:gd name="T11" fmla="*/ 188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2" y="9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898" name="Freeform 881"/>
            <p:cNvSpPr>
              <a:spLocks noChangeArrowheads="1"/>
            </p:cNvSpPr>
            <p:nvPr/>
          </p:nvSpPr>
          <p:spPr bwMode="auto">
            <a:xfrm>
              <a:off x="5703" y="705"/>
              <a:ext cx="11" cy="14"/>
            </a:xfrm>
            <a:custGeom>
              <a:avLst/>
              <a:gdLst>
                <a:gd name="T0" fmla="*/ 69 w 8"/>
                <a:gd name="T1" fmla="*/ 327 h 9"/>
                <a:gd name="T2" fmla="*/ 69 w 8"/>
                <a:gd name="T3" fmla="*/ 327 h 9"/>
                <a:gd name="T4" fmla="*/ 0 w 8"/>
                <a:gd name="T5" fmla="*/ 182 h 9"/>
                <a:gd name="T6" fmla="*/ 0 w 8"/>
                <a:gd name="T7" fmla="*/ 148 h 9"/>
                <a:gd name="T8" fmla="*/ 69 w 8"/>
                <a:gd name="T9" fmla="*/ 0 h 9"/>
                <a:gd name="T10" fmla="*/ 131 w 8"/>
                <a:gd name="T11" fmla="*/ 148 h 9"/>
                <a:gd name="T12" fmla="*/ 69 w 8"/>
                <a:gd name="T13" fmla="*/ 327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899" name="Oval 882"/>
            <p:cNvSpPr>
              <a:spLocks noChangeArrowheads="1"/>
            </p:cNvSpPr>
            <p:nvPr/>
          </p:nvSpPr>
          <p:spPr bwMode="auto">
            <a:xfrm>
              <a:off x="5682" y="720"/>
              <a:ext cx="12" cy="1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US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900" name="Freeform 883"/>
            <p:cNvSpPr>
              <a:spLocks noChangeArrowheads="1"/>
            </p:cNvSpPr>
            <p:nvPr/>
          </p:nvSpPr>
          <p:spPr bwMode="auto">
            <a:xfrm>
              <a:off x="5661" y="705"/>
              <a:ext cx="12" cy="14"/>
            </a:xfrm>
            <a:custGeom>
              <a:avLst/>
              <a:gdLst>
                <a:gd name="T0" fmla="*/ 64 w 9"/>
                <a:gd name="T1" fmla="*/ 327 h 9"/>
                <a:gd name="T2" fmla="*/ 64 w 9"/>
                <a:gd name="T3" fmla="*/ 327 h 9"/>
                <a:gd name="T4" fmla="*/ 0 w 9"/>
                <a:gd name="T5" fmla="*/ 182 h 9"/>
                <a:gd name="T6" fmla="*/ 0 w 9"/>
                <a:gd name="T7" fmla="*/ 148 h 9"/>
                <a:gd name="T8" fmla="*/ 64 w 9"/>
                <a:gd name="T9" fmla="*/ 0 h 9"/>
                <a:gd name="T10" fmla="*/ 113 w 9"/>
                <a:gd name="T11" fmla="*/ 148 h 9"/>
                <a:gd name="T12" fmla="*/ 64 w 9"/>
                <a:gd name="T13" fmla="*/ 327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5" y="9"/>
                    <a:pt x="5" y="9"/>
                    <a:pt x="5" y="9"/>
                  </a:cubicBez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901" name="Freeform 884"/>
            <p:cNvSpPr>
              <a:spLocks noChangeArrowheads="1"/>
            </p:cNvSpPr>
            <p:nvPr/>
          </p:nvSpPr>
          <p:spPr bwMode="auto">
            <a:xfrm>
              <a:off x="5640" y="720"/>
              <a:ext cx="12" cy="13"/>
            </a:xfrm>
            <a:custGeom>
              <a:avLst/>
              <a:gdLst>
                <a:gd name="T0" fmla="*/ 120 w 8"/>
                <a:gd name="T1" fmla="*/ 188 h 9"/>
                <a:gd name="T2" fmla="*/ 0 w 8"/>
                <a:gd name="T3" fmla="*/ 81 h 9"/>
                <a:gd name="T4" fmla="*/ 0 w 8"/>
                <a:gd name="T5" fmla="*/ 81 h 9"/>
                <a:gd name="T6" fmla="*/ 120 w 8"/>
                <a:gd name="T7" fmla="*/ 0 h 9"/>
                <a:gd name="T8" fmla="*/ 230 w 8"/>
                <a:gd name="T9" fmla="*/ 81 h 9"/>
                <a:gd name="T10" fmla="*/ 230 w 8"/>
                <a:gd name="T11" fmla="*/ 81 h 9"/>
                <a:gd name="T12" fmla="*/ 120 w 8"/>
                <a:gd name="T13" fmla="*/ 188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2" y="9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902" name="Freeform 885"/>
            <p:cNvSpPr>
              <a:spLocks noChangeArrowheads="1"/>
            </p:cNvSpPr>
            <p:nvPr/>
          </p:nvSpPr>
          <p:spPr bwMode="auto">
            <a:xfrm>
              <a:off x="5621" y="705"/>
              <a:ext cx="12" cy="14"/>
            </a:xfrm>
            <a:custGeom>
              <a:avLst/>
              <a:gdLst>
                <a:gd name="T0" fmla="*/ 49 w 9"/>
                <a:gd name="T1" fmla="*/ 327 h 9"/>
                <a:gd name="T2" fmla="*/ 49 w 9"/>
                <a:gd name="T3" fmla="*/ 327 h 9"/>
                <a:gd name="T4" fmla="*/ 0 w 9"/>
                <a:gd name="T5" fmla="*/ 148 h 9"/>
                <a:gd name="T6" fmla="*/ 49 w 9"/>
                <a:gd name="T7" fmla="*/ 0 h 9"/>
                <a:gd name="T8" fmla="*/ 113 w 9"/>
                <a:gd name="T9" fmla="*/ 148 h 9"/>
                <a:gd name="T10" fmla="*/ 49 w 9"/>
                <a:gd name="T11" fmla="*/ 327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903" name="Oval 886"/>
            <p:cNvSpPr>
              <a:spLocks noChangeArrowheads="1"/>
            </p:cNvSpPr>
            <p:nvPr/>
          </p:nvSpPr>
          <p:spPr bwMode="auto">
            <a:xfrm>
              <a:off x="5744" y="727"/>
              <a:ext cx="13" cy="12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US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904" name="Freeform 887"/>
            <p:cNvSpPr>
              <a:spLocks noChangeArrowheads="1"/>
            </p:cNvSpPr>
            <p:nvPr/>
          </p:nvSpPr>
          <p:spPr bwMode="auto">
            <a:xfrm>
              <a:off x="5703" y="727"/>
              <a:ext cx="11" cy="12"/>
            </a:xfrm>
            <a:custGeom>
              <a:avLst/>
              <a:gdLst>
                <a:gd name="T0" fmla="*/ 69 w 8"/>
                <a:gd name="T1" fmla="*/ 116 h 9"/>
                <a:gd name="T2" fmla="*/ 0 w 8"/>
                <a:gd name="T3" fmla="*/ 49 h 9"/>
                <a:gd name="T4" fmla="*/ 0 w 8"/>
                <a:gd name="T5" fmla="*/ 49 h 9"/>
                <a:gd name="T6" fmla="*/ 69 w 8"/>
                <a:gd name="T7" fmla="*/ 0 h 9"/>
                <a:gd name="T8" fmla="*/ 131 w 8"/>
                <a:gd name="T9" fmla="*/ 49 h 9"/>
                <a:gd name="T10" fmla="*/ 69 w 8"/>
                <a:gd name="T11" fmla="*/ 116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2" y="9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7"/>
                    <a:pt x="6" y="9"/>
                    <a:pt x="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905" name="Freeform 888"/>
            <p:cNvSpPr>
              <a:spLocks noChangeArrowheads="1"/>
            </p:cNvSpPr>
            <p:nvPr/>
          </p:nvSpPr>
          <p:spPr bwMode="auto">
            <a:xfrm>
              <a:off x="5661" y="727"/>
              <a:ext cx="12" cy="12"/>
            </a:xfrm>
            <a:custGeom>
              <a:avLst/>
              <a:gdLst>
                <a:gd name="T0" fmla="*/ 64 w 9"/>
                <a:gd name="T1" fmla="*/ 116 h 9"/>
                <a:gd name="T2" fmla="*/ 0 w 9"/>
                <a:gd name="T3" fmla="*/ 49 h 9"/>
                <a:gd name="T4" fmla="*/ 0 w 9"/>
                <a:gd name="T5" fmla="*/ 49 h 9"/>
                <a:gd name="T6" fmla="*/ 64 w 9"/>
                <a:gd name="T7" fmla="*/ 0 h 9"/>
                <a:gd name="T8" fmla="*/ 113 w 9"/>
                <a:gd name="T9" fmla="*/ 49 h 9"/>
                <a:gd name="T10" fmla="*/ 64 w 9"/>
                <a:gd name="T11" fmla="*/ 116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2" y="9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906" name="Oval 889"/>
            <p:cNvSpPr>
              <a:spLocks noChangeArrowheads="1"/>
            </p:cNvSpPr>
            <p:nvPr/>
          </p:nvSpPr>
          <p:spPr bwMode="auto">
            <a:xfrm>
              <a:off x="5621" y="727"/>
              <a:ext cx="12" cy="12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US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907" name="Freeform 890"/>
            <p:cNvSpPr>
              <a:spLocks noChangeArrowheads="1"/>
            </p:cNvSpPr>
            <p:nvPr/>
          </p:nvSpPr>
          <p:spPr bwMode="auto">
            <a:xfrm>
              <a:off x="5353" y="347"/>
              <a:ext cx="12" cy="11"/>
            </a:xfrm>
            <a:custGeom>
              <a:avLst/>
              <a:gdLst>
                <a:gd name="T0" fmla="*/ 49 w 9"/>
                <a:gd name="T1" fmla="*/ 131 h 8"/>
                <a:gd name="T2" fmla="*/ 0 w 9"/>
                <a:gd name="T3" fmla="*/ 69 h 8"/>
                <a:gd name="T4" fmla="*/ 0 w 9"/>
                <a:gd name="T5" fmla="*/ 69 h 8"/>
                <a:gd name="T6" fmla="*/ 49 w 9"/>
                <a:gd name="T7" fmla="*/ 0 h 8"/>
                <a:gd name="T8" fmla="*/ 113 w 9"/>
                <a:gd name="T9" fmla="*/ 69 h 8"/>
                <a:gd name="T10" fmla="*/ 49 w 9"/>
                <a:gd name="T11" fmla="*/ 131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8">
                  <a:moveTo>
                    <a:pt x="4" y="8"/>
                  </a:moveTo>
                  <a:cubicBezTo>
                    <a:pt x="2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7" y="0"/>
                    <a:pt x="9" y="1"/>
                    <a:pt x="9" y="4"/>
                  </a:cubicBezTo>
                  <a:cubicBezTo>
                    <a:pt x="9" y="6"/>
                    <a:pt x="7" y="8"/>
                    <a:pt x="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908" name="Freeform 891"/>
            <p:cNvSpPr>
              <a:spLocks noChangeArrowheads="1"/>
            </p:cNvSpPr>
            <p:nvPr/>
          </p:nvSpPr>
          <p:spPr bwMode="auto">
            <a:xfrm>
              <a:off x="5393" y="242"/>
              <a:ext cx="13" cy="11"/>
            </a:xfrm>
            <a:custGeom>
              <a:avLst/>
              <a:gdLst>
                <a:gd name="T0" fmla="*/ 108 w 9"/>
                <a:gd name="T1" fmla="*/ 131 h 8"/>
                <a:gd name="T2" fmla="*/ 108 w 9"/>
                <a:gd name="T3" fmla="*/ 131 h 8"/>
                <a:gd name="T4" fmla="*/ 0 w 9"/>
                <a:gd name="T5" fmla="*/ 69 h 8"/>
                <a:gd name="T6" fmla="*/ 0 w 9"/>
                <a:gd name="T7" fmla="*/ 69 h 8"/>
                <a:gd name="T8" fmla="*/ 108 w 9"/>
                <a:gd name="T9" fmla="*/ 0 h 8"/>
                <a:gd name="T10" fmla="*/ 188 w 9"/>
                <a:gd name="T11" fmla="*/ 69 h 8"/>
                <a:gd name="T12" fmla="*/ 108 w 9"/>
                <a:gd name="T13" fmla="*/ 131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8">
                  <a:moveTo>
                    <a:pt x="5" y="8"/>
                  </a:moveTo>
                  <a:cubicBezTo>
                    <a:pt x="5" y="8"/>
                    <a:pt x="5" y="8"/>
                    <a:pt x="5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"/>
                    <a:pt x="2" y="0"/>
                    <a:pt x="5" y="0"/>
                  </a:cubicBezTo>
                  <a:cubicBezTo>
                    <a:pt x="7" y="0"/>
                    <a:pt x="9" y="1"/>
                    <a:pt x="9" y="4"/>
                  </a:cubicBezTo>
                  <a:cubicBezTo>
                    <a:pt x="9" y="6"/>
                    <a:pt x="7" y="8"/>
                    <a:pt x="5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909" name="Freeform 892"/>
            <p:cNvSpPr>
              <a:spLocks noChangeArrowheads="1"/>
            </p:cNvSpPr>
            <p:nvPr/>
          </p:nvSpPr>
          <p:spPr bwMode="auto">
            <a:xfrm>
              <a:off x="5744" y="748"/>
              <a:ext cx="13" cy="11"/>
            </a:xfrm>
            <a:custGeom>
              <a:avLst/>
              <a:gdLst>
                <a:gd name="T0" fmla="*/ 81 w 9"/>
                <a:gd name="T1" fmla="*/ 131 h 8"/>
                <a:gd name="T2" fmla="*/ 0 w 9"/>
                <a:gd name="T3" fmla="*/ 69 h 8"/>
                <a:gd name="T4" fmla="*/ 81 w 9"/>
                <a:gd name="T5" fmla="*/ 0 h 8"/>
                <a:gd name="T6" fmla="*/ 188 w 9"/>
                <a:gd name="T7" fmla="*/ 69 h 8"/>
                <a:gd name="T8" fmla="*/ 188 w 9"/>
                <a:gd name="T9" fmla="*/ 69 h 8"/>
                <a:gd name="T10" fmla="*/ 81 w 9"/>
                <a:gd name="T11" fmla="*/ 131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8">
                  <a:moveTo>
                    <a:pt x="4" y="8"/>
                  </a:move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6"/>
                    <a:pt x="7" y="8"/>
                    <a:pt x="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GB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  <p:sp>
          <p:nvSpPr>
            <p:cNvPr id="43910" name="Oval 893"/>
            <p:cNvSpPr>
              <a:spLocks noChangeArrowheads="1"/>
            </p:cNvSpPr>
            <p:nvPr/>
          </p:nvSpPr>
          <p:spPr bwMode="auto">
            <a:xfrm>
              <a:off x="5723" y="741"/>
              <a:ext cx="12" cy="11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US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</p:grpSp>
      <p:sp>
        <p:nvSpPr>
          <p:cNvPr id="31614" name="Text Box 894"/>
          <p:cNvSpPr txBox="1">
            <a:spLocks noChangeArrowheads="1"/>
          </p:cNvSpPr>
          <p:nvPr/>
        </p:nvSpPr>
        <p:spPr bwMode="auto">
          <a:xfrm>
            <a:off x="466725" y="0"/>
            <a:ext cx="7705725" cy="908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>
            <a:lvl1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chemeClr val="bg1"/>
                </a:solidFill>
                <a:latin typeface="Verdana" pitchFamily="34" charset="0"/>
                <a:ea typeface="MS PGothic" pitchFamily="34" charset="-128"/>
              </a:defRPr>
            </a:lvl1pPr>
            <a:lvl2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chemeClr val="bg1"/>
                </a:solidFill>
                <a:latin typeface="Verdana" pitchFamily="34" charset="0"/>
                <a:ea typeface="MS PGothic" pitchFamily="34" charset="-128"/>
              </a:defRPr>
            </a:lvl2pPr>
            <a:lvl3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chemeClr val="bg1"/>
                </a:solidFill>
                <a:latin typeface="Verdana" pitchFamily="34" charset="0"/>
                <a:ea typeface="MS PGothic" pitchFamily="34" charset="-128"/>
              </a:defRPr>
            </a:lvl3pPr>
            <a:lvl4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chemeClr val="bg1"/>
                </a:solidFill>
                <a:latin typeface="Verdana" pitchFamily="34" charset="0"/>
                <a:ea typeface="MS PGothic" pitchFamily="34" charset="-128"/>
              </a:defRPr>
            </a:lvl4pPr>
            <a:lvl5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chemeClr val="bg1"/>
                </a:solidFill>
                <a:latin typeface="Verdana" pitchFamily="34" charset="0"/>
                <a:ea typeface="MS PGothic" pitchFamily="34" charset="-128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chemeClr val="bg1"/>
                </a:solidFill>
                <a:latin typeface="Verdana" pitchFamily="34" charset="0"/>
                <a:ea typeface="MS PGothic" pitchFamily="34" charset="-128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chemeClr val="bg1"/>
                </a:solidFill>
                <a:latin typeface="Verdana" pitchFamily="34" charset="0"/>
                <a:ea typeface="MS PGothic" pitchFamily="34" charset="-128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chemeClr val="bg1"/>
                </a:solidFill>
                <a:latin typeface="Verdana" pitchFamily="34" charset="0"/>
                <a:ea typeface="MS PGothic" pitchFamily="34" charset="-128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chemeClr val="bg1"/>
                </a:solidFill>
                <a:latin typeface="Verdana" pitchFamily="34" charset="0"/>
                <a:ea typeface="MS PGothic" pitchFamily="34" charset="-128"/>
              </a:defRPr>
            </a:lvl9pPr>
          </a:lstStyle>
          <a:p>
            <a:pPr defTabSz="449263" eaLnBrk="1" hangingPunct="1">
              <a:buSzPct val="100000"/>
            </a:pPr>
            <a:r>
              <a:rPr lang="en-GB" sz="2400" b="1" dirty="0" smtClean="0">
                <a:solidFill>
                  <a:srgbClr val="FFFFFF"/>
                </a:solidFill>
                <a:latin typeface="Arial" charset="0"/>
                <a:cs typeface="Arial"/>
              </a:rPr>
              <a:t>EU Cohesion Policy invests in </a:t>
            </a:r>
            <a:r>
              <a:rPr lang="en-GB" sz="2800" dirty="0" smtClean="0">
                <a:solidFill>
                  <a:srgbClr val="FFFFFF"/>
                </a:solidFill>
                <a:latin typeface="Arial" charset="0"/>
                <a:cs typeface="Arial"/>
              </a:rPr>
              <a:t>…</a:t>
            </a:r>
          </a:p>
        </p:txBody>
      </p:sp>
      <p:grpSp>
        <p:nvGrpSpPr>
          <p:cNvPr id="31615" name="Group 895"/>
          <p:cNvGrpSpPr>
            <a:grpSpLocks/>
          </p:cNvGrpSpPr>
          <p:nvPr/>
        </p:nvGrpSpPr>
        <p:grpSpPr bwMode="auto">
          <a:xfrm>
            <a:off x="3519488" y="1974850"/>
            <a:ext cx="1976437" cy="1992313"/>
            <a:chOff x="2217" y="1244"/>
            <a:chExt cx="1245" cy="1255"/>
          </a:xfrm>
        </p:grpSpPr>
        <p:pic>
          <p:nvPicPr>
            <p:cNvPr id="43028" name="Picture 896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17" y="1244"/>
              <a:ext cx="1245" cy="12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blipFill dpi="0" rotWithShape="0">
                    <a:blip/>
                    <a:srcRect/>
                    <a:stretch>
                      <a:fillRect/>
                    </a:stretch>
                  </a:blip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pic>
        <p:sp>
          <p:nvSpPr>
            <p:cNvPr id="43029" name="Oval 897"/>
            <p:cNvSpPr>
              <a:spLocks noChangeArrowheads="1"/>
            </p:cNvSpPr>
            <p:nvPr/>
          </p:nvSpPr>
          <p:spPr bwMode="auto">
            <a:xfrm>
              <a:off x="2225" y="1248"/>
              <a:ext cx="1236" cy="1237"/>
            </a:xfrm>
            <a:prstGeom prst="ellipse">
              <a:avLst/>
            </a:prstGeom>
            <a:noFill/>
            <a:ln w="25560">
              <a:solidFill>
                <a:srgbClr val="FFFFFF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US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</p:grpSp>
      <p:sp>
        <p:nvSpPr>
          <p:cNvPr id="31618" name="Rectangle 898"/>
          <p:cNvSpPr>
            <a:spLocks noChangeArrowheads="1"/>
          </p:cNvSpPr>
          <p:nvPr/>
        </p:nvSpPr>
        <p:spPr bwMode="auto">
          <a:xfrm>
            <a:off x="3363913" y="4176713"/>
            <a:ext cx="2882900" cy="3127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0000" tIns="46800" rIns="90000" bIns="46800" anchor="ctr">
            <a:spAutoFit/>
          </a:bodyPr>
          <a:lstStyle/>
          <a:p>
            <a:pPr algn="ctr" defTabSz="449263">
              <a:lnSpc>
                <a:spcPct val="80000"/>
              </a:lnSpc>
              <a:buSzPct val="10000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en-US" sz="1800" b="1" dirty="0" smtClean="0">
                <a:solidFill>
                  <a:srgbClr val="FFFFFF"/>
                </a:solidFill>
                <a:latin typeface="Arial" charset="0"/>
                <a:ea typeface="MS PGothic" pitchFamily="34" charset="-128"/>
                <a:cs typeface="Arial"/>
              </a:rPr>
              <a:t>Transport</a:t>
            </a:r>
          </a:p>
        </p:txBody>
      </p:sp>
      <p:sp>
        <p:nvSpPr>
          <p:cNvPr id="31619" name="Rectangle 899"/>
          <p:cNvSpPr>
            <a:spLocks noChangeArrowheads="1"/>
          </p:cNvSpPr>
          <p:nvPr/>
        </p:nvSpPr>
        <p:spPr bwMode="auto">
          <a:xfrm>
            <a:off x="7343801" y="1279507"/>
            <a:ext cx="1800199" cy="9255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 lIns="90000" tIns="46800" rIns="90000" bIns="46800">
            <a:spAutoFit/>
          </a:bodyPr>
          <a:lstStyle/>
          <a:p>
            <a:pPr algn="ctr" defTabSz="449263">
              <a:buSzPct val="10000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fr-BE" sz="1800" b="1" dirty="0" err="1" smtClean="0">
                <a:solidFill>
                  <a:srgbClr val="FFFFFF"/>
                </a:solidFill>
                <a:latin typeface="Arial" charset="0"/>
                <a:ea typeface="MS PGothic" pitchFamily="34" charset="-128"/>
                <a:cs typeface="Arial"/>
              </a:rPr>
              <a:t>Sustainable</a:t>
            </a:r>
            <a:r>
              <a:rPr lang="fr-BE" sz="1800" b="1" dirty="0" smtClean="0">
                <a:solidFill>
                  <a:srgbClr val="FFFFFF"/>
                </a:solidFill>
                <a:latin typeface="Arial" charset="0"/>
                <a:ea typeface="MS PGothic" pitchFamily="34" charset="-128"/>
                <a:cs typeface="Arial"/>
              </a:rPr>
              <a:t> </a:t>
            </a:r>
            <a:r>
              <a:rPr lang="fr-BE" sz="1800" b="1" dirty="0" err="1" smtClean="0">
                <a:solidFill>
                  <a:srgbClr val="FFFFFF"/>
                </a:solidFill>
                <a:latin typeface="Arial" charset="0"/>
                <a:ea typeface="MS PGothic" pitchFamily="34" charset="-128"/>
                <a:cs typeface="Arial"/>
              </a:rPr>
              <a:t>urban</a:t>
            </a:r>
            <a:r>
              <a:rPr lang="fr-BE" sz="1800" b="1" dirty="0" smtClean="0">
                <a:solidFill>
                  <a:srgbClr val="FFFFFF"/>
                </a:solidFill>
                <a:latin typeface="Arial" charset="0"/>
                <a:ea typeface="MS PGothic" pitchFamily="34" charset="-128"/>
                <a:cs typeface="Arial"/>
              </a:rPr>
              <a:t> </a:t>
            </a:r>
          </a:p>
          <a:p>
            <a:pPr algn="ctr" defTabSz="449263">
              <a:buSzPct val="10000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fr-BE" sz="1800" b="1" dirty="0" err="1" smtClean="0">
                <a:solidFill>
                  <a:srgbClr val="FFFFFF"/>
                </a:solidFill>
                <a:latin typeface="Arial" charset="0"/>
                <a:ea typeface="MS PGothic" pitchFamily="34" charset="-128"/>
                <a:cs typeface="Arial"/>
              </a:rPr>
              <a:t>development</a:t>
            </a:r>
            <a:endParaRPr lang="fr-BE" sz="1800" b="1" dirty="0" smtClean="0">
              <a:solidFill>
                <a:srgbClr val="FFFFFF"/>
              </a:solidFill>
              <a:latin typeface="Arial" charset="0"/>
              <a:ea typeface="MS PGothic" pitchFamily="34" charset="-128"/>
              <a:cs typeface="Arial"/>
            </a:endParaRPr>
          </a:p>
        </p:txBody>
      </p:sp>
      <p:sp>
        <p:nvSpPr>
          <p:cNvPr id="31620" name="Rectangle 900"/>
          <p:cNvSpPr>
            <a:spLocks noChangeArrowheads="1"/>
          </p:cNvSpPr>
          <p:nvPr/>
        </p:nvSpPr>
        <p:spPr bwMode="auto">
          <a:xfrm>
            <a:off x="2355850" y="5191125"/>
            <a:ext cx="1809750" cy="642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90000" tIns="46800" rIns="90000" bIns="46800">
            <a:spAutoFit/>
          </a:bodyPr>
          <a:lstStyle/>
          <a:p>
            <a:pPr algn="ctr" defTabSz="449263">
              <a:buSzPct val="10000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en-GB" sz="1800" b="1" smtClean="0">
                <a:solidFill>
                  <a:srgbClr val="FFFFFF"/>
                </a:solidFill>
                <a:latin typeface="Arial" charset="0"/>
                <a:ea typeface="MS PGothic" pitchFamily="34" charset="-128"/>
                <a:cs typeface="Arial"/>
              </a:rPr>
              <a:t>Research</a:t>
            </a:r>
          </a:p>
          <a:p>
            <a:pPr algn="ctr" defTabSz="449263">
              <a:buSzPct val="10000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en-GB" sz="1800" b="1" smtClean="0">
                <a:solidFill>
                  <a:srgbClr val="FFFFFF"/>
                </a:solidFill>
                <a:latin typeface="Arial" charset="0"/>
                <a:ea typeface="MS PGothic" pitchFamily="34" charset="-128"/>
                <a:cs typeface="Arial"/>
              </a:rPr>
              <a:t>and innovation</a:t>
            </a:r>
          </a:p>
        </p:txBody>
      </p:sp>
      <p:sp>
        <p:nvSpPr>
          <p:cNvPr id="31621" name="Rectangle 901"/>
          <p:cNvSpPr>
            <a:spLocks noChangeArrowheads="1"/>
          </p:cNvSpPr>
          <p:nvPr/>
        </p:nvSpPr>
        <p:spPr bwMode="auto">
          <a:xfrm>
            <a:off x="1666428" y="1279506"/>
            <a:ext cx="2113484" cy="9255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 lIns="90000" tIns="46800" rIns="90000" bIns="46800" anchor="ctr">
            <a:spAutoFit/>
          </a:bodyPr>
          <a:lstStyle/>
          <a:p>
            <a:pPr algn="ctr" defTabSz="449263">
              <a:buSzPct val="10000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en-GB" sz="1800" b="1" dirty="0" smtClean="0">
                <a:solidFill>
                  <a:srgbClr val="FFFFFF"/>
                </a:solidFill>
                <a:latin typeface="Arial" charset="0"/>
                <a:ea typeface="MS PGothic" pitchFamily="34" charset="-128"/>
                <a:cs typeface="Arial"/>
              </a:rPr>
              <a:t> Social Inclusion</a:t>
            </a:r>
          </a:p>
          <a:p>
            <a:pPr algn="ctr" defTabSz="449263">
              <a:buSzPct val="10000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endParaRPr lang="en-GB" sz="1800" b="1" dirty="0" smtClean="0">
              <a:solidFill>
                <a:srgbClr val="FFFFFF"/>
              </a:solidFill>
              <a:latin typeface="Arial" charset="0"/>
              <a:ea typeface="MS PGothic" pitchFamily="34" charset="-128"/>
              <a:cs typeface="Arial"/>
            </a:endParaRPr>
          </a:p>
          <a:p>
            <a:pPr algn="ctr" defTabSz="449263">
              <a:buSzPct val="10000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en-GB" sz="1800" b="1" dirty="0" smtClean="0">
                <a:solidFill>
                  <a:srgbClr val="FFFFFF"/>
                </a:solidFill>
                <a:latin typeface="Arial" charset="0"/>
                <a:ea typeface="MS PGothic" pitchFamily="34" charset="-128"/>
                <a:cs typeface="Arial"/>
              </a:rPr>
              <a:t> Employment</a:t>
            </a:r>
          </a:p>
        </p:txBody>
      </p:sp>
      <p:sp>
        <p:nvSpPr>
          <p:cNvPr id="31622" name="Text Box 902"/>
          <p:cNvSpPr txBox="1">
            <a:spLocks noChangeArrowheads="1"/>
          </p:cNvSpPr>
          <p:nvPr/>
        </p:nvSpPr>
        <p:spPr bwMode="auto">
          <a:xfrm>
            <a:off x="6156176" y="4176714"/>
            <a:ext cx="2880321" cy="17616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 lIns="90000" tIns="46800" rIns="90000" bIns="46800">
            <a:spAutoFit/>
          </a:bodyPr>
          <a:lstStyle>
            <a:lvl1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chemeClr val="bg1"/>
                </a:solidFill>
                <a:latin typeface="Verdana" pitchFamily="34" charset="0"/>
                <a:ea typeface="MS PGothic" pitchFamily="34" charset="-128"/>
              </a:defRPr>
            </a:lvl1pPr>
            <a:lvl2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chemeClr val="bg1"/>
                </a:solidFill>
                <a:latin typeface="Verdana" pitchFamily="34" charset="0"/>
                <a:ea typeface="MS PGothic" pitchFamily="34" charset="-128"/>
              </a:defRPr>
            </a:lvl2pPr>
            <a:lvl3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chemeClr val="bg1"/>
                </a:solidFill>
                <a:latin typeface="Verdana" pitchFamily="34" charset="0"/>
                <a:ea typeface="MS PGothic" pitchFamily="34" charset="-128"/>
              </a:defRPr>
            </a:lvl3pPr>
            <a:lvl4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chemeClr val="bg1"/>
                </a:solidFill>
                <a:latin typeface="Verdana" pitchFamily="34" charset="0"/>
                <a:ea typeface="MS PGothic" pitchFamily="34" charset="-128"/>
              </a:defRPr>
            </a:lvl4pPr>
            <a:lvl5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chemeClr val="bg1"/>
                </a:solidFill>
                <a:latin typeface="Verdana" pitchFamily="34" charset="0"/>
                <a:ea typeface="MS PGothic" pitchFamily="34" charset="-128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chemeClr val="bg1"/>
                </a:solidFill>
                <a:latin typeface="Verdana" pitchFamily="34" charset="0"/>
                <a:ea typeface="MS PGothic" pitchFamily="34" charset="-128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chemeClr val="bg1"/>
                </a:solidFill>
                <a:latin typeface="Verdana" pitchFamily="34" charset="0"/>
                <a:ea typeface="MS PGothic" pitchFamily="34" charset="-128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chemeClr val="bg1"/>
                </a:solidFill>
                <a:latin typeface="Verdana" pitchFamily="34" charset="0"/>
                <a:ea typeface="MS PGothic" pitchFamily="34" charset="-128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chemeClr val="bg1"/>
                </a:solidFill>
                <a:latin typeface="Verdana" pitchFamily="34" charset="0"/>
                <a:ea typeface="MS PGothic" pitchFamily="34" charset="-128"/>
              </a:defRPr>
            </a:lvl9pPr>
          </a:lstStyle>
          <a:p>
            <a:pPr algn="ctr" defTabSz="449263" eaLnBrk="1" hangingPunct="1">
              <a:spcBef>
                <a:spcPts val="1125"/>
              </a:spcBef>
              <a:buSzPct val="100000"/>
            </a:pPr>
            <a:r>
              <a:rPr lang="fr-BE" sz="1800" b="1" dirty="0" err="1" smtClean="0">
                <a:solidFill>
                  <a:srgbClr val="FFFFFF"/>
                </a:solidFill>
                <a:latin typeface="Arial" charset="0"/>
                <a:cs typeface="Arial"/>
              </a:rPr>
              <a:t>Environment</a:t>
            </a:r>
            <a:endParaRPr lang="fr-BE" sz="1800" b="1" dirty="0" smtClean="0">
              <a:solidFill>
                <a:srgbClr val="FFFFFF"/>
              </a:solidFill>
              <a:latin typeface="Arial" charset="0"/>
              <a:cs typeface="Arial"/>
            </a:endParaRPr>
          </a:p>
          <a:p>
            <a:pPr algn="ctr" defTabSz="449263" eaLnBrk="1" hangingPunct="1">
              <a:spcBef>
                <a:spcPts val="1125"/>
              </a:spcBef>
              <a:buSzPct val="100000"/>
            </a:pPr>
            <a:endParaRPr lang="fr-BE" sz="1800" b="1" dirty="0" smtClean="0">
              <a:solidFill>
                <a:srgbClr val="FFFFFF"/>
              </a:solidFill>
              <a:latin typeface="Arial" charset="0"/>
              <a:cs typeface="Arial"/>
            </a:endParaRPr>
          </a:p>
          <a:p>
            <a:pPr algn="ctr" defTabSz="449263" eaLnBrk="1" hangingPunct="1">
              <a:spcBef>
                <a:spcPts val="1125"/>
              </a:spcBef>
              <a:buSzPct val="100000"/>
            </a:pPr>
            <a:r>
              <a:rPr lang="fr-BE" sz="1800" b="1" dirty="0" err="1" smtClean="0">
                <a:solidFill>
                  <a:srgbClr val="FFFFFF"/>
                </a:solidFill>
                <a:latin typeface="Arial" charset="0"/>
                <a:cs typeface="Arial"/>
              </a:rPr>
              <a:t>Cooperation</a:t>
            </a:r>
            <a:r>
              <a:rPr lang="fr-BE" sz="1800" b="1" dirty="0" smtClean="0">
                <a:solidFill>
                  <a:srgbClr val="FFFFFF"/>
                </a:solidFill>
                <a:latin typeface="Arial" charset="0"/>
                <a:cs typeface="Arial"/>
              </a:rPr>
              <a:t/>
            </a:r>
            <a:br>
              <a:rPr lang="fr-BE" sz="1800" b="1" dirty="0" smtClean="0">
                <a:solidFill>
                  <a:srgbClr val="FFFFFF"/>
                </a:solidFill>
                <a:latin typeface="Arial" charset="0"/>
                <a:cs typeface="Arial"/>
              </a:rPr>
            </a:br>
            <a:r>
              <a:rPr lang="fr-BE" sz="1800" b="1" dirty="0" err="1" smtClean="0">
                <a:solidFill>
                  <a:srgbClr val="FFFFFF"/>
                </a:solidFill>
                <a:latin typeface="Arial" charset="0"/>
                <a:cs typeface="Arial"/>
              </a:rPr>
              <a:t>between</a:t>
            </a:r>
            <a:r>
              <a:rPr lang="fr-BE" sz="1800" b="1" dirty="0" smtClean="0">
                <a:solidFill>
                  <a:srgbClr val="FFFFFF"/>
                </a:solidFill>
                <a:latin typeface="Arial" charset="0"/>
                <a:cs typeface="Arial"/>
              </a:rPr>
              <a:t> MS, </a:t>
            </a:r>
            <a:r>
              <a:rPr lang="fr-BE" sz="1800" b="1" dirty="0" err="1" smtClean="0">
                <a:solidFill>
                  <a:srgbClr val="FFFFFF"/>
                </a:solidFill>
                <a:latin typeface="Arial" charset="0"/>
                <a:cs typeface="Arial"/>
              </a:rPr>
              <a:t>regions</a:t>
            </a:r>
            <a:r>
              <a:rPr lang="fr-BE" sz="1800" b="1" dirty="0">
                <a:solidFill>
                  <a:srgbClr val="FFFFFF"/>
                </a:solidFill>
                <a:latin typeface="Arial" charset="0"/>
                <a:cs typeface="Arial"/>
              </a:rPr>
              <a:t> </a:t>
            </a:r>
            <a:r>
              <a:rPr lang="fr-BE" sz="1800" b="1" dirty="0" smtClean="0">
                <a:solidFill>
                  <a:srgbClr val="FFFFFF"/>
                </a:solidFill>
                <a:latin typeface="Arial" charset="0"/>
                <a:cs typeface="Arial"/>
              </a:rPr>
              <a:t>and </a:t>
            </a:r>
            <a:r>
              <a:rPr lang="fr-BE" sz="1800" b="1" dirty="0" err="1" smtClean="0">
                <a:solidFill>
                  <a:srgbClr val="FFFFFF"/>
                </a:solidFill>
                <a:latin typeface="Arial" charset="0"/>
                <a:cs typeface="Arial"/>
              </a:rPr>
              <a:t>cities</a:t>
            </a:r>
            <a:endParaRPr lang="fr-BE" sz="1800" b="1" dirty="0" smtClean="0">
              <a:solidFill>
                <a:srgbClr val="FFFFFF"/>
              </a:solidFill>
              <a:latin typeface="Arial" charset="0"/>
              <a:cs typeface="Arial"/>
            </a:endParaRPr>
          </a:p>
        </p:txBody>
      </p:sp>
      <p:sp>
        <p:nvSpPr>
          <p:cNvPr id="31623" name="Text Box 903"/>
          <p:cNvSpPr txBox="1">
            <a:spLocks noChangeArrowheads="1"/>
          </p:cNvSpPr>
          <p:nvPr/>
        </p:nvSpPr>
        <p:spPr bwMode="auto">
          <a:xfrm>
            <a:off x="107504" y="1562995"/>
            <a:ext cx="1558924" cy="23156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 lIns="90000" tIns="46800" rIns="90000" bIns="46800">
            <a:spAutoFit/>
          </a:bodyPr>
          <a:lstStyle>
            <a:lvl1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chemeClr val="bg1"/>
                </a:solidFill>
                <a:latin typeface="Verdana" pitchFamily="34" charset="0"/>
                <a:ea typeface="MS PGothic" pitchFamily="34" charset="-128"/>
              </a:defRPr>
            </a:lvl1pPr>
            <a:lvl2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chemeClr val="bg1"/>
                </a:solidFill>
                <a:latin typeface="Verdana" pitchFamily="34" charset="0"/>
                <a:ea typeface="MS PGothic" pitchFamily="34" charset="-128"/>
              </a:defRPr>
            </a:lvl2pPr>
            <a:lvl3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chemeClr val="bg1"/>
                </a:solidFill>
                <a:latin typeface="Verdana" pitchFamily="34" charset="0"/>
                <a:ea typeface="MS PGothic" pitchFamily="34" charset="-128"/>
              </a:defRPr>
            </a:lvl3pPr>
            <a:lvl4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chemeClr val="bg1"/>
                </a:solidFill>
                <a:latin typeface="Verdana" pitchFamily="34" charset="0"/>
                <a:ea typeface="MS PGothic" pitchFamily="34" charset="-128"/>
              </a:defRPr>
            </a:lvl4pPr>
            <a:lvl5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chemeClr val="bg1"/>
                </a:solidFill>
                <a:latin typeface="Verdana" pitchFamily="34" charset="0"/>
                <a:ea typeface="MS PGothic" pitchFamily="34" charset="-128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chemeClr val="bg1"/>
                </a:solidFill>
                <a:latin typeface="Verdana" pitchFamily="34" charset="0"/>
                <a:ea typeface="MS PGothic" pitchFamily="34" charset="-128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chemeClr val="bg1"/>
                </a:solidFill>
                <a:latin typeface="Verdana" pitchFamily="34" charset="0"/>
                <a:ea typeface="MS PGothic" pitchFamily="34" charset="-128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chemeClr val="bg1"/>
                </a:solidFill>
                <a:latin typeface="Verdana" pitchFamily="34" charset="0"/>
                <a:ea typeface="MS PGothic" pitchFamily="34" charset="-128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chemeClr val="bg1"/>
                </a:solidFill>
                <a:latin typeface="Verdana" pitchFamily="34" charset="0"/>
                <a:ea typeface="MS PGothic" pitchFamily="34" charset="-128"/>
              </a:defRPr>
            </a:lvl9pPr>
          </a:lstStyle>
          <a:p>
            <a:pPr algn="ctr" defTabSz="449263" eaLnBrk="1" hangingPunct="1">
              <a:spcBef>
                <a:spcPts val="1125"/>
              </a:spcBef>
              <a:buSzPct val="100000"/>
            </a:pPr>
            <a:r>
              <a:rPr lang="fr-BE" sz="1800" b="1" dirty="0" err="1" smtClean="0">
                <a:solidFill>
                  <a:srgbClr val="FFFFFF"/>
                </a:solidFill>
                <a:latin typeface="Arial" charset="0"/>
                <a:cs typeface="Arial"/>
              </a:rPr>
              <a:t>Energy</a:t>
            </a:r>
            <a:r>
              <a:rPr lang="fr-BE" sz="1800" b="1" dirty="0" smtClean="0">
                <a:solidFill>
                  <a:srgbClr val="FFFFFF"/>
                </a:solidFill>
                <a:latin typeface="Arial" charset="0"/>
                <a:cs typeface="Arial"/>
              </a:rPr>
              <a:t> </a:t>
            </a:r>
            <a:r>
              <a:rPr lang="fr-BE" sz="1800" b="1" dirty="0" err="1" smtClean="0">
                <a:solidFill>
                  <a:srgbClr val="FFFFFF"/>
                </a:solidFill>
                <a:latin typeface="Arial" charset="0"/>
                <a:cs typeface="Arial"/>
              </a:rPr>
              <a:t>efficiency</a:t>
            </a:r>
            <a:r>
              <a:rPr lang="fr-BE" sz="1800" b="1" dirty="0" smtClean="0">
                <a:solidFill>
                  <a:srgbClr val="FFFFFF"/>
                </a:solidFill>
                <a:latin typeface="Arial" charset="0"/>
                <a:cs typeface="Arial"/>
              </a:rPr>
              <a:t>  &amp; </a:t>
            </a:r>
            <a:r>
              <a:rPr lang="fr-BE" sz="1800" b="1" dirty="0" err="1" smtClean="0">
                <a:solidFill>
                  <a:srgbClr val="FFFFFF"/>
                </a:solidFill>
                <a:latin typeface="Arial" charset="0"/>
                <a:cs typeface="Arial"/>
              </a:rPr>
              <a:t>renewable</a:t>
            </a:r>
            <a:r>
              <a:rPr lang="fr-BE" sz="1800" b="1" dirty="0" smtClean="0">
                <a:solidFill>
                  <a:srgbClr val="FFFFFF"/>
                </a:solidFill>
                <a:latin typeface="Arial" charset="0"/>
                <a:cs typeface="Arial"/>
              </a:rPr>
              <a:t> </a:t>
            </a:r>
            <a:r>
              <a:rPr lang="fr-BE" sz="1800" b="1" dirty="0" err="1" smtClean="0">
                <a:solidFill>
                  <a:srgbClr val="FFFFFF"/>
                </a:solidFill>
                <a:latin typeface="Arial" charset="0"/>
                <a:cs typeface="Arial"/>
              </a:rPr>
              <a:t>energies</a:t>
            </a:r>
            <a:endParaRPr lang="fr-BE" sz="1800" b="1" dirty="0" smtClean="0">
              <a:solidFill>
                <a:srgbClr val="FFFFFF"/>
              </a:solidFill>
              <a:latin typeface="Arial" charset="0"/>
              <a:cs typeface="Arial"/>
            </a:endParaRPr>
          </a:p>
          <a:p>
            <a:pPr algn="ctr" defTabSz="449263" eaLnBrk="1" hangingPunct="1">
              <a:spcBef>
                <a:spcPts val="1125"/>
              </a:spcBef>
              <a:buSzPct val="100000"/>
            </a:pPr>
            <a:r>
              <a:rPr lang="fr-BE" sz="1800" b="1" dirty="0" err="1" smtClean="0">
                <a:latin typeface="+mn-lt"/>
              </a:rPr>
              <a:t>Low</a:t>
            </a:r>
            <a:r>
              <a:rPr lang="fr-BE" sz="1800" b="1" dirty="0" smtClean="0">
                <a:latin typeface="+mn-lt"/>
              </a:rPr>
              <a:t> </a:t>
            </a:r>
            <a:r>
              <a:rPr lang="fr-BE" sz="1800" b="1" dirty="0" err="1">
                <a:latin typeface="+mn-lt"/>
              </a:rPr>
              <a:t>carbon</a:t>
            </a:r>
            <a:r>
              <a:rPr lang="fr-BE" sz="1800" b="1" dirty="0">
                <a:latin typeface="+mn-lt"/>
              </a:rPr>
              <a:t> </a:t>
            </a:r>
            <a:r>
              <a:rPr lang="fr-BE" sz="1800" b="1" dirty="0" err="1">
                <a:latin typeface="+mn-lt"/>
              </a:rPr>
              <a:t>economy</a:t>
            </a:r>
            <a:endParaRPr lang="en-GB" sz="1800" b="1" dirty="0">
              <a:latin typeface="+mn-lt"/>
            </a:endParaRPr>
          </a:p>
          <a:p>
            <a:pPr algn="ctr" defTabSz="449263" eaLnBrk="1" hangingPunct="1">
              <a:spcBef>
                <a:spcPts val="1125"/>
              </a:spcBef>
              <a:buSzPct val="100000"/>
            </a:pPr>
            <a:endParaRPr lang="fr-BE" sz="1800" b="1" dirty="0" smtClean="0">
              <a:solidFill>
                <a:srgbClr val="FFFFFF"/>
              </a:solidFill>
              <a:latin typeface="+mn-lt"/>
              <a:cs typeface="Arial"/>
            </a:endParaRPr>
          </a:p>
        </p:txBody>
      </p:sp>
      <p:sp>
        <p:nvSpPr>
          <p:cNvPr id="31624" name="Text Box 904"/>
          <p:cNvSpPr txBox="1">
            <a:spLocks noChangeArrowheads="1"/>
          </p:cNvSpPr>
          <p:nvPr/>
        </p:nvSpPr>
        <p:spPr bwMode="auto">
          <a:xfrm>
            <a:off x="3131840" y="908050"/>
            <a:ext cx="3672408" cy="3715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 lIns="90000" tIns="46800" rIns="90000" bIns="46800">
            <a:spAutoFit/>
          </a:bodyPr>
          <a:lstStyle>
            <a:lvl1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chemeClr val="bg1"/>
                </a:solidFill>
                <a:latin typeface="Verdana" pitchFamily="34" charset="0"/>
                <a:ea typeface="MS PGothic" pitchFamily="34" charset="-128"/>
              </a:defRPr>
            </a:lvl1pPr>
            <a:lvl2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chemeClr val="bg1"/>
                </a:solidFill>
                <a:latin typeface="Verdana" pitchFamily="34" charset="0"/>
                <a:ea typeface="MS PGothic" pitchFamily="34" charset="-128"/>
              </a:defRPr>
            </a:lvl2pPr>
            <a:lvl3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chemeClr val="bg1"/>
                </a:solidFill>
                <a:latin typeface="Verdana" pitchFamily="34" charset="0"/>
                <a:ea typeface="MS PGothic" pitchFamily="34" charset="-128"/>
              </a:defRPr>
            </a:lvl3pPr>
            <a:lvl4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chemeClr val="bg1"/>
                </a:solidFill>
                <a:latin typeface="Verdana" pitchFamily="34" charset="0"/>
                <a:ea typeface="MS PGothic" pitchFamily="34" charset="-128"/>
              </a:defRPr>
            </a:lvl4pPr>
            <a:lvl5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chemeClr val="bg1"/>
                </a:solidFill>
                <a:latin typeface="Verdana" pitchFamily="34" charset="0"/>
                <a:ea typeface="MS PGothic" pitchFamily="34" charset="-128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chemeClr val="bg1"/>
                </a:solidFill>
                <a:latin typeface="Verdana" pitchFamily="34" charset="0"/>
                <a:ea typeface="MS PGothic" pitchFamily="34" charset="-128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chemeClr val="bg1"/>
                </a:solidFill>
                <a:latin typeface="Verdana" pitchFamily="34" charset="0"/>
                <a:ea typeface="MS PGothic" pitchFamily="34" charset="-128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chemeClr val="bg1"/>
                </a:solidFill>
                <a:latin typeface="Verdana" pitchFamily="34" charset="0"/>
                <a:ea typeface="MS PGothic" pitchFamily="34" charset="-128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chemeClr val="bg1"/>
                </a:solidFill>
                <a:latin typeface="Verdana" pitchFamily="34" charset="0"/>
                <a:ea typeface="MS PGothic" pitchFamily="34" charset="-128"/>
              </a:defRPr>
            </a:lvl9pPr>
          </a:lstStyle>
          <a:p>
            <a:pPr defTabSz="449263" eaLnBrk="1" hangingPunct="1">
              <a:spcBef>
                <a:spcPts val="1125"/>
              </a:spcBef>
              <a:buSzPct val="100000"/>
            </a:pPr>
            <a:r>
              <a:rPr lang="fr-BE" sz="1800" b="1" dirty="0" smtClean="0">
                <a:solidFill>
                  <a:srgbClr val="FFFFFF"/>
                </a:solidFill>
                <a:latin typeface="Arial" charset="0"/>
                <a:cs typeface="Arial"/>
              </a:rPr>
              <a:t>SME  </a:t>
            </a:r>
            <a:r>
              <a:rPr lang="fr-BE" sz="1800" b="1" dirty="0" err="1" smtClean="0">
                <a:solidFill>
                  <a:srgbClr val="FFFFFF"/>
                </a:solidFill>
                <a:latin typeface="Arial" charset="0"/>
                <a:cs typeface="Arial"/>
              </a:rPr>
              <a:t>competitiveness</a:t>
            </a:r>
            <a:endParaRPr lang="fr-BE" sz="1800" b="1" dirty="0" smtClean="0">
              <a:solidFill>
                <a:srgbClr val="FFFFFF"/>
              </a:solidFill>
              <a:latin typeface="Arial" charset="0"/>
              <a:cs typeface="Arial"/>
            </a:endParaRPr>
          </a:p>
        </p:txBody>
      </p:sp>
      <p:grpSp>
        <p:nvGrpSpPr>
          <p:cNvPr id="31625" name="Group 905"/>
          <p:cNvGrpSpPr>
            <a:grpSpLocks/>
          </p:cNvGrpSpPr>
          <p:nvPr/>
        </p:nvGrpSpPr>
        <p:grpSpPr bwMode="auto">
          <a:xfrm>
            <a:off x="5016500" y="1125538"/>
            <a:ext cx="2457450" cy="2457450"/>
            <a:chOff x="3160" y="709"/>
            <a:chExt cx="1548" cy="1548"/>
          </a:xfrm>
        </p:grpSpPr>
        <p:pic>
          <p:nvPicPr>
            <p:cNvPr id="43026" name="Picture 906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60" y="709"/>
              <a:ext cx="1548" cy="154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blipFill dpi="0" rotWithShape="0">
                    <a:blip/>
                    <a:srcRect/>
                    <a:stretch>
                      <a:fillRect/>
                    </a:stretch>
                  </a:blip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pic>
        <p:sp>
          <p:nvSpPr>
            <p:cNvPr id="43027" name="Oval 907"/>
            <p:cNvSpPr>
              <a:spLocks noChangeArrowheads="1"/>
            </p:cNvSpPr>
            <p:nvPr/>
          </p:nvSpPr>
          <p:spPr bwMode="auto">
            <a:xfrm>
              <a:off x="3165" y="715"/>
              <a:ext cx="1538" cy="1537"/>
            </a:xfrm>
            <a:prstGeom prst="ellipse">
              <a:avLst/>
            </a:prstGeom>
            <a:noFill/>
            <a:ln w="25560">
              <a:solidFill>
                <a:srgbClr val="FFFFFF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49263"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US" smtClean="0">
                <a:solidFill>
                  <a:srgbClr val="FFFFFF"/>
                </a:solidFill>
                <a:ea typeface="MS PGothic" pitchFamily="34" charset="-128"/>
                <a:cs typeface="Arial"/>
              </a:endParaRPr>
            </a:p>
          </p:txBody>
        </p:sp>
      </p:grpSp>
      <p:sp>
        <p:nvSpPr>
          <p:cNvPr id="3" name="TextBox 2"/>
          <p:cNvSpPr txBox="1"/>
          <p:nvPr/>
        </p:nvSpPr>
        <p:spPr>
          <a:xfrm>
            <a:off x="3779912" y="4653134"/>
            <a:ext cx="140886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1800" b="1" dirty="0" smtClean="0">
                <a:solidFill>
                  <a:schemeClr val="bg1"/>
                </a:solidFill>
                <a:latin typeface="+mn-lt"/>
              </a:rPr>
              <a:t>ICT</a:t>
            </a:r>
            <a:endParaRPr lang="en-GB" sz="1800" b="1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603301875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additive="repl"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6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 additive="repl">
                                        <p:cTn id="7" dur="500"/>
                                        <p:tgtEl>
                                          <p:spTgt spid="316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9" presetID="53" presetClass="entr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additive="repl"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repl">
                                        <p:cTn id="11" dur="1000" fill="hold"/>
                                        <p:tgtEl>
                                          <p:spTgt spid="307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  <p:tav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repl">
                                        <p:cTn id="12" dur="1000" fill="hold"/>
                                        <p:tgtEl>
                                          <p:spTgt spid="307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  <p:tav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 additive="repl">
                                        <p:cTn id="13" dur="1000"/>
                                        <p:tgtEl>
                                          <p:spTgt spid="307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53" presetClass="entr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additive="repl"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repl">
                                        <p:cTn id="16" dur="2000" fill="hold"/>
                                        <p:tgtEl>
                                          <p:spTgt spid="3072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  <p:tav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repl">
                                        <p:cTn id="17" dur="2000" fill="hold"/>
                                        <p:tgtEl>
                                          <p:spTgt spid="3072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  <p:tav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 additive="repl">
                                        <p:cTn id="18" dur="2000"/>
                                        <p:tgtEl>
                                          <p:spTgt spid="307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53" presetClass="entr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additive="repl"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6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repl">
                                        <p:cTn id="21" dur="1000" fill="hold"/>
                                        <p:tgtEl>
                                          <p:spTgt spid="316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  <p:tav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repl">
                                        <p:cTn id="22" dur="1000" fill="hold"/>
                                        <p:tgtEl>
                                          <p:spTgt spid="316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  <p:tav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 additive="repl">
                                        <p:cTn id="23" dur="1000"/>
                                        <p:tgtEl>
                                          <p:spTgt spid="316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53" presetClass="entr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additive="repl"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6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repl">
                                        <p:cTn id="26" dur="2000" fill="hold"/>
                                        <p:tgtEl>
                                          <p:spTgt spid="316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  <p:tav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repl">
                                        <p:cTn id="27" dur="2000" fill="hold"/>
                                        <p:tgtEl>
                                          <p:spTgt spid="316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  <p:tav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 additive="repl">
                                        <p:cTn id="28" dur="2000"/>
                                        <p:tgtEl>
                                          <p:spTgt spid="316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additive="repl"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repl">
                                        <p:cTn id="31" dur="1000" fill="hold"/>
                                        <p:tgtEl>
                                          <p:spTgt spid="307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  <p:tav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repl">
                                        <p:cTn id="32" dur="1000" fill="hold"/>
                                        <p:tgtEl>
                                          <p:spTgt spid="307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  <p:tav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 additive="repl">
                                        <p:cTn id="33" dur="1000"/>
                                        <p:tgtEl>
                                          <p:spTgt spid="307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23" presetClass="entr" presetSubtype="52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additive="repl"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6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repl">
                                        <p:cTn id="36" dur="500" fill="hold"/>
                                        <p:tgtEl>
                                          <p:spTgt spid="316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  <p:tav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repl">
                                        <p:cTn id="37" dur="500" fill="hold"/>
                                        <p:tgtEl>
                                          <p:spTgt spid="316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  <p:tav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repl">
                                        <p:cTn id="38" dur="500" fill="hold"/>
                                        <p:tgtEl>
                                          <p:spTgt spid="316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100000">
                                          <p:val>
                                            <p:fltVal val="0.5"/>
                                          </p:val>
                                        </p:tav>
                                        <p:tav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repl">
                                        <p:cTn id="39" dur="500" fill="hold"/>
                                        <p:tgtEl>
                                          <p:spTgt spid="316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100000">
                                          <p:val>
                                            <p:fltVal val="0.5"/>
                                          </p:val>
                                        </p:tav>
                                        <p:tav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0" presetID="23" presetClass="entr" presetSubtype="52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additive="repl"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6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repl">
                                        <p:cTn id="42" dur="500" fill="hold"/>
                                        <p:tgtEl>
                                          <p:spTgt spid="316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  <p:tav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repl">
                                        <p:cTn id="43" dur="500" fill="hold"/>
                                        <p:tgtEl>
                                          <p:spTgt spid="316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  <p:tav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repl">
                                        <p:cTn id="44" dur="500" fill="hold"/>
                                        <p:tgtEl>
                                          <p:spTgt spid="316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100000">
                                          <p:val>
                                            <p:fltVal val="0.5"/>
                                          </p:val>
                                        </p:tav>
                                        <p:tav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repl">
                                        <p:cTn id="45" dur="500" fill="hold"/>
                                        <p:tgtEl>
                                          <p:spTgt spid="316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100000">
                                          <p:val>
                                            <p:fltVal val="0.5"/>
                                          </p:val>
                                        </p:tav>
                                        <p:tav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6" presetID="23" presetClass="entr" presetSubtype="52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additive="repl"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6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repl">
                                        <p:cTn id="48" dur="500" fill="hold"/>
                                        <p:tgtEl>
                                          <p:spTgt spid="316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  <p:tav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repl">
                                        <p:cTn id="49" dur="500" fill="hold"/>
                                        <p:tgtEl>
                                          <p:spTgt spid="316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  <p:tav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repl">
                                        <p:cTn id="50" dur="500" fill="hold"/>
                                        <p:tgtEl>
                                          <p:spTgt spid="316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100000">
                                          <p:val>
                                            <p:fltVal val="0.5"/>
                                          </p:val>
                                        </p:tav>
                                        <p:tav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repl">
                                        <p:cTn id="51" dur="500" fill="hold"/>
                                        <p:tgtEl>
                                          <p:spTgt spid="316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100000">
                                          <p:val>
                                            <p:fltVal val="0.5"/>
                                          </p:val>
                                        </p:tav>
                                        <p:tav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2" presetID="23" presetClass="entr" presetSubtype="52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additive="repl"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6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repl">
                                        <p:cTn id="54" dur="500" fill="hold"/>
                                        <p:tgtEl>
                                          <p:spTgt spid="316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  <p:tav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repl">
                                        <p:cTn id="55" dur="500" fill="hold"/>
                                        <p:tgtEl>
                                          <p:spTgt spid="316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  <p:tav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repl">
                                        <p:cTn id="56" dur="500" fill="hold"/>
                                        <p:tgtEl>
                                          <p:spTgt spid="316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100000">
                                          <p:val>
                                            <p:fltVal val="0.5"/>
                                          </p:val>
                                        </p:tav>
                                        <p:tav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repl">
                                        <p:cTn id="57" dur="500" fill="hold"/>
                                        <p:tgtEl>
                                          <p:spTgt spid="316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100000">
                                          <p:val>
                                            <p:fltVal val="0.5"/>
                                          </p:val>
                                        </p:tav>
                                        <p:tav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8" presetID="23" presetClass="entr" presetSubtype="52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additive="repl"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6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repl">
                                        <p:cTn id="60" dur="500" fill="hold"/>
                                        <p:tgtEl>
                                          <p:spTgt spid="3162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  <p:tav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repl">
                                        <p:cTn id="61" dur="500" fill="hold"/>
                                        <p:tgtEl>
                                          <p:spTgt spid="3162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  <p:tav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repl">
                                        <p:cTn id="62" dur="500" fill="hold"/>
                                        <p:tgtEl>
                                          <p:spTgt spid="316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100000">
                                          <p:val>
                                            <p:fltVal val="0.5"/>
                                          </p:val>
                                        </p:tav>
                                        <p:tav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repl">
                                        <p:cTn id="63" dur="500" fill="hold"/>
                                        <p:tgtEl>
                                          <p:spTgt spid="316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100000">
                                          <p:val>
                                            <p:fltVal val="0.5"/>
                                          </p:val>
                                        </p:tav>
                                        <p:tav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4" presetID="23" presetClass="entr" presetSubtype="52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additive="repl"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6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repl">
                                        <p:cTn id="66" dur="500" fill="hold"/>
                                        <p:tgtEl>
                                          <p:spTgt spid="316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  <p:tav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repl">
                                        <p:cTn id="67" dur="500" fill="hold"/>
                                        <p:tgtEl>
                                          <p:spTgt spid="316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  <p:tav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repl">
                                        <p:cTn id="68" dur="500" fill="hold"/>
                                        <p:tgtEl>
                                          <p:spTgt spid="316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100000">
                                          <p:val>
                                            <p:fltVal val="0.5"/>
                                          </p:val>
                                        </p:tav>
                                        <p:tav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repl">
                                        <p:cTn id="69" dur="500" fill="hold"/>
                                        <p:tgtEl>
                                          <p:spTgt spid="316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100000">
                                          <p:val>
                                            <p:fltVal val="0.5"/>
                                          </p:val>
                                        </p:tav>
                                        <p:tav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0" presetID="23" presetClass="entr" presetSubtype="52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additive="repl"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6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repl">
                                        <p:cTn id="72" dur="500" fill="hold"/>
                                        <p:tgtEl>
                                          <p:spTgt spid="316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  <p:tav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repl">
                                        <p:cTn id="73" dur="500" fill="hold"/>
                                        <p:tgtEl>
                                          <p:spTgt spid="316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  <p:tav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repl">
                                        <p:cTn id="74" dur="500" fill="hold"/>
                                        <p:tgtEl>
                                          <p:spTgt spid="316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100000">
                                          <p:val>
                                            <p:fltVal val="0.5"/>
                                          </p:val>
                                        </p:tav>
                                        <p:tav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repl">
                                        <p:cTn id="75" dur="500" fill="hold"/>
                                        <p:tgtEl>
                                          <p:spTgt spid="316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100000">
                                          <p:val>
                                            <p:fltVal val="0.5"/>
                                          </p:val>
                                        </p:tav>
                                        <p:tav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512" y="1268760"/>
            <a:ext cx="8712968" cy="864096"/>
          </a:xfrm>
        </p:spPr>
        <p:txBody>
          <a:bodyPr/>
          <a:lstStyle/>
          <a:p>
            <a:pPr marL="0" indent="0"/>
            <a:r>
              <a:rPr lang="en-GB" sz="2400" dirty="0" smtClean="0"/>
              <a:t>Europe 2020 – Strategy for smart</a:t>
            </a:r>
            <a:r>
              <a:rPr lang="en-GB" sz="2400" dirty="0"/>
              <a:t>, sustainable and inclusive growth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9512" y="2132856"/>
            <a:ext cx="8507288" cy="4536505"/>
          </a:xfrm>
        </p:spPr>
        <p:txBody>
          <a:bodyPr/>
          <a:lstStyle/>
          <a:p>
            <a:pPr marL="0" indent="0">
              <a:spcAft>
                <a:spcPts val="600"/>
              </a:spcAft>
              <a:buNone/>
            </a:pPr>
            <a:r>
              <a:rPr lang="en-GB" sz="1600" b="1" i="0" u="sng" dirty="0" smtClean="0"/>
              <a:t>5 targets</a:t>
            </a:r>
          </a:p>
          <a:p>
            <a:pPr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</a:pPr>
            <a:r>
              <a:rPr lang="en-GB" sz="1600" b="1" i="0" dirty="0" smtClean="0"/>
              <a:t>Employment </a:t>
            </a:r>
            <a:r>
              <a:rPr lang="en-GB" sz="1600" i="0" dirty="0" smtClean="0"/>
              <a:t>- 75 </a:t>
            </a:r>
            <a:r>
              <a:rPr lang="en-GB" sz="1600" i="0" dirty="0"/>
              <a:t>% of the population aged </a:t>
            </a:r>
            <a:r>
              <a:rPr lang="en-GB" sz="1600" i="0" dirty="0" smtClean="0"/>
              <a:t>20-64 to be </a:t>
            </a:r>
            <a:r>
              <a:rPr lang="en-GB" sz="1600" i="0" dirty="0"/>
              <a:t>employed </a:t>
            </a:r>
            <a:endParaRPr lang="en-GB" sz="1600" i="0" dirty="0" smtClean="0"/>
          </a:p>
          <a:p>
            <a:pPr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</a:pPr>
            <a:r>
              <a:rPr lang="en-GB" sz="1600" b="1" i="0" dirty="0" smtClean="0"/>
              <a:t>Innovation</a:t>
            </a:r>
            <a:r>
              <a:rPr lang="en-GB" sz="1600" i="0" dirty="0" smtClean="0"/>
              <a:t> - 3</a:t>
            </a:r>
            <a:r>
              <a:rPr lang="en-GB" sz="1600" i="0" dirty="0"/>
              <a:t>% of </a:t>
            </a:r>
            <a:r>
              <a:rPr lang="en-GB" sz="1600" i="0" dirty="0" smtClean="0"/>
              <a:t>the EU's </a:t>
            </a:r>
            <a:r>
              <a:rPr lang="en-GB" sz="1600" i="0" dirty="0"/>
              <a:t>GDP </a:t>
            </a:r>
            <a:r>
              <a:rPr lang="en-GB" sz="1600" i="0" dirty="0" smtClean="0"/>
              <a:t>to be </a:t>
            </a:r>
            <a:r>
              <a:rPr lang="en-GB" sz="1600" i="0" dirty="0"/>
              <a:t>invested in </a:t>
            </a:r>
            <a:r>
              <a:rPr lang="en-GB" sz="1600" i="0" dirty="0" smtClean="0"/>
              <a:t>R&amp;D and Innovation</a:t>
            </a:r>
            <a:endParaRPr lang="en-GB" sz="1600" i="0" dirty="0"/>
          </a:p>
          <a:p>
            <a:pPr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</a:pPr>
            <a:r>
              <a:rPr lang="en-GB" sz="1600" b="1" i="0" dirty="0" smtClean="0"/>
              <a:t>Climate change</a:t>
            </a:r>
            <a:endParaRPr lang="en-GB" sz="1600" i="0" dirty="0"/>
          </a:p>
          <a:p>
            <a:pPr lvl="1"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</a:pPr>
            <a:r>
              <a:rPr lang="en-GB" sz="1600" b="0" i="0" dirty="0" smtClean="0"/>
              <a:t>greenhouse </a:t>
            </a:r>
            <a:r>
              <a:rPr lang="en-GB" sz="1600" b="0" i="0" dirty="0"/>
              <a:t>gas emissions 20% </a:t>
            </a:r>
            <a:r>
              <a:rPr lang="en-GB" sz="1600" b="0" i="0" dirty="0" smtClean="0"/>
              <a:t>lower </a:t>
            </a:r>
            <a:r>
              <a:rPr lang="en-GB" sz="1600" b="0" i="0" dirty="0"/>
              <a:t>than 1990 </a:t>
            </a:r>
            <a:r>
              <a:rPr lang="en-GB" sz="1600" b="0" dirty="0"/>
              <a:t>(or even 30%, if the conditions are right) </a:t>
            </a:r>
            <a:endParaRPr lang="en-GB" sz="1600" b="0" i="0" dirty="0"/>
          </a:p>
          <a:p>
            <a:pPr lvl="1"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</a:pPr>
            <a:r>
              <a:rPr lang="en-GB" sz="1600" b="0" dirty="0"/>
              <a:t>20% of energy from renewables </a:t>
            </a:r>
          </a:p>
          <a:p>
            <a:pPr lvl="1"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</a:pPr>
            <a:r>
              <a:rPr lang="en-GB" sz="1600" b="0" dirty="0"/>
              <a:t>20% increase in energy </a:t>
            </a:r>
            <a:r>
              <a:rPr lang="en-GB" sz="1600" b="0" dirty="0" smtClean="0"/>
              <a:t>efficiency </a:t>
            </a:r>
          </a:p>
          <a:p>
            <a:pPr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</a:pPr>
            <a:r>
              <a:rPr lang="en-GB" sz="1600" b="1" i="0" dirty="0" smtClean="0"/>
              <a:t>Education </a:t>
            </a:r>
          </a:p>
          <a:p>
            <a:pPr lvl="1"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</a:pPr>
            <a:r>
              <a:rPr lang="en-GB" sz="1600" b="0" dirty="0"/>
              <a:t>r</a:t>
            </a:r>
            <a:r>
              <a:rPr lang="en-GB" sz="1600" b="0" i="0" dirty="0" smtClean="0"/>
              <a:t>educing </a:t>
            </a:r>
            <a:r>
              <a:rPr lang="en-GB" sz="1600" b="0" i="0" dirty="0"/>
              <a:t>the rates of early school leaving below 10% </a:t>
            </a:r>
            <a:endParaRPr lang="en-GB" sz="1600" b="0" i="0" dirty="0" smtClean="0"/>
          </a:p>
          <a:p>
            <a:pPr lvl="1"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</a:pPr>
            <a:r>
              <a:rPr lang="en-GB" sz="1600" b="0" dirty="0" smtClean="0"/>
              <a:t>at </a:t>
            </a:r>
            <a:r>
              <a:rPr lang="en-GB" sz="1600" b="0" dirty="0"/>
              <a:t>least 40% of 30-34–year-olds completing third level education </a:t>
            </a:r>
            <a:endParaRPr lang="en-GB" sz="1600" b="0" dirty="0" smtClean="0"/>
          </a:p>
          <a:p>
            <a:pPr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</a:pPr>
            <a:r>
              <a:rPr lang="en-GB" sz="1600" b="1" i="0" dirty="0" smtClean="0"/>
              <a:t>Fighting Poverty and Social Exclusion - </a:t>
            </a:r>
            <a:r>
              <a:rPr lang="en-GB" sz="1600" i="0" dirty="0" smtClean="0"/>
              <a:t>at </a:t>
            </a:r>
            <a:r>
              <a:rPr lang="en-GB" sz="1600" i="0" dirty="0"/>
              <a:t>least 20 million fewer people in or at risk of poverty and social </a:t>
            </a:r>
            <a:r>
              <a:rPr lang="en-GB" sz="1600" i="0" dirty="0" smtClean="0"/>
              <a:t>exclusion</a:t>
            </a:r>
          </a:p>
          <a:p>
            <a:pPr marL="0" indent="0">
              <a:buClrTx/>
              <a:buNone/>
            </a:pPr>
            <a:r>
              <a:rPr lang="en-GB" sz="1600" b="1" i="0" u="sng" dirty="0" smtClean="0"/>
              <a:t>Flagship initiatives to boost investments</a:t>
            </a:r>
            <a:endParaRPr lang="en-GB" sz="1600" b="1" i="0" u="sng" dirty="0"/>
          </a:p>
        </p:txBody>
      </p:sp>
    </p:spTree>
    <p:extLst>
      <p:ext uri="{BB962C8B-B14F-4D97-AF65-F5344CB8AC3E}">
        <p14:creationId xmlns:p14="http://schemas.microsoft.com/office/powerpoint/2010/main" val="39400407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title"/>
          </p:nvPr>
        </p:nvSpPr>
        <p:spPr>
          <a:xfrm>
            <a:off x="323528" y="1196753"/>
            <a:ext cx="8301359" cy="936104"/>
          </a:xfrm>
        </p:spPr>
        <p:txBody>
          <a:bodyPr/>
          <a:lstStyle/>
          <a:p>
            <a:pPr marL="0" indent="0"/>
            <a:r>
              <a:rPr lang="en-GB" sz="2800" dirty="0" smtClean="0"/>
              <a:t>Cohesion Policy 2014-2020 - objectives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23528" y="2132856"/>
            <a:ext cx="8374385" cy="4175869"/>
          </a:xfrm>
        </p:spPr>
        <p:txBody>
          <a:bodyPr/>
          <a:lstStyle/>
          <a:p>
            <a:pPr>
              <a:spcBef>
                <a:spcPts val="0"/>
              </a:spcBef>
              <a:buClrTx/>
              <a:buFont typeface="Arial" panose="020B0604020202020204" pitchFamily="34" charset="0"/>
              <a:buChar char="•"/>
            </a:pPr>
            <a:r>
              <a:rPr lang="en-GB" sz="2000" i="0" dirty="0" smtClean="0"/>
              <a:t>Deliver the Europe 2020 strategy objectives of smart, sustainable and inclusive growth</a:t>
            </a:r>
          </a:p>
          <a:p>
            <a:pPr>
              <a:spcBef>
                <a:spcPts val="0"/>
              </a:spcBef>
              <a:buClrTx/>
              <a:buFont typeface="Arial" panose="020B0604020202020204" pitchFamily="34" charset="0"/>
              <a:buChar char="•"/>
            </a:pPr>
            <a:endParaRPr lang="en-GB" sz="2000" i="0" dirty="0" smtClean="0"/>
          </a:p>
          <a:p>
            <a:pPr lvl="1">
              <a:spcBef>
                <a:spcPts val="0"/>
              </a:spcBef>
              <a:buClrTx/>
              <a:buFont typeface="Wingdings" panose="05000000000000000000" pitchFamily="2" charset="2"/>
              <a:buChar char="Ø"/>
            </a:pPr>
            <a:r>
              <a:rPr lang="en-GB" sz="1600" b="0" i="0" dirty="0" smtClean="0"/>
              <a:t>Cohesion </a:t>
            </a:r>
            <a:r>
              <a:rPr lang="en-GB" sz="1600" b="0" i="0" dirty="0"/>
              <a:t>Policy provides the necessary investment framework and delivery system </a:t>
            </a:r>
            <a:endParaRPr lang="en-GB" sz="1600" b="0" i="0" dirty="0" smtClean="0"/>
          </a:p>
          <a:p>
            <a:pPr>
              <a:spcBef>
                <a:spcPts val="0"/>
              </a:spcBef>
              <a:buClrTx/>
              <a:buFont typeface="Arial" panose="020B0604020202020204" pitchFamily="34" charset="0"/>
              <a:buChar char="•"/>
            </a:pPr>
            <a:endParaRPr lang="en-GB" sz="2000" i="0" dirty="0"/>
          </a:p>
          <a:p>
            <a:pPr>
              <a:spcBef>
                <a:spcPts val="0"/>
              </a:spcBef>
              <a:buClrTx/>
              <a:buFont typeface="Arial" panose="020B0604020202020204" pitchFamily="34" charset="0"/>
              <a:buChar char="•"/>
            </a:pPr>
            <a:r>
              <a:rPr lang="en-GB" sz="2000" i="0" dirty="0" smtClean="0"/>
              <a:t>Focus on results</a:t>
            </a:r>
          </a:p>
          <a:p>
            <a:pPr>
              <a:lnSpc>
                <a:spcPct val="140000"/>
              </a:lnSpc>
              <a:buClrTx/>
              <a:buFont typeface="Arial" panose="020B0604020202020204" pitchFamily="34" charset="0"/>
              <a:buChar char="•"/>
            </a:pPr>
            <a:r>
              <a:rPr lang="en-GB" sz="2000" i="0" dirty="0" smtClean="0"/>
              <a:t>Maximise the impact </a:t>
            </a:r>
            <a:r>
              <a:rPr lang="en-GB" sz="2000" i="0" dirty="0" smtClean="0">
                <a:solidFill>
                  <a:srgbClr val="0F5799"/>
                </a:solidFill>
              </a:rPr>
              <a:t>of EU funding</a:t>
            </a:r>
          </a:p>
          <a:p>
            <a:pPr>
              <a:lnSpc>
                <a:spcPct val="140000"/>
              </a:lnSpc>
              <a:buClrTx/>
              <a:buFont typeface="Arial" panose="020B0604020202020204" pitchFamily="34" charset="0"/>
              <a:buChar char="•"/>
            </a:pPr>
            <a:r>
              <a:rPr lang="en-GB" sz="2000" i="0" dirty="0" smtClean="0"/>
              <a:t>A stronger territorial approach</a:t>
            </a:r>
          </a:p>
          <a:p>
            <a:pPr marL="0" indent="0" defTabSz="449263" eaLnBrk="1" hangingPunct="1">
              <a:buSzPct val="100000"/>
              <a:buNone/>
            </a:pPr>
            <a:endParaRPr lang="en-GB" sz="1800" dirty="0" smtClean="0"/>
          </a:p>
          <a:p>
            <a:pPr marL="0" indent="0" algn="just" defTabSz="449263" eaLnBrk="1" hangingPunct="1">
              <a:buSzPct val="100000"/>
              <a:buNone/>
            </a:pPr>
            <a:r>
              <a:rPr lang="en-GB" sz="1800" b="1" i="0" dirty="0" smtClean="0"/>
              <a:t>The European </a:t>
            </a:r>
            <a:r>
              <a:rPr lang="en-GB" sz="1800" b="1" i="0" dirty="0"/>
              <a:t>Regional Development Fund, </a:t>
            </a:r>
            <a:r>
              <a:rPr lang="en-GB" sz="1800" b="1" i="0" dirty="0" smtClean="0"/>
              <a:t>European </a:t>
            </a:r>
            <a:r>
              <a:rPr lang="en-GB" sz="1800" b="1" i="0" dirty="0"/>
              <a:t>Social Fund and Cohesion Fund together account </a:t>
            </a:r>
            <a:r>
              <a:rPr lang="en-GB" sz="1800" b="1" i="0" dirty="0" smtClean="0"/>
              <a:t>for more </a:t>
            </a:r>
            <a:r>
              <a:rPr lang="en-GB" sz="1800" b="1" i="0" dirty="0"/>
              <a:t>than one third of the EU's overall </a:t>
            </a:r>
            <a:r>
              <a:rPr lang="en-GB" sz="1800" b="1" i="0" dirty="0" smtClean="0"/>
              <a:t>budget</a:t>
            </a:r>
            <a:endParaRPr lang="fr-BE" sz="2000" b="1" i="0" dirty="0" smtClean="0"/>
          </a:p>
        </p:txBody>
      </p:sp>
      <p:sp>
        <p:nvSpPr>
          <p:cNvPr id="2" name="Rectangle 1"/>
          <p:cNvSpPr/>
          <p:nvPr/>
        </p:nvSpPr>
        <p:spPr bwMode="auto">
          <a:xfrm>
            <a:off x="4499992" y="6237312"/>
            <a:ext cx="914400" cy="914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200" b="0" i="0" u="none" strike="noStrike" cap="none" normalizeH="0" baseline="0" smtClean="0">
              <a:ln>
                <a:noFill/>
              </a:ln>
              <a:solidFill>
                <a:srgbClr val="0F5494"/>
              </a:solidFill>
              <a:effectLst/>
              <a:latin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7374877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Title 1"/>
          <p:cNvSpPr>
            <a:spLocks noGrp="1"/>
          </p:cNvSpPr>
          <p:nvPr>
            <p:ph type="title"/>
          </p:nvPr>
        </p:nvSpPr>
        <p:spPr>
          <a:xfrm>
            <a:off x="288727" y="1196752"/>
            <a:ext cx="8446393" cy="796280"/>
          </a:xfrm>
        </p:spPr>
        <p:txBody>
          <a:bodyPr/>
          <a:lstStyle/>
          <a:p>
            <a:pPr marL="0" indent="0"/>
            <a:r>
              <a:rPr lang="en-GB" sz="2800" dirty="0" smtClean="0">
                <a:solidFill>
                  <a:srgbClr val="005DA2"/>
                </a:solidFill>
              </a:rPr>
              <a:t>Cohesion policy alignment to Europe 2020</a:t>
            </a:r>
          </a:p>
        </p:txBody>
      </p:sp>
      <p:sp>
        <p:nvSpPr>
          <p:cNvPr id="11267" name="Content Placeholder 2"/>
          <p:cNvSpPr>
            <a:spLocks noGrp="1"/>
          </p:cNvSpPr>
          <p:nvPr>
            <p:ph idx="1"/>
          </p:nvPr>
        </p:nvSpPr>
        <p:spPr>
          <a:xfrm>
            <a:off x="251520" y="2348880"/>
            <a:ext cx="8446393" cy="4968552"/>
          </a:xfrm>
        </p:spPr>
        <p:txBody>
          <a:bodyPr/>
          <a:lstStyle/>
          <a:p>
            <a:pPr eaLnBrk="1" hangingPunct="1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fr-BE" sz="1800" b="1" i="0" dirty="0" err="1" smtClean="0">
                <a:solidFill>
                  <a:srgbClr val="005DA2"/>
                </a:solidFill>
              </a:rPr>
              <a:t>European</a:t>
            </a:r>
            <a:r>
              <a:rPr lang="fr-BE" sz="1800" b="1" i="0" dirty="0" smtClean="0">
                <a:solidFill>
                  <a:srgbClr val="005DA2"/>
                </a:solidFill>
              </a:rPr>
              <a:t> Structural and </a:t>
            </a:r>
            <a:r>
              <a:rPr lang="fr-BE" sz="1800" b="1" i="0" dirty="0" err="1" smtClean="0">
                <a:solidFill>
                  <a:srgbClr val="005DA2"/>
                </a:solidFill>
              </a:rPr>
              <a:t>Investment</a:t>
            </a:r>
            <a:r>
              <a:rPr lang="fr-BE" sz="1800" b="1" i="0" dirty="0" smtClean="0">
                <a:solidFill>
                  <a:srgbClr val="005DA2"/>
                </a:solidFill>
              </a:rPr>
              <a:t> </a:t>
            </a:r>
            <a:r>
              <a:rPr lang="fr-BE" sz="1800" b="1" i="0" dirty="0" err="1" smtClean="0">
                <a:solidFill>
                  <a:srgbClr val="005DA2"/>
                </a:solidFill>
              </a:rPr>
              <a:t>Funds</a:t>
            </a:r>
            <a:r>
              <a:rPr lang="fr-BE" sz="1800" i="0" dirty="0" smtClean="0">
                <a:solidFill>
                  <a:srgbClr val="005DA2"/>
                </a:solidFill>
              </a:rPr>
              <a:t>:  </a:t>
            </a:r>
            <a:r>
              <a:rPr lang="fr-BE" sz="1800" i="0" dirty="0" err="1" smtClean="0">
                <a:solidFill>
                  <a:srgbClr val="005DA2"/>
                </a:solidFill>
              </a:rPr>
              <a:t>three</a:t>
            </a:r>
            <a:r>
              <a:rPr lang="fr-BE" sz="1800" i="0" dirty="0" smtClean="0">
                <a:solidFill>
                  <a:srgbClr val="005DA2"/>
                </a:solidFill>
              </a:rPr>
              <a:t> </a:t>
            </a:r>
            <a:r>
              <a:rPr lang="fr-BE" sz="1800" i="0" dirty="0" err="1" smtClean="0">
                <a:solidFill>
                  <a:srgbClr val="005DA2"/>
                </a:solidFill>
              </a:rPr>
              <a:t>funds</a:t>
            </a:r>
            <a:r>
              <a:rPr lang="fr-BE" sz="1800" i="0" dirty="0" smtClean="0">
                <a:solidFill>
                  <a:srgbClr val="005DA2"/>
                </a:solidFill>
              </a:rPr>
              <a:t> </a:t>
            </a:r>
            <a:r>
              <a:rPr lang="fr-BE" sz="1800" i="0" dirty="0" err="1" smtClean="0">
                <a:solidFill>
                  <a:srgbClr val="005DA2"/>
                </a:solidFill>
              </a:rPr>
              <a:t>under</a:t>
            </a:r>
            <a:r>
              <a:rPr lang="fr-BE" sz="1800" i="0" dirty="0" smtClean="0">
                <a:solidFill>
                  <a:srgbClr val="005DA2"/>
                </a:solidFill>
              </a:rPr>
              <a:t> </a:t>
            </a:r>
            <a:r>
              <a:rPr lang="fr-BE" sz="1800" i="0" dirty="0" err="1" smtClean="0">
                <a:solidFill>
                  <a:srgbClr val="005DA2"/>
                </a:solidFill>
              </a:rPr>
              <a:t>Cohesion</a:t>
            </a:r>
            <a:r>
              <a:rPr lang="fr-BE" sz="1800" i="0" dirty="0" smtClean="0">
                <a:solidFill>
                  <a:srgbClr val="005DA2"/>
                </a:solidFill>
              </a:rPr>
              <a:t> </a:t>
            </a:r>
            <a:r>
              <a:rPr lang="fr-BE" sz="1800" i="0" dirty="0" err="1" smtClean="0">
                <a:solidFill>
                  <a:srgbClr val="005DA2"/>
                </a:solidFill>
              </a:rPr>
              <a:t>policy</a:t>
            </a:r>
            <a:r>
              <a:rPr lang="fr-BE" sz="1800" b="1" i="0" dirty="0">
                <a:solidFill>
                  <a:srgbClr val="005DA2"/>
                </a:solidFill>
              </a:rPr>
              <a:t> </a:t>
            </a:r>
            <a:r>
              <a:rPr lang="fr-BE" sz="1800" b="1" i="0" dirty="0" smtClean="0">
                <a:solidFill>
                  <a:srgbClr val="005DA2"/>
                </a:solidFill>
              </a:rPr>
              <a:t>(ERDF </a:t>
            </a:r>
            <a:r>
              <a:rPr lang="fr-BE" sz="1800" b="1" i="0" dirty="0">
                <a:solidFill>
                  <a:srgbClr val="005DA2"/>
                </a:solidFill>
              </a:rPr>
              <a:t>– ESF </a:t>
            </a:r>
            <a:r>
              <a:rPr lang="fr-BE" sz="1800" b="1" i="0" dirty="0" smtClean="0">
                <a:solidFill>
                  <a:srgbClr val="005DA2"/>
                </a:solidFill>
              </a:rPr>
              <a:t>– CF)</a:t>
            </a:r>
            <a:r>
              <a:rPr lang="fr-BE" sz="1800" i="0" dirty="0" smtClean="0">
                <a:solidFill>
                  <a:srgbClr val="005DA2"/>
                </a:solidFill>
              </a:rPr>
              <a:t> and the Rural </a:t>
            </a:r>
            <a:r>
              <a:rPr lang="fr-BE" sz="1800" i="0" dirty="0" err="1" smtClean="0">
                <a:solidFill>
                  <a:srgbClr val="005DA2"/>
                </a:solidFill>
              </a:rPr>
              <a:t>Development</a:t>
            </a:r>
            <a:r>
              <a:rPr lang="fr-BE" sz="1800" i="0" dirty="0" smtClean="0">
                <a:solidFill>
                  <a:srgbClr val="005DA2"/>
                </a:solidFill>
              </a:rPr>
              <a:t> and </a:t>
            </a:r>
            <a:r>
              <a:rPr lang="fr-BE" sz="1800" i="0" dirty="0" err="1" smtClean="0">
                <a:solidFill>
                  <a:srgbClr val="005DA2"/>
                </a:solidFill>
              </a:rPr>
              <a:t>Fisheries</a:t>
            </a:r>
            <a:r>
              <a:rPr lang="fr-BE" sz="1800" i="0" dirty="0" smtClean="0">
                <a:solidFill>
                  <a:srgbClr val="005DA2"/>
                </a:solidFill>
              </a:rPr>
              <a:t> </a:t>
            </a:r>
            <a:r>
              <a:rPr lang="fr-BE" sz="1800" i="0" dirty="0" err="1" smtClean="0">
                <a:solidFill>
                  <a:srgbClr val="005DA2"/>
                </a:solidFill>
              </a:rPr>
              <a:t>funds</a:t>
            </a:r>
            <a:r>
              <a:rPr lang="fr-BE" sz="1800" i="0" dirty="0" smtClean="0">
                <a:solidFill>
                  <a:srgbClr val="005DA2"/>
                </a:solidFill>
              </a:rPr>
              <a:t> (</a:t>
            </a:r>
            <a:r>
              <a:rPr lang="fr-BE" sz="1800" b="1" i="0" dirty="0" smtClean="0">
                <a:solidFill>
                  <a:srgbClr val="005DA2"/>
                </a:solidFill>
              </a:rPr>
              <a:t>EAFRD, EMFF) </a:t>
            </a:r>
          </a:p>
          <a:p>
            <a:pPr eaLnBrk="1" hangingPunct="1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endParaRPr lang="fr-BE" sz="1800" i="0" dirty="0" smtClean="0">
              <a:solidFill>
                <a:srgbClr val="005DA2"/>
              </a:solidFill>
            </a:endParaRPr>
          </a:p>
          <a:p>
            <a:pPr eaLnBrk="1" hangingPunct="1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fr-BE" sz="1800" b="1" i="0" dirty="0" smtClean="0">
                <a:solidFill>
                  <a:srgbClr val="005DA2"/>
                </a:solidFill>
              </a:rPr>
              <a:t>Common Provisions </a:t>
            </a:r>
            <a:r>
              <a:rPr lang="fr-BE" sz="1800" b="1" i="0" dirty="0" err="1" smtClean="0">
                <a:solidFill>
                  <a:srgbClr val="005DA2"/>
                </a:solidFill>
              </a:rPr>
              <a:t>Regulation</a:t>
            </a:r>
            <a:r>
              <a:rPr lang="fr-BE" sz="1800" b="1" i="0" dirty="0" smtClean="0">
                <a:solidFill>
                  <a:srgbClr val="005DA2"/>
                </a:solidFill>
              </a:rPr>
              <a:t> (CPR) </a:t>
            </a:r>
            <a:r>
              <a:rPr lang="fr-BE" sz="1800" i="0" dirty="0" err="1" smtClean="0">
                <a:solidFill>
                  <a:srgbClr val="005DA2"/>
                </a:solidFill>
              </a:rPr>
              <a:t>provides</a:t>
            </a:r>
            <a:r>
              <a:rPr lang="fr-BE" sz="1800" i="0" dirty="0" smtClean="0">
                <a:solidFill>
                  <a:srgbClr val="005DA2"/>
                </a:solidFill>
              </a:rPr>
              <a:t> for </a:t>
            </a:r>
            <a:r>
              <a:rPr lang="fr-BE" sz="1800" i="0" dirty="0">
                <a:solidFill>
                  <a:srgbClr val="005DA2"/>
                </a:solidFill>
              </a:rPr>
              <a:t> </a:t>
            </a:r>
            <a:endParaRPr lang="fr-BE" sz="1800" i="0" dirty="0" smtClean="0">
              <a:solidFill>
                <a:srgbClr val="005DA2"/>
              </a:solidFill>
            </a:endParaRPr>
          </a:p>
          <a:p>
            <a:pPr lvl="1" eaLnBrk="1" hangingPunct="1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</a:pPr>
            <a:r>
              <a:rPr lang="fr-BE" sz="1800" b="0" dirty="0" err="1" smtClean="0">
                <a:solidFill>
                  <a:srgbClr val="005DA2"/>
                </a:solidFill>
              </a:rPr>
              <a:t>Partnership</a:t>
            </a:r>
            <a:r>
              <a:rPr lang="fr-BE" sz="1800" b="0" dirty="0" smtClean="0">
                <a:solidFill>
                  <a:srgbClr val="005DA2"/>
                </a:solidFill>
              </a:rPr>
              <a:t> Agreement </a:t>
            </a:r>
            <a:r>
              <a:rPr lang="fr-BE" sz="1800" b="0" dirty="0" err="1" smtClean="0">
                <a:solidFill>
                  <a:srgbClr val="005DA2"/>
                </a:solidFill>
              </a:rPr>
              <a:t>at</a:t>
            </a:r>
            <a:r>
              <a:rPr lang="fr-BE" sz="1800" b="0" dirty="0" smtClean="0">
                <a:solidFill>
                  <a:srgbClr val="005DA2"/>
                </a:solidFill>
              </a:rPr>
              <a:t> national </a:t>
            </a:r>
            <a:r>
              <a:rPr lang="fr-BE" sz="1800" b="0" dirty="0" err="1" smtClean="0">
                <a:solidFill>
                  <a:srgbClr val="005DA2"/>
                </a:solidFill>
              </a:rPr>
              <a:t>level</a:t>
            </a:r>
            <a:r>
              <a:rPr lang="fr-BE" sz="1800" b="0" dirty="0" smtClean="0">
                <a:solidFill>
                  <a:srgbClr val="005DA2"/>
                </a:solidFill>
              </a:rPr>
              <a:t>, in dialogue </a:t>
            </a:r>
            <a:r>
              <a:rPr lang="fr-BE" sz="1800" b="0" dirty="0" err="1" smtClean="0">
                <a:solidFill>
                  <a:srgbClr val="005DA2"/>
                </a:solidFill>
              </a:rPr>
              <a:t>with</a:t>
            </a:r>
            <a:r>
              <a:rPr lang="fr-BE" sz="1800" b="0" dirty="0" smtClean="0">
                <a:solidFill>
                  <a:srgbClr val="005DA2"/>
                </a:solidFill>
              </a:rPr>
              <a:t> the Commission</a:t>
            </a:r>
          </a:p>
          <a:p>
            <a:pPr lvl="1" eaLnBrk="1" hangingPunct="1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</a:pPr>
            <a:r>
              <a:rPr lang="fr-BE" sz="1800" b="0" dirty="0" err="1" smtClean="0">
                <a:solidFill>
                  <a:srgbClr val="005DA2"/>
                </a:solidFill>
              </a:rPr>
              <a:t>Alignment</a:t>
            </a:r>
            <a:r>
              <a:rPr lang="fr-BE" sz="1800" b="0" dirty="0" smtClean="0">
                <a:solidFill>
                  <a:srgbClr val="005DA2"/>
                </a:solidFill>
              </a:rPr>
              <a:t> to EU2020 </a:t>
            </a:r>
            <a:r>
              <a:rPr lang="fr-BE" sz="1800" b="0" dirty="0" err="1" smtClean="0">
                <a:solidFill>
                  <a:srgbClr val="005DA2"/>
                </a:solidFill>
              </a:rPr>
              <a:t>through</a:t>
            </a:r>
            <a:r>
              <a:rPr lang="fr-BE" sz="1800" b="0" dirty="0" smtClean="0">
                <a:solidFill>
                  <a:srgbClr val="005DA2"/>
                </a:solidFill>
              </a:rPr>
              <a:t> 11 </a:t>
            </a:r>
            <a:r>
              <a:rPr lang="fr-BE" sz="1800" b="0" dirty="0" err="1" smtClean="0">
                <a:solidFill>
                  <a:srgbClr val="005DA2"/>
                </a:solidFill>
              </a:rPr>
              <a:t>Thematic</a:t>
            </a:r>
            <a:r>
              <a:rPr lang="fr-BE" sz="1800" b="0" dirty="0" smtClean="0">
                <a:solidFill>
                  <a:srgbClr val="005DA2"/>
                </a:solidFill>
              </a:rPr>
              <a:t> Objectives (</a:t>
            </a:r>
            <a:r>
              <a:rPr lang="fr-BE" sz="1800" b="0" dirty="0" err="1" smtClean="0">
                <a:solidFill>
                  <a:srgbClr val="005DA2"/>
                </a:solidFill>
              </a:rPr>
              <a:t>TOs</a:t>
            </a:r>
            <a:r>
              <a:rPr lang="fr-BE" sz="1800" b="0" dirty="0" smtClean="0">
                <a:solidFill>
                  <a:srgbClr val="005DA2"/>
                </a:solidFill>
              </a:rPr>
              <a:t>)</a:t>
            </a:r>
          </a:p>
          <a:p>
            <a:pPr lvl="1" eaLnBrk="1" hangingPunct="1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endParaRPr lang="fr-BE" sz="1800" dirty="0" smtClean="0">
              <a:solidFill>
                <a:srgbClr val="005DA2"/>
              </a:solidFill>
            </a:endParaRPr>
          </a:p>
          <a:p>
            <a:pPr eaLnBrk="1" hangingPunct="1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fr-BE" sz="1800" b="1" i="0" dirty="0" err="1" smtClean="0">
                <a:solidFill>
                  <a:srgbClr val="005DA2"/>
                </a:solidFill>
              </a:rPr>
              <a:t>Fund</a:t>
            </a:r>
            <a:r>
              <a:rPr lang="fr-BE" sz="1800" b="1" i="0" dirty="0" smtClean="0">
                <a:solidFill>
                  <a:srgbClr val="005DA2"/>
                </a:solidFill>
              </a:rPr>
              <a:t> </a:t>
            </a:r>
            <a:r>
              <a:rPr lang="fr-BE" sz="1800" b="1" i="0" dirty="0" err="1" smtClean="0">
                <a:solidFill>
                  <a:srgbClr val="005DA2"/>
                </a:solidFill>
              </a:rPr>
              <a:t>specific</a:t>
            </a:r>
            <a:r>
              <a:rPr lang="fr-BE" sz="1800" b="1" i="0" dirty="0" smtClean="0">
                <a:solidFill>
                  <a:srgbClr val="005DA2"/>
                </a:solidFill>
              </a:rPr>
              <a:t> </a:t>
            </a:r>
            <a:r>
              <a:rPr lang="fr-BE" sz="1800" b="1" i="0" dirty="0" err="1" smtClean="0">
                <a:solidFill>
                  <a:srgbClr val="005DA2"/>
                </a:solidFill>
              </a:rPr>
              <a:t>regulations</a:t>
            </a:r>
            <a:r>
              <a:rPr lang="fr-BE" sz="1800" b="1" i="0" dirty="0" smtClean="0">
                <a:solidFill>
                  <a:srgbClr val="005DA2"/>
                </a:solidFill>
              </a:rPr>
              <a:t> </a:t>
            </a:r>
            <a:r>
              <a:rPr lang="fr-BE" sz="1800" i="0" dirty="0" smtClean="0">
                <a:solidFill>
                  <a:srgbClr val="005DA2"/>
                </a:solidFill>
              </a:rPr>
              <a:t>translate </a:t>
            </a:r>
            <a:r>
              <a:rPr lang="fr-BE" sz="1800" i="0" dirty="0" err="1" smtClean="0">
                <a:solidFill>
                  <a:srgbClr val="005DA2"/>
                </a:solidFill>
              </a:rPr>
              <a:t>TOs</a:t>
            </a:r>
            <a:r>
              <a:rPr lang="fr-BE" sz="1800" i="0" dirty="0" smtClean="0">
                <a:solidFill>
                  <a:srgbClr val="005DA2"/>
                </a:solidFill>
              </a:rPr>
              <a:t>  </a:t>
            </a:r>
            <a:r>
              <a:rPr lang="fr-BE" sz="1800" i="0" dirty="0" err="1" smtClean="0">
                <a:solidFill>
                  <a:srgbClr val="005DA2"/>
                </a:solidFill>
              </a:rPr>
              <a:t>into</a:t>
            </a:r>
            <a:r>
              <a:rPr lang="fr-BE" sz="1800" i="0" dirty="0" smtClean="0">
                <a:solidFill>
                  <a:srgbClr val="005DA2"/>
                </a:solidFill>
              </a:rPr>
              <a:t> </a:t>
            </a:r>
            <a:r>
              <a:rPr lang="fr-BE" sz="1800" i="0" dirty="0" err="1" smtClean="0">
                <a:solidFill>
                  <a:srgbClr val="005DA2"/>
                </a:solidFill>
              </a:rPr>
              <a:t>fund</a:t>
            </a:r>
            <a:r>
              <a:rPr lang="fr-BE" sz="1800" i="0" dirty="0" smtClean="0">
                <a:solidFill>
                  <a:srgbClr val="005DA2"/>
                </a:solidFill>
              </a:rPr>
              <a:t> </a:t>
            </a:r>
            <a:r>
              <a:rPr lang="fr-BE" sz="1800" i="0" dirty="0" err="1" smtClean="0">
                <a:solidFill>
                  <a:srgbClr val="005DA2"/>
                </a:solidFill>
              </a:rPr>
              <a:t>specific</a:t>
            </a:r>
            <a:r>
              <a:rPr lang="fr-BE" sz="1800" i="0" dirty="0" smtClean="0">
                <a:solidFill>
                  <a:srgbClr val="005DA2"/>
                </a:solidFill>
              </a:rPr>
              <a:t> </a:t>
            </a:r>
            <a:r>
              <a:rPr lang="fr-BE" sz="1800" i="0" dirty="0" err="1" smtClean="0">
                <a:solidFill>
                  <a:srgbClr val="005DA2"/>
                </a:solidFill>
              </a:rPr>
              <a:t>priorities</a:t>
            </a:r>
            <a:r>
              <a:rPr lang="fr-BE" sz="1800" i="0" dirty="0" smtClean="0">
                <a:solidFill>
                  <a:srgbClr val="005DA2"/>
                </a:solidFill>
              </a:rPr>
              <a:t> and </a:t>
            </a:r>
            <a:r>
              <a:rPr lang="fr-BE" sz="1800" i="0" dirty="0" err="1" smtClean="0">
                <a:solidFill>
                  <a:srgbClr val="005DA2"/>
                </a:solidFill>
              </a:rPr>
              <a:t>define</a:t>
            </a:r>
            <a:r>
              <a:rPr lang="fr-BE" sz="1800" i="0" dirty="0" smtClean="0">
                <a:solidFill>
                  <a:srgbClr val="005DA2"/>
                </a:solidFill>
              </a:rPr>
              <a:t> concentration of </a:t>
            </a:r>
            <a:r>
              <a:rPr lang="fr-BE" sz="1800" i="0" dirty="0" err="1" smtClean="0">
                <a:solidFill>
                  <a:srgbClr val="005DA2"/>
                </a:solidFill>
              </a:rPr>
              <a:t>resources</a:t>
            </a:r>
            <a:r>
              <a:rPr lang="fr-BE" sz="1800" i="0" dirty="0" smtClean="0">
                <a:solidFill>
                  <a:srgbClr val="005DA2"/>
                </a:solidFill>
              </a:rPr>
              <a:t> on </a:t>
            </a:r>
            <a:r>
              <a:rPr lang="fr-BE" sz="1800" i="0" dirty="0" err="1" smtClean="0">
                <a:solidFill>
                  <a:srgbClr val="005DA2"/>
                </a:solidFill>
              </a:rPr>
              <a:t>themes</a:t>
            </a:r>
            <a:r>
              <a:rPr lang="fr-BE" sz="1800" i="0" dirty="0" smtClean="0">
                <a:solidFill>
                  <a:srgbClr val="005DA2"/>
                </a:solidFill>
              </a:rPr>
              <a:t>.</a:t>
            </a:r>
          </a:p>
          <a:p>
            <a:pPr eaLnBrk="1" hangingPunct="1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endParaRPr lang="fr-BE" sz="1800" i="0" dirty="0">
              <a:solidFill>
                <a:srgbClr val="005DA2"/>
              </a:solidFill>
            </a:endParaRPr>
          </a:p>
          <a:p>
            <a:pPr eaLnBrk="1" hangingPunct="1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fr-BE" sz="1800" b="1" i="0" dirty="0" smtClean="0">
                <a:solidFill>
                  <a:srgbClr val="005DA2"/>
                </a:solidFill>
              </a:rPr>
              <a:t>COM position </a:t>
            </a:r>
            <a:r>
              <a:rPr lang="fr-BE" sz="1800" b="1" i="0" dirty="0" err="1" smtClean="0">
                <a:solidFill>
                  <a:srgbClr val="005DA2"/>
                </a:solidFill>
              </a:rPr>
              <a:t>papers</a:t>
            </a:r>
            <a:r>
              <a:rPr lang="fr-BE" sz="1800" b="1" i="0" dirty="0" smtClean="0">
                <a:solidFill>
                  <a:srgbClr val="005DA2"/>
                </a:solidFill>
              </a:rPr>
              <a:t>, country </a:t>
            </a:r>
            <a:r>
              <a:rPr lang="fr-BE" sz="1800" b="1" i="0" dirty="0" err="1" smtClean="0">
                <a:solidFill>
                  <a:srgbClr val="005DA2"/>
                </a:solidFill>
              </a:rPr>
              <a:t>specific</a:t>
            </a:r>
            <a:r>
              <a:rPr lang="fr-BE" sz="1800" b="1" i="0" dirty="0" smtClean="0">
                <a:solidFill>
                  <a:srgbClr val="005DA2"/>
                </a:solidFill>
              </a:rPr>
              <a:t> </a:t>
            </a:r>
            <a:r>
              <a:rPr lang="fr-BE" sz="1800" b="1" i="0" dirty="0" err="1" smtClean="0">
                <a:solidFill>
                  <a:srgbClr val="005DA2"/>
                </a:solidFill>
              </a:rPr>
              <a:t>recommendations</a:t>
            </a:r>
            <a:endParaRPr lang="fr-BE" sz="1800" b="1" i="0" dirty="0" smtClean="0">
              <a:solidFill>
                <a:srgbClr val="005DA2"/>
              </a:solidFill>
            </a:endParaRPr>
          </a:p>
          <a:p>
            <a:endParaRPr lang="en-GB" dirty="0" smtClean="0"/>
          </a:p>
        </p:txBody>
      </p:sp>
    </p:spTree>
    <p:extLst>
      <p:ext uri="{BB962C8B-B14F-4D97-AF65-F5344CB8AC3E}">
        <p14:creationId xmlns:p14="http://schemas.microsoft.com/office/powerpoint/2010/main" val="29018453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 eaLnBrk="0" hangingPunct="0">
              <a:defRPr sz="1200">
                <a:solidFill>
                  <a:srgbClr val="0F5494"/>
                </a:solidFill>
                <a:latin typeface="Verdana" panose="020B0604030504040204" pitchFamily="34" charset="0"/>
              </a:defRPr>
            </a:lvl1pPr>
            <a:lvl2pPr marL="742950" indent="-285750" eaLnBrk="0" hangingPunct="0">
              <a:defRPr sz="1200">
                <a:solidFill>
                  <a:srgbClr val="0F5494"/>
                </a:solidFill>
                <a:latin typeface="Verdana" panose="020B0604030504040204" pitchFamily="34" charset="0"/>
              </a:defRPr>
            </a:lvl2pPr>
            <a:lvl3pPr marL="1143000" indent="-228600" eaLnBrk="0" hangingPunct="0">
              <a:defRPr sz="1200">
                <a:solidFill>
                  <a:srgbClr val="0F5494"/>
                </a:solidFill>
                <a:latin typeface="Verdana" panose="020B0604030504040204" pitchFamily="34" charset="0"/>
              </a:defRPr>
            </a:lvl3pPr>
            <a:lvl4pPr marL="1600200" indent="-228600" eaLnBrk="0" hangingPunct="0">
              <a:defRPr sz="1200">
                <a:solidFill>
                  <a:srgbClr val="0F5494"/>
                </a:solidFill>
                <a:latin typeface="Verdana" panose="020B0604030504040204" pitchFamily="34" charset="0"/>
              </a:defRPr>
            </a:lvl4pPr>
            <a:lvl5pPr marL="2057400" indent="-228600" eaLnBrk="0" hangingPunct="0">
              <a:defRPr sz="1200">
                <a:solidFill>
                  <a:srgbClr val="0F5494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fld id="{BA7B7096-CBCA-4A1A-9D47-0A30AD708927}" type="slidenum">
              <a:rPr lang="en-GB" sz="1400">
                <a:solidFill>
                  <a:schemeClr val="tx1"/>
                </a:solidFill>
                <a:latin typeface="Arial" panose="020B0604020202020204" pitchFamily="34" charset="0"/>
              </a:rPr>
              <a:pPr eaLnBrk="1" hangingPunct="1"/>
              <a:t>6</a:t>
            </a:fld>
            <a:endParaRPr lang="en-GB" sz="140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12291" name="Rectangle 2"/>
          <p:cNvSpPr>
            <a:spLocks noGrp="1" noChangeArrowheads="1"/>
          </p:cNvSpPr>
          <p:nvPr>
            <p:ph type="title"/>
          </p:nvPr>
        </p:nvSpPr>
        <p:spPr>
          <a:xfrm>
            <a:off x="251520" y="1125538"/>
            <a:ext cx="8205093" cy="1223962"/>
          </a:xfrm>
        </p:spPr>
        <p:txBody>
          <a:bodyPr/>
          <a:lstStyle/>
          <a:p>
            <a:pPr indent="0" eaLnBrk="1" hangingPunct="1"/>
            <a:r>
              <a:rPr lang="fr-BE" sz="2800" dirty="0" err="1" smtClean="0">
                <a:solidFill>
                  <a:srgbClr val="005DA2"/>
                </a:solidFill>
              </a:rPr>
              <a:t>Thematic</a:t>
            </a:r>
            <a:r>
              <a:rPr lang="fr-BE" sz="2800" dirty="0" smtClean="0">
                <a:solidFill>
                  <a:srgbClr val="005DA2"/>
                </a:solidFill>
              </a:rPr>
              <a:t> </a:t>
            </a:r>
            <a:r>
              <a:rPr lang="en-GB" sz="2800" dirty="0" smtClean="0">
                <a:solidFill>
                  <a:srgbClr val="005DA2"/>
                </a:solidFill>
              </a:rPr>
              <a:t>objectives 2014-2020 (1) </a:t>
            </a:r>
          </a:p>
        </p:txBody>
      </p:sp>
      <p:sp>
        <p:nvSpPr>
          <p:cNvPr id="1229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4213" y="2348881"/>
            <a:ext cx="7772400" cy="4509120"/>
          </a:xfrm>
        </p:spPr>
        <p:txBody>
          <a:bodyPr/>
          <a:lstStyle/>
          <a:p>
            <a:pPr marL="457200" indent="-457200" eaLnBrk="1" hangingPunct="1">
              <a:lnSpc>
                <a:spcPct val="80000"/>
              </a:lnSpc>
              <a:spcAft>
                <a:spcPts val="600"/>
              </a:spcAft>
              <a:buFontTx/>
              <a:buNone/>
            </a:pPr>
            <a:r>
              <a:rPr lang="en-GB" sz="1800" b="1" i="0" dirty="0" smtClean="0">
                <a:solidFill>
                  <a:srgbClr val="0070C0"/>
                </a:solidFill>
              </a:rPr>
              <a:t>01	</a:t>
            </a:r>
            <a:r>
              <a:rPr lang="en-GB" sz="1800" b="1" i="0" dirty="0" smtClean="0">
                <a:solidFill>
                  <a:srgbClr val="005DA2"/>
                </a:solidFill>
              </a:rPr>
              <a:t>Strengthening research, technological development and innovation</a:t>
            </a:r>
          </a:p>
          <a:p>
            <a:pPr marL="457200" indent="-457200" eaLnBrk="1" hangingPunct="1">
              <a:lnSpc>
                <a:spcPct val="80000"/>
              </a:lnSpc>
              <a:spcAft>
                <a:spcPts val="600"/>
              </a:spcAft>
              <a:buFontTx/>
              <a:buNone/>
            </a:pPr>
            <a:r>
              <a:rPr lang="en-GB" sz="1800" b="1" i="0" dirty="0" smtClean="0">
                <a:solidFill>
                  <a:srgbClr val="005DA2"/>
                </a:solidFill>
              </a:rPr>
              <a:t>02	Enhancing access to, and use and quality of, information and communication technologies</a:t>
            </a:r>
          </a:p>
          <a:p>
            <a:pPr marL="457200" indent="-457200" eaLnBrk="1" hangingPunct="1">
              <a:lnSpc>
                <a:spcPct val="80000"/>
              </a:lnSpc>
              <a:spcAft>
                <a:spcPts val="600"/>
              </a:spcAft>
              <a:buFontTx/>
              <a:buNone/>
            </a:pPr>
            <a:r>
              <a:rPr lang="en-GB" sz="1800" b="1" i="0" dirty="0" smtClean="0">
                <a:solidFill>
                  <a:srgbClr val="005DA2"/>
                </a:solidFill>
              </a:rPr>
              <a:t>03	Enhancing the competitiveness of small and medium-sized enterprises, the agricultural sector</a:t>
            </a:r>
          </a:p>
          <a:p>
            <a:pPr marL="457200" indent="-457200" eaLnBrk="1" hangingPunct="1">
              <a:lnSpc>
                <a:spcPct val="80000"/>
              </a:lnSpc>
              <a:spcAft>
                <a:spcPts val="600"/>
              </a:spcAft>
              <a:buFontTx/>
              <a:buNone/>
            </a:pPr>
            <a:r>
              <a:rPr lang="en-GB" sz="1800" b="1" i="0" dirty="0" smtClean="0">
                <a:solidFill>
                  <a:srgbClr val="005DA2"/>
                </a:solidFill>
              </a:rPr>
              <a:t>04	Supporting the shift towards a low-carbon economy in all sectors</a:t>
            </a:r>
          </a:p>
          <a:p>
            <a:pPr marL="457200" indent="-457200" eaLnBrk="1" hangingPunct="1">
              <a:lnSpc>
                <a:spcPct val="80000"/>
              </a:lnSpc>
              <a:spcAft>
                <a:spcPts val="600"/>
              </a:spcAft>
              <a:buFontTx/>
              <a:buNone/>
            </a:pPr>
            <a:r>
              <a:rPr lang="en-GB" sz="1800" i="0" dirty="0" smtClean="0">
                <a:solidFill>
                  <a:srgbClr val="005DA2"/>
                </a:solidFill>
              </a:rPr>
              <a:t>05	Promoting climate change adaptation, risk prevention and management</a:t>
            </a:r>
          </a:p>
          <a:p>
            <a:pPr marL="457200" indent="-457200" eaLnBrk="1" hangingPunct="1">
              <a:lnSpc>
                <a:spcPct val="80000"/>
              </a:lnSpc>
              <a:spcAft>
                <a:spcPts val="600"/>
              </a:spcAft>
              <a:buFontTx/>
              <a:buNone/>
            </a:pPr>
            <a:r>
              <a:rPr lang="en-GB" sz="1800" i="0" dirty="0" smtClean="0">
                <a:solidFill>
                  <a:srgbClr val="005DA2"/>
                </a:solidFill>
              </a:rPr>
              <a:t>06	Preserving and protecting the environment and promoting resource efficiency</a:t>
            </a:r>
          </a:p>
          <a:p>
            <a:pPr marL="457200" indent="-457200" eaLnBrk="1" hangingPunct="1">
              <a:lnSpc>
                <a:spcPct val="80000"/>
              </a:lnSpc>
              <a:spcAft>
                <a:spcPts val="600"/>
              </a:spcAft>
              <a:buFontTx/>
              <a:buNone/>
            </a:pPr>
            <a:r>
              <a:rPr lang="en-GB" sz="1800" i="0" dirty="0" smtClean="0">
                <a:solidFill>
                  <a:srgbClr val="005DA2"/>
                </a:solidFill>
              </a:rPr>
              <a:t>07	Promoting sustainable transport and removing bottlenecks in key network infrastructures</a:t>
            </a:r>
          </a:p>
          <a:p>
            <a:pPr marL="457200" indent="-457200" eaLnBrk="1" hangingPunct="1">
              <a:lnSpc>
                <a:spcPct val="80000"/>
              </a:lnSpc>
              <a:buFontTx/>
              <a:buNone/>
            </a:pPr>
            <a:endParaRPr lang="en-GB" sz="18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39167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Content Placeholder 2"/>
          <p:cNvSpPr>
            <a:spLocks noGrp="1"/>
          </p:cNvSpPr>
          <p:nvPr>
            <p:ph idx="1"/>
          </p:nvPr>
        </p:nvSpPr>
        <p:spPr>
          <a:xfrm>
            <a:off x="395288" y="2492375"/>
            <a:ext cx="8291512" cy="3960961"/>
          </a:xfrm>
        </p:spPr>
        <p:txBody>
          <a:bodyPr/>
          <a:lstStyle/>
          <a:p>
            <a:pPr>
              <a:spcAft>
                <a:spcPts val="600"/>
              </a:spcAft>
              <a:tabLst>
                <a:tab pos="890588" algn="l"/>
              </a:tabLst>
            </a:pPr>
            <a:r>
              <a:rPr lang="en-GB" sz="1800" i="0" dirty="0" smtClean="0">
                <a:solidFill>
                  <a:srgbClr val="005DA2"/>
                </a:solidFill>
              </a:rPr>
              <a:t>08	Promoting sustainable and quality employment and supporting labour mobility</a:t>
            </a:r>
          </a:p>
          <a:p>
            <a:pPr>
              <a:spcAft>
                <a:spcPts val="600"/>
              </a:spcAft>
              <a:tabLst>
                <a:tab pos="890588" algn="l"/>
              </a:tabLst>
            </a:pPr>
            <a:r>
              <a:rPr lang="en-GB" sz="1800" i="0" dirty="0" smtClean="0">
                <a:solidFill>
                  <a:srgbClr val="005DA2"/>
                </a:solidFill>
              </a:rPr>
              <a:t>09	Promoting social inclusion and combating poverty and any discrimination</a:t>
            </a:r>
          </a:p>
          <a:p>
            <a:pPr>
              <a:spcAft>
                <a:spcPts val="600"/>
              </a:spcAft>
              <a:tabLst>
                <a:tab pos="890588" algn="l"/>
              </a:tabLst>
            </a:pPr>
            <a:r>
              <a:rPr lang="en-GB" sz="1800" i="0" dirty="0" smtClean="0">
                <a:solidFill>
                  <a:srgbClr val="005DA2"/>
                </a:solidFill>
              </a:rPr>
              <a:t>010	Investing in education, training and vocational training for skills and lifelong learning</a:t>
            </a:r>
          </a:p>
          <a:p>
            <a:pPr>
              <a:spcAft>
                <a:spcPts val="600"/>
              </a:spcAft>
              <a:tabLst>
                <a:tab pos="890588" algn="l"/>
              </a:tabLst>
            </a:pPr>
            <a:r>
              <a:rPr lang="en-GB" sz="1800" i="0" dirty="0" smtClean="0">
                <a:solidFill>
                  <a:srgbClr val="005DA2"/>
                </a:solidFill>
              </a:rPr>
              <a:t>011	Enhancing institutional capacity of public authorities and stakeholders and an efficient public administration</a:t>
            </a:r>
          </a:p>
          <a:p>
            <a:pPr>
              <a:tabLst>
                <a:tab pos="890588" algn="l"/>
              </a:tabLst>
            </a:pPr>
            <a:endParaRPr lang="fr-BE" sz="1800" dirty="0" smtClean="0">
              <a:solidFill>
                <a:srgbClr val="005DA2"/>
              </a:solidFill>
            </a:endParaRPr>
          </a:p>
          <a:p>
            <a:pPr>
              <a:tabLst>
                <a:tab pos="890588" algn="l"/>
              </a:tabLst>
            </a:pPr>
            <a:endParaRPr lang="en-GB" sz="1800" dirty="0" smtClean="0">
              <a:solidFill>
                <a:srgbClr val="005DA2"/>
              </a:solidFill>
            </a:endParaRPr>
          </a:p>
          <a:p>
            <a:pPr>
              <a:tabLst>
                <a:tab pos="890588" algn="l"/>
              </a:tabLst>
            </a:pPr>
            <a:r>
              <a:rPr lang="en-GB" sz="1800" dirty="0" smtClean="0">
                <a:solidFill>
                  <a:srgbClr val="005DA2"/>
                </a:solidFill>
              </a:rPr>
              <a:t>(012) Technical Assistance</a:t>
            </a:r>
          </a:p>
          <a:p>
            <a:pPr>
              <a:tabLst>
                <a:tab pos="890588" algn="l"/>
              </a:tabLst>
            </a:pPr>
            <a:endParaRPr lang="en-GB" dirty="0" smtClean="0">
              <a:solidFill>
                <a:schemeClr val="tx1"/>
              </a:solidFill>
            </a:endParaRPr>
          </a:p>
        </p:txBody>
      </p:sp>
      <p:sp>
        <p:nvSpPr>
          <p:cNvPr id="13315" name="Slide Number Placeholder 3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 eaLnBrk="0" hangingPunct="0">
              <a:defRPr sz="1200">
                <a:solidFill>
                  <a:srgbClr val="0F5494"/>
                </a:solidFill>
                <a:latin typeface="Verdana" panose="020B0604030504040204" pitchFamily="34" charset="0"/>
              </a:defRPr>
            </a:lvl1pPr>
            <a:lvl2pPr marL="742950" indent="-285750" eaLnBrk="0" hangingPunct="0">
              <a:defRPr sz="1200">
                <a:solidFill>
                  <a:srgbClr val="0F5494"/>
                </a:solidFill>
                <a:latin typeface="Verdana" panose="020B0604030504040204" pitchFamily="34" charset="0"/>
              </a:defRPr>
            </a:lvl2pPr>
            <a:lvl3pPr marL="1143000" indent="-228600" eaLnBrk="0" hangingPunct="0">
              <a:defRPr sz="1200">
                <a:solidFill>
                  <a:srgbClr val="0F5494"/>
                </a:solidFill>
                <a:latin typeface="Verdana" panose="020B0604030504040204" pitchFamily="34" charset="0"/>
              </a:defRPr>
            </a:lvl3pPr>
            <a:lvl4pPr marL="1600200" indent="-228600" eaLnBrk="0" hangingPunct="0">
              <a:defRPr sz="1200">
                <a:solidFill>
                  <a:srgbClr val="0F5494"/>
                </a:solidFill>
                <a:latin typeface="Verdana" panose="020B0604030504040204" pitchFamily="34" charset="0"/>
              </a:defRPr>
            </a:lvl4pPr>
            <a:lvl5pPr marL="2057400" indent="-228600" eaLnBrk="0" hangingPunct="0">
              <a:defRPr sz="1200">
                <a:solidFill>
                  <a:srgbClr val="0F5494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fld id="{4E4AB8A9-F638-41BF-8312-A67F2AD8D572}" type="slidenum">
              <a:rPr lang="en-GB" sz="1400">
                <a:solidFill>
                  <a:schemeClr val="tx1"/>
                </a:solidFill>
                <a:latin typeface="Arial" panose="020B0604020202020204" pitchFamily="34" charset="0"/>
              </a:rPr>
              <a:pPr eaLnBrk="1" hangingPunct="1"/>
              <a:t>7</a:t>
            </a:fld>
            <a:endParaRPr lang="en-GB" sz="140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1331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indent="0" eaLnBrk="1" hangingPunct="1"/>
            <a:r>
              <a:rPr lang="fr-BE" sz="2800" dirty="0" err="1" smtClean="0">
                <a:solidFill>
                  <a:srgbClr val="005DA2"/>
                </a:solidFill>
              </a:rPr>
              <a:t>Thematic</a:t>
            </a:r>
            <a:r>
              <a:rPr lang="fr-BE" sz="2800" dirty="0" smtClean="0">
                <a:solidFill>
                  <a:srgbClr val="005DA2"/>
                </a:solidFill>
              </a:rPr>
              <a:t> </a:t>
            </a:r>
            <a:r>
              <a:rPr lang="en-GB" sz="2800" dirty="0" smtClean="0">
                <a:solidFill>
                  <a:srgbClr val="005DA2"/>
                </a:solidFill>
              </a:rPr>
              <a:t>objectives 2014-2020 (2)</a:t>
            </a:r>
          </a:p>
        </p:txBody>
      </p:sp>
    </p:spTree>
    <p:extLst>
      <p:ext uri="{BB962C8B-B14F-4D97-AF65-F5344CB8AC3E}">
        <p14:creationId xmlns:p14="http://schemas.microsoft.com/office/powerpoint/2010/main" val="33527011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Title 1"/>
          <p:cNvSpPr>
            <a:spLocks noGrp="1"/>
          </p:cNvSpPr>
          <p:nvPr>
            <p:ph type="title"/>
          </p:nvPr>
        </p:nvSpPr>
        <p:spPr>
          <a:xfrm>
            <a:off x="179512" y="1052513"/>
            <a:ext cx="8784976" cy="936328"/>
          </a:xfrm>
        </p:spPr>
        <p:txBody>
          <a:bodyPr/>
          <a:lstStyle/>
          <a:p>
            <a:pPr marL="0" indent="0"/>
            <a:r>
              <a:rPr lang="en-GB" sz="2800" dirty="0"/>
              <a:t>Cohesion Policy </a:t>
            </a:r>
            <a:r>
              <a:rPr lang="en-GB" sz="2800" dirty="0" smtClean="0"/>
              <a:t>2014-2020 - </a:t>
            </a:r>
            <a:r>
              <a:rPr lang="fr-BE" sz="2800" dirty="0" err="1" smtClean="0">
                <a:solidFill>
                  <a:srgbClr val="005DA2"/>
                </a:solidFill>
              </a:rPr>
              <a:t>targeting</a:t>
            </a:r>
            <a:endParaRPr lang="en-GB" sz="2800" dirty="0" smtClean="0">
              <a:solidFill>
                <a:srgbClr val="005DA2"/>
              </a:solidFill>
            </a:endParaRPr>
          </a:p>
        </p:txBody>
      </p:sp>
      <p:sp>
        <p:nvSpPr>
          <p:cNvPr id="6147" name="Content Placeholder 2"/>
          <p:cNvSpPr>
            <a:spLocks noGrp="1"/>
          </p:cNvSpPr>
          <p:nvPr>
            <p:ph idx="1"/>
          </p:nvPr>
        </p:nvSpPr>
        <p:spPr>
          <a:xfrm>
            <a:off x="251520" y="1988840"/>
            <a:ext cx="8579296" cy="4536504"/>
          </a:xfrm>
        </p:spPr>
        <p:txBody>
          <a:bodyPr/>
          <a:lstStyle/>
          <a:p>
            <a:pPr marL="285750" lvl="1">
              <a:spcAft>
                <a:spcPts val="600"/>
              </a:spcAft>
              <a:buClr>
                <a:srgbClr val="0F5494"/>
              </a:buClr>
              <a:buFont typeface="Arial" panose="020B0604020202020204" pitchFamily="34" charset="0"/>
              <a:buChar char="•"/>
            </a:pPr>
            <a:r>
              <a:rPr lang="en-GB" sz="1800" dirty="0" smtClean="0"/>
              <a:t>Investing in all EU regions:</a:t>
            </a:r>
            <a:r>
              <a:rPr lang="en-GB" sz="1600" dirty="0" smtClean="0"/>
              <a:t> </a:t>
            </a:r>
            <a:r>
              <a:rPr lang="en-GB" sz="1600" b="0" dirty="0" smtClean="0"/>
              <a:t>Less developed regions (&lt; 75% of EU-27 GDP); Transition regions (75% to 90% of EU GDP); More developed regions (GDP &gt; 90% of EU GDP)</a:t>
            </a:r>
          </a:p>
          <a:p>
            <a:pPr marL="285750" lvl="1">
              <a:spcAft>
                <a:spcPts val="600"/>
              </a:spcAft>
              <a:buClr>
                <a:srgbClr val="0F5494"/>
              </a:buClr>
              <a:buFont typeface="Arial" panose="020B0604020202020204" pitchFamily="34" charset="0"/>
              <a:buChar char="•"/>
            </a:pPr>
            <a:r>
              <a:rPr lang="en-GB" sz="1800" dirty="0" smtClean="0"/>
              <a:t>ERDF concentrating on </a:t>
            </a:r>
          </a:p>
          <a:p>
            <a:pPr marL="622300" lvl="2" indent="-285750">
              <a:spcAft>
                <a:spcPts val="600"/>
              </a:spcAft>
              <a:buClr>
                <a:srgbClr val="0F5494"/>
              </a:buClr>
              <a:buFont typeface="Courier New" panose="02070309020205020404" pitchFamily="49" charset="0"/>
              <a:buChar char="o"/>
            </a:pPr>
            <a:r>
              <a:rPr lang="en-GB" sz="1600" dirty="0" smtClean="0"/>
              <a:t>Innovation and research, the digital agenda, support for small and medium sized businesses (SMEs) and the low-carbon economy (Less </a:t>
            </a:r>
            <a:r>
              <a:rPr lang="en-GB" sz="1600" dirty="0"/>
              <a:t>d</a:t>
            </a:r>
            <a:r>
              <a:rPr lang="en-GB" sz="1600" dirty="0" smtClean="0"/>
              <a:t>eveloped regions: 50%, Transition regions: 60%, and More </a:t>
            </a:r>
            <a:r>
              <a:rPr lang="en-GB" sz="1600" dirty="0"/>
              <a:t>d</a:t>
            </a:r>
            <a:r>
              <a:rPr lang="en-GB" sz="1600" dirty="0" smtClean="0"/>
              <a:t>eveloped regions: 80%).</a:t>
            </a:r>
          </a:p>
          <a:p>
            <a:pPr marL="622300" lvl="2" indent="-285750">
              <a:spcAft>
                <a:spcPts val="600"/>
              </a:spcAft>
              <a:buClr>
                <a:srgbClr val="0F5494"/>
              </a:buClr>
              <a:buFont typeface="Courier New" panose="02070309020205020404" pitchFamily="49" charset="0"/>
              <a:buChar char="o"/>
            </a:pPr>
            <a:r>
              <a:rPr lang="en-GB" sz="1600" dirty="0" smtClean="0"/>
              <a:t>Low-carbon economy (energy efficiency and renewables) obligations for minimum share of ERDF  (Less developed regions: 12%, Transition regions: 15% and More developed regions: 20%).</a:t>
            </a:r>
          </a:p>
          <a:p>
            <a:pPr marL="622300" lvl="2" indent="-285750">
              <a:spcAft>
                <a:spcPts val="600"/>
              </a:spcAft>
              <a:buClr>
                <a:srgbClr val="0F5494"/>
              </a:buClr>
              <a:buFont typeface="Courier New" panose="02070309020205020404" pitchFamily="49" charset="0"/>
              <a:buChar char="o"/>
            </a:pPr>
            <a:r>
              <a:rPr lang="en-GB" sz="1600" dirty="0" smtClean="0"/>
              <a:t>Earmarking 5 % minimum amount under the ERDF to be spent for integrated urban actions</a:t>
            </a:r>
          </a:p>
          <a:p>
            <a:pPr marL="342900" lvl="1" indent="-342900">
              <a:spcAft>
                <a:spcPts val="600"/>
              </a:spcAft>
              <a:buClr>
                <a:srgbClr val="0F5494"/>
              </a:buClr>
              <a:buFont typeface="Arial" panose="020B0604020202020204" pitchFamily="34" charset="0"/>
              <a:buChar char="•"/>
            </a:pPr>
            <a:r>
              <a:rPr lang="en-GB" dirty="0" smtClean="0"/>
              <a:t>ESF minimum share: </a:t>
            </a:r>
            <a:r>
              <a:rPr lang="en-GB" sz="1600" b="0" dirty="0" smtClean="0"/>
              <a:t>At least 23.1% of  Cohesion policy budget will be allocated to investments under the European Social Fund (ESF). </a:t>
            </a:r>
          </a:p>
          <a:p>
            <a:r>
              <a:rPr lang="en-GB" dirty="0" smtClean="0"/>
              <a:t> </a:t>
            </a:r>
          </a:p>
        </p:txBody>
      </p:sp>
      <p:sp>
        <p:nvSpPr>
          <p:cNvPr id="6148" name="Slide Number Placeholder 3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 eaLnBrk="0" hangingPunct="0">
              <a:defRPr sz="1200">
                <a:solidFill>
                  <a:srgbClr val="0F5494"/>
                </a:solidFill>
                <a:latin typeface="Verdana" panose="020B0604030504040204" pitchFamily="34" charset="0"/>
              </a:defRPr>
            </a:lvl1pPr>
            <a:lvl2pPr marL="742950" indent="-285750" eaLnBrk="0" hangingPunct="0">
              <a:defRPr sz="1200">
                <a:solidFill>
                  <a:srgbClr val="0F5494"/>
                </a:solidFill>
                <a:latin typeface="Verdana" panose="020B0604030504040204" pitchFamily="34" charset="0"/>
              </a:defRPr>
            </a:lvl2pPr>
            <a:lvl3pPr marL="1143000" indent="-228600" eaLnBrk="0" hangingPunct="0">
              <a:defRPr sz="1200">
                <a:solidFill>
                  <a:srgbClr val="0F5494"/>
                </a:solidFill>
                <a:latin typeface="Verdana" panose="020B0604030504040204" pitchFamily="34" charset="0"/>
              </a:defRPr>
            </a:lvl3pPr>
            <a:lvl4pPr marL="1600200" indent="-228600" eaLnBrk="0" hangingPunct="0">
              <a:defRPr sz="1200">
                <a:solidFill>
                  <a:srgbClr val="0F5494"/>
                </a:solidFill>
                <a:latin typeface="Verdana" panose="020B0604030504040204" pitchFamily="34" charset="0"/>
              </a:defRPr>
            </a:lvl4pPr>
            <a:lvl5pPr marL="2057400" indent="-228600" eaLnBrk="0" hangingPunct="0">
              <a:defRPr sz="1200">
                <a:solidFill>
                  <a:srgbClr val="0F5494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fld id="{A17FAAED-9FF3-471F-A9D2-B5C9AEEB5FE0}" type="slidenum">
              <a:rPr lang="en-GB" sz="1400">
                <a:solidFill>
                  <a:schemeClr val="tx1"/>
                </a:solidFill>
                <a:latin typeface="Arial" panose="020B0604020202020204" pitchFamily="34" charset="0"/>
              </a:rPr>
              <a:pPr eaLnBrk="1" hangingPunct="1"/>
              <a:t>8</a:t>
            </a:fld>
            <a:endParaRPr lang="en-GB" sz="140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886283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290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2" name="think-cell Slide" r:id="rId21" imgW="38100" imgH="38100" progId="TCLayout.ActiveDocument.1">
                  <p:embed/>
                </p:oleObj>
              </mc:Choice>
              <mc:Fallback>
                <p:oleObj name="think-cell Slide" r:id="rId21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50" name="Text Box 9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403350" y="1341438"/>
            <a:ext cx="5975350" cy="400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 sz="1200">
                <a:solidFill>
                  <a:srgbClr val="0F5494"/>
                </a:solidFill>
                <a:latin typeface="Verdana" charset="0"/>
                <a:ea typeface="MS PGothic" charset="0"/>
                <a:cs typeface="MS PGothic" charset="0"/>
              </a:defRPr>
            </a:lvl1pPr>
            <a:lvl2pPr marL="742950" indent="-285750" eaLnBrk="0" hangingPunct="0">
              <a:defRPr sz="1200">
                <a:solidFill>
                  <a:srgbClr val="0F5494"/>
                </a:solidFill>
                <a:latin typeface="Verdana" charset="0"/>
                <a:ea typeface="MS PGothic" charset="0"/>
                <a:cs typeface="MS PGothic" charset="0"/>
              </a:defRPr>
            </a:lvl2pPr>
            <a:lvl3pPr marL="1143000" indent="-228600" eaLnBrk="0" hangingPunct="0">
              <a:defRPr sz="1200">
                <a:solidFill>
                  <a:srgbClr val="0F5494"/>
                </a:solidFill>
                <a:latin typeface="Verdana" charset="0"/>
                <a:ea typeface="MS PGothic" charset="0"/>
                <a:cs typeface="MS PGothic" charset="0"/>
              </a:defRPr>
            </a:lvl3pPr>
            <a:lvl4pPr marL="1600200" indent="-228600" eaLnBrk="0" hangingPunct="0">
              <a:defRPr sz="1200">
                <a:solidFill>
                  <a:srgbClr val="0F5494"/>
                </a:solidFill>
                <a:latin typeface="Verdana" charset="0"/>
                <a:ea typeface="MS PGothic" charset="0"/>
                <a:cs typeface="MS PGothic" charset="0"/>
              </a:defRPr>
            </a:lvl4pPr>
            <a:lvl5pPr marL="2057400" indent="-228600" eaLnBrk="0" hangingPunct="0">
              <a:defRPr sz="1200">
                <a:solidFill>
                  <a:srgbClr val="0F5494"/>
                </a:solidFill>
                <a:latin typeface="Verdana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charset="0"/>
                <a:ea typeface="MS PGothic" charset="0"/>
                <a:cs typeface="MS PGothic" charset="0"/>
              </a:defRPr>
            </a:lvl9pPr>
          </a:lstStyle>
          <a:p>
            <a:pPr eaLnBrk="1" hangingPunct="1">
              <a:spcBef>
                <a:spcPct val="20000"/>
              </a:spcBef>
              <a:spcAft>
                <a:spcPct val="20000"/>
              </a:spcAft>
              <a:buClr>
                <a:srgbClr val="FFFFFF"/>
              </a:buClr>
              <a:defRPr/>
            </a:pPr>
            <a:r>
              <a:rPr lang="en-GB" sz="2000" dirty="0" smtClean="0"/>
              <a:t>Concentration on Europe 2020 priorities</a:t>
            </a:r>
            <a:endParaRPr lang="en-GB" sz="2000" b="0" dirty="0" smtClean="0"/>
          </a:p>
        </p:txBody>
      </p:sp>
      <p:sp>
        <p:nvSpPr>
          <p:cNvPr id="6151" name="Text Box 10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0" y="1125538"/>
            <a:ext cx="1539875" cy="6461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 sz="1200">
                <a:solidFill>
                  <a:srgbClr val="0F5494"/>
                </a:solidFill>
                <a:latin typeface="Verdana" charset="0"/>
                <a:ea typeface="MS PGothic" charset="0"/>
                <a:cs typeface="MS PGothic" charset="0"/>
              </a:defRPr>
            </a:lvl1pPr>
            <a:lvl2pPr marL="742950" indent="-285750" eaLnBrk="0" hangingPunct="0">
              <a:defRPr sz="1200">
                <a:solidFill>
                  <a:srgbClr val="0F5494"/>
                </a:solidFill>
                <a:latin typeface="Verdana" charset="0"/>
                <a:ea typeface="MS PGothic" charset="0"/>
                <a:cs typeface="MS PGothic" charset="0"/>
              </a:defRPr>
            </a:lvl2pPr>
            <a:lvl3pPr marL="1143000" indent="-228600" eaLnBrk="0" hangingPunct="0">
              <a:defRPr sz="1200">
                <a:solidFill>
                  <a:srgbClr val="0F5494"/>
                </a:solidFill>
                <a:latin typeface="Verdana" charset="0"/>
                <a:ea typeface="MS PGothic" charset="0"/>
                <a:cs typeface="MS PGothic" charset="0"/>
              </a:defRPr>
            </a:lvl3pPr>
            <a:lvl4pPr marL="1600200" indent="-228600" eaLnBrk="0" hangingPunct="0">
              <a:defRPr sz="1200">
                <a:solidFill>
                  <a:srgbClr val="0F5494"/>
                </a:solidFill>
                <a:latin typeface="Verdana" charset="0"/>
                <a:ea typeface="MS PGothic" charset="0"/>
                <a:cs typeface="MS PGothic" charset="0"/>
              </a:defRPr>
            </a:lvl4pPr>
            <a:lvl5pPr marL="2057400" indent="-228600" eaLnBrk="0" hangingPunct="0">
              <a:defRPr sz="1200">
                <a:solidFill>
                  <a:srgbClr val="0F5494"/>
                </a:solidFill>
                <a:latin typeface="Verdana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charset="0"/>
                <a:ea typeface="MS PGothic" charset="0"/>
                <a:cs typeface="MS PGothic" charset="0"/>
              </a:defRPr>
            </a:lvl9pPr>
          </a:lstStyle>
          <a:p>
            <a:pPr eaLnBrk="1" hangingPunct="1">
              <a:defRPr/>
            </a:pPr>
            <a:r>
              <a:rPr lang="en-GB" sz="1800" b="0" i="1" dirty="0" smtClean="0"/>
              <a:t>Thematic</a:t>
            </a:r>
          </a:p>
          <a:p>
            <a:pPr eaLnBrk="1" hangingPunct="1">
              <a:defRPr/>
            </a:pPr>
            <a:r>
              <a:rPr lang="en-GB" sz="1800" b="0" i="1" dirty="0" smtClean="0"/>
              <a:t>dimension:</a:t>
            </a:r>
          </a:p>
        </p:txBody>
      </p:sp>
      <p:sp>
        <p:nvSpPr>
          <p:cNvPr id="6152" name="Text Box 1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0" y="3357563"/>
            <a:ext cx="1539875" cy="6461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 sz="1200">
                <a:solidFill>
                  <a:srgbClr val="0F5494"/>
                </a:solidFill>
                <a:latin typeface="Verdana" charset="0"/>
                <a:ea typeface="MS PGothic" charset="0"/>
                <a:cs typeface="MS PGothic" charset="0"/>
              </a:defRPr>
            </a:lvl1pPr>
            <a:lvl2pPr marL="742950" indent="-285750" eaLnBrk="0" hangingPunct="0">
              <a:defRPr sz="1200">
                <a:solidFill>
                  <a:srgbClr val="0F5494"/>
                </a:solidFill>
                <a:latin typeface="Verdana" charset="0"/>
                <a:ea typeface="MS PGothic" charset="0"/>
                <a:cs typeface="MS PGothic" charset="0"/>
              </a:defRPr>
            </a:lvl2pPr>
            <a:lvl3pPr marL="1143000" indent="-228600" eaLnBrk="0" hangingPunct="0">
              <a:defRPr sz="1200">
                <a:solidFill>
                  <a:srgbClr val="0F5494"/>
                </a:solidFill>
                <a:latin typeface="Verdana" charset="0"/>
                <a:ea typeface="MS PGothic" charset="0"/>
                <a:cs typeface="MS PGothic" charset="0"/>
              </a:defRPr>
            </a:lvl3pPr>
            <a:lvl4pPr marL="1600200" indent="-228600" eaLnBrk="0" hangingPunct="0">
              <a:defRPr sz="1200">
                <a:solidFill>
                  <a:srgbClr val="0F5494"/>
                </a:solidFill>
                <a:latin typeface="Verdana" charset="0"/>
                <a:ea typeface="MS PGothic" charset="0"/>
                <a:cs typeface="MS PGothic" charset="0"/>
              </a:defRPr>
            </a:lvl4pPr>
            <a:lvl5pPr marL="2057400" indent="-228600" eaLnBrk="0" hangingPunct="0">
              <a:defRPr sz="1200">
                <a:solidFill>
                  <a:srgbClr val="0F5494"/>
                </a:solidFill>
                <a:latin typeface="Verdana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charset="0"/>
                <a:ea typeface="MS PGothic" charset="0"/>
                <a:cs typeface="MS PGothic" charset="0"/>
              </a:defRPr>
            </a:lvl9pPr>
          </a:lstStyle>
          <a:p>
            <a:pPr eaLnBrk="1" hangingPunct="1">
              <a:defRPr/>
            </a:pPr>
            <a:r>
              <a:rPr lang="en-GB" sz="1800" b="0" i="1" dirty="0" smtClean="0"/>
              <a:t>Territorial</a:t>
            </a:r>
          </a:p>
          <a:p>
            <a:pPr eaLnBrk="1" hangingPunct="1">
              <a:defRPr/>
            </a:pPr>
            <a:r>
              <a:rPr lang="en-GB" sz="1800" b="0" i="1" dirty="0" smtClean="0"/>
              <a:t>dimension:</a:t>
            </a:r>
          </a:p>
        </p:txBody>
      </p:sp>
      <p:sp>
        <p:nvSpPr>
          <p:cNvPr id="6153" name="Text Box 12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258888" y="4411663"/>
            <a:ext cx="5019675" cy="314325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 sz="1200">
                <a:solidFill>
                  <a:srgbClr val="0F5494"/>
                </a:solidFill>
                <a:latin typeface="Verdana" charset="0"/>
                <a:ea typeface="MS PGothic" charset="0"/>
                <a:cs typeface="MS PGothic" charset="0"/>
              </a:defRPr>
            </a:lvl1pPr>
            <a:lvl2pPr marL="742950" indent="-285750" eaLnBrk="0" hangingPunct="0">
              <a:defRPr sz="1200">
                <a:solidFill>
                  <a:srgbClr val="0F5494"/>
                </a:solidFill>
                <a:latin typeface="Verdana" charset="0"/>
                <a:ea typeface="MS PGothic" charset="0"/>
                <a:cs typeface="MS PGothic" charset="0"/>
              </a:defRPr>
            </a:lvl2pPr>
            <a:lvl3pPr marL="1143000" indent="-228600" eaLnBrk="0" hangingPunct="0">
              <a:defRPr sz="1200">
                <a:solidFill>
                  <a:srgbClr val="0F5494"/>
                </a:solidFill>
                <a:latin typeface="Verdana" charset="0"/>
                <a:ea typeface="MS PGothic" charset="0"/>
                <a:cs typeface="MS PGothic" charset="0"/>
              </a:defRPr>
            </a:lvl3pPr>
            <a:lvl4pPr marL="1600200" indent="-228600" eaLnBrk="0" hangingPunct="0">
              <a:defRPr sz="1200">
                <a:solidFill>
                  <a:srgbClr val="0F5494"/>
                </a:solidFill>
                <a:latin typeface="Verdana" charset="0"/>
                <a:ea typeface="MS PGothic" charset="0"/>
                <a:cs typeface="MS PGothic" charset="0"/>
              </a:defRPr>
            </a:lvl4pPr>
            <a:lvl5pPr marL="2057400" indent="-228600" eaLnBrk="0" hangingPunct="0">
              <a:defRPr sz="1200">
                <a:solidFill>
                  <a:srgbClr val="0F5494"/>
                </a:solidFill>
                <a:latin typeface="Verdana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charset="0"/>
                <a:ea typeface="MS PGothic" charset="0"/>
                <a:cs typeface="MS PGothic" charset="0"/>
              </a:defRPr>
            </a:lvl9pPr>
          </a:lstStyle>
          <a:p>
            <a:pPr algn="ctr" eaLnBrk="1" hangingPunct="1">
              <a:defRPr/>
            </a:pPr>
            <a:r>
              <a:rPr lang="en-GB" sz="1400" smtClean="0"/>
              <a:t>Deprived urban neighbourhoods</a:t>
            </a:r>
          </a:p>
        </p:txBody>
      </p:sp>
      <p:sp>
        <p:nvSpPr>
          <p:cNvPr id="6154" name="Text Box 13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258888" y="4005263"/>
            <a:ext cx="5019675" cy="314325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 sz="1200">
                <a:solidFill>
                  <a:srgbClr val="0F5494"/>
                </a:solidFill>
                <a:latin typeface="Verdana" charset="0"/>
                <a:ea typeface="MS PGothic" charset="0"/>
                <a:cs typeface="MS PGothic" charset="0"/>
              </a:defRPr>
            </a:lvl1pPr>
            <a:lvl2pPr marL="742950" indent="-285750" eaLnBrk="0" hangingPunct="0">
              <a:defRPr sz="1200">
                <a:solidFill>
                  <a:srgbClr val="0F5494"/>
                </a:solidFill>
                <a:latin typeface="Verdana" charset="0"/>
                <a:ea typeface="MS PGothic" charset="0"/>
                <a:cs typeface="MS PGothic" charset="0"/>
              </a:defRPr>
            </a:lvl2pPr>
            <a:lvl3pPr marL="1143000" indent="-228600" eaLnBrk="0" hangingPunct="0">
              <a:defRPr sz="1200">
                <a:solidFill>
                  <a:srgbClr val="0F5494"/>
                </a:solidFill>
                <a:latin typeface="Verdana" charset="0"/>
                <a:ea typeface="MS PGothic" charset="0"/>
                <a:cs typeface="MS PGothic" charset="0"/>
              </a:defRPr>
            </a:lvl3pPr>
            <a:lvl4pPr marL="1600200" indent="-228600" eaLnBrk="0" hangingPunct="0">
              <a:defRPr sz="1200">
                <a:solidFill>
                  <a:srgbClr val="0F5494"/>
                </a:solidFill>
                <a:latin typeface="Verdana" charset="0"/>
                <a:ea typeface="MS PGothic" charset="0"/>
                <a:cs typeface="MS PGothic" charset="0"/>
              </a:defRPr>
            </a:lvl4pPr>
            <a:lvl5pPr marL="2057400" indent="-228600" eaLnBrk="0" hangingPunct="0">
              <a:defRPr sz="1200">
                <a:solidFill>
                  <a:srgbClr val="0F5494"/>
                </a:solidFill>
                <a:latin typeface="Verdana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charset="0"/>
                <a:ea typeface="MS PGothic" charset="0"/>
                <a:cs typeface="MS PGothic" charset="0"/>
              </a:defRPr>
            </a:lvl9pPr>
          </a:lstStyle>
          <a:p>
            <a:pPr algn="ctr" eaLnBrk="1" hangingPunct="1">
              <a:defRPr/>
            </a:pPr>
            <a:r>
              <a:rPr lang="en-GB" sz="1400" smtClean="0"/>
              <a:t>Cities and towns</a:t>
            </a:r>
          </a:p>
        </p:txBody>
      </p:sp>
      <p:sp>
        <p:nvSpPr>
          <p:cNvPr id="6155" name="Text Box 14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1258888" y="4797425"/>
            <a:ext cx="5019675" cy="314325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 sz="1200">
                <a:solidFill>
                  <a:srgbClr val="0F5494"/>
                </a:solidFill>
                <a:latin typeface="Verdana" charset="0"/>
                <a:ea typeface="MS PGothic" charset="0"/>
                <a:cs typeface="MS PGothic" charset="0"/>
              </a:defRPr>
            </a:lvl1pPr>
            <a:lvl2pPr marL="742950" indent="-285750" eaLnBrk="0" hangingPunct="0">
              <a:defRPr sz="1200">
                <a:solidFill>
                  <a:srgbClr val="0F5494"/>
                </a:solidFill>
                <a:latin typeface="Verdana" charset="0"/>
                <a:ea typeface="MS PGothic" charset="0"/>
                <a:cs typeface="MS PGothic" charset="0"/>
              </a:defRPr>
            </a:lvl2pPr>
            <a:lvl3pPr marL="1143000" indent="-228600" eaLnBrk="0" hangingPunct="0">
              <a:defRPr sz="1200">
                <a:solidFill>
                  <a:srgbClr val="0F5494"/>
                </a:solidFill>
                <a:latin typeface="Verdana" charset="0"/>
                <a:ea typeface="MS PGothic" charset="0"/>
                <a:cs typeface="MS PGothic" charset="0"/>
              </a:defRPr>
            </a:lvl3pPr>
            <a:lvl4pPr marL="1600200" indent="-228600" eaLnBrk="0" hangingPunct="0">
              <a:defRPr sz="1200">
                <a:solidFill>
                  <a:srgbClr val="0F5494"/>
                </a:solidFill>
                <a:latin typeface="Verdana" charset="0"/>
                <a:ea typeface="MS PGothic" charset="0"/>
                <a:cs typeface="MS PGothic" charset="0"/>
              </a:defRPr>
            </a:lvl4pPr>
            <a:lvl5pPr marL="2057400" indent="-228600" eaLnBrk="0" hangingPunct="0">
              <a:defRPr sz="1200">
                <a:solidFill>
                  <a:srgbClr val="0F5494"/>
                </a:solidFill>
                <a:latin typeface="Verdana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charset="0"/>
                <a:ea typeface="MS PGothic" charset="0"/>
                <a:cs typeface="MS PGothic" charset="0"/>
              </a:defRPr>
            </a:lvl9pPr>
          </a:lstStyle>
          <a:p>
            <a:pPr algn="ctr" eaLnBrk="1" hangingPunct="1">
              <a:defRPr/>
            </a:pPr>
            <a:r>
              <a:rPr lang="en-GB" sz="1400" smtClean="0"/>
              <a:t>Functional urban areas, metropolitan regions</a:t>
            </a:r>
          </a:p>
        </p:txBody>
      </p:sp>
      <p:sp>
        <p:nvSpPr>
          <p:cNvPr id="6156" name="Text Box 15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1403350" y="3573463"/>
            <a:ext cx="4975225" cy="396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 sz="1200">
                <a:solidFill>
                  <a:srgbClr val="0F5494"/>
                </a:solidFill>
                <a:latin typeface="Verdana" charset="0"/>
                <a:ea typeface="MS PGothic" charset="0"/>
                <a:cs typeface="MS PGothic" charset="0"/>
              </a:defRPr>
            </a:lvl1pPr>
            <a:lvl2pPr marL="742950" indent="-285750" eaLnBrk="0" hangingPunct="0">
              <a:defRPr sz="1200">
                <a:solidFill>
                  <a:srgbClr val="0F5494"/>
                </a:solidFill>
                <a:latin typeface="Verdana" charset="0"/>
                <a:ea typeface="MS PGothic" charset="0"/>
                <a:cs typeface="MS PGothic" charset="0"/>
              </a:defRPr>
            </a:lvl2pPr>
            <a:lvl3pPr marL="1143000" indent="-228600" eaLnBrk="0" hangingPunct="0">
              <a:defRPr sz="1200">
                <a:solidFill>
                  <a:srgbClr val="0F5494"/>
                </a:solidFill>
                <a:latin typeface="Verdana" charset="0"/>
                <a:ea typeface="MS PGothic" charset="0"/>
                <a:cs typeface="MS PGothic" charset="0"/>
              </a:defRPr>
            </a:lvl3pPr>
            <a:lvl4pPr marL="1600200" indent="-228600" eaLnBrk="0" hangingPunct="0">
              <a:defRPr sz="1200">
                <a:solidFill>
                  <a:srgbClr val="0F5494"/>
                </a:solidFill>
                <a:latin typeface="Verdana" charset="0"/>
                <a:ea typeface="MS PGothic" charset="0"/>
                <a:cs typeface="MS PGothic" charset="0"/>
              </a:defRPr>
            </a:lvl4pPr>
            <a:lvl5pPr marL="2057400" indent="-228600" eaLnBrk="0" hangingPunct="0">
              <a:defRPr sz="1200">
                <a:solidFill>
                  <a:srgbClr val="0F5494"/>
                </a:solidFill>
                <a:latin typeface="Verdana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charset="0"/>
                <a:ea typeface="MS PGothic" charset="0"/>
                <a:cs typeface="MS PGothic" charset="0"/>
              </a:defRPr>
            </a:lvl9pPr>
          </a:lstStyle>
          <a:p>
            <a:pPr eaLnBrk="1" hangingPunct="1">
              <a:spcBef>
                <a:spcPct val="20000"/>
              </a:spcBef>
              <a:spcAft>
                <a:spcPct val="20000"/>
              </a:spcAft>
              <a:buClr>
                <a:srgbClr val="FFFFFF"/>
              </a:buClr>
              <a:defRPr/>
            </a:pPr>
            <a:r>
              <a:rPr lang="en-GB" sz="2000" dirty="0" smtClean="0"/>
              <a:t>Integrated strategies and actions</a:t>
            </a:r>
            <a:endParaRPr lang="en-GB" sz="2000" b="0" dirty="0" smtClean="0"/>
          </a:p>
        </p:txBody>
      </p:sp>
      <p:sp>
        <p:nvSpPr>
          <p:cNvPr id="6157" name="Text Box 16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1271464" y="5828630"/>
            <a:ext cx="5019675" cy="314325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 sz="1200">
                <a:solidFill>
                  <a:srgbClr val="0F5494"/>
                </a:solidFill>
                <a:latin typeface="Verdana" charset="0"/>
                <a:ea typeface="MS PGothic" charset="0"/>
                <a:cs typeface="MS PGothic" charset="0"/>
              </a:defRPr>
            </a:lvl1pPr>
            <a:lvl2pPr marL="742950" indent="-285750" eaLnBrk="0" hangingPunct="0">
              <a:defRPr sz="1200">
                <a:solidFill>
                  <a:srgbClr val="0F5494"/>
                </a:solidFill>
                <a:latin typeface="Verdana" charset="0"/>
                <a:ea typeface="MS PGothic" charset="0"/>
                <a:cs typeface="MS PGothic" charset="0"/>
              </a:defRPr>
            </a:lvl2pPr>
            <a:lvl3pPr marL="1143000" indent="-228600" eaLnBrk="0" hangingPunct="0">
              <a:defRPr sz="1200">
                <a:solidFill>
                  <a:srgbClr val="0F5494"/>
                </a:solidFill>
                <a:latin typeface="Verdana" charset="0"/>
                <a:ea typeface="MS PGothic" charset="0"/>
                <a:cs typeface="MS PGothic" charset="0"/>
              </a:defRPr>
            </a:lvl3pPr>
            <a:lvl4pPr marL="1600200" indent="-228600" eaLnBrk="0" hangingPunct="0">
              <a:defRPr sz="1200">
                <a:solidFill>
                  <a:srgbClr val="0F5494"/>
                </a:solidFill>
                <a:latin typeface="Verdana" charset="0"/>
                <a:ea typeface="MS PGothic" charset="0"/>
                <a:cs typeface="MS PGothic" charset="0"/>
              </a:defRPr>
            </a:lvl4pPr>
            <a:lvl5pPr marL="2057400" indent="-228600" eaLnBrk="0" hangingPunct="0">
              <a:defRPr sz="1200">
                <a:solidFill>
                  <a:srgbClr val="0F5494"/>
                </a:solidFill>
                <a:latin typeface="Verdana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charset="0"/>
                <a:ea typeface="MS PGothic" charset="0"/>
                <a:cs typeface="MS PGothic" charset="0"/>
              </a:defRPr>
            </a:lvl9pPr>
          </a:lstStyle>
          <a:p>
            <a:pPr algn="ctr" eaLnBrk="1" hangingPunct="1">
              <a:defRPr/>
            </a:pPr>
            <a:r>
              <a:rPr lang="en-GB" sz="1400" dirty="0" smtClean="0"/>
              <a:t>Rural areas, fisheries areas, etc.</a:t>
            </a:r>
          </a:p>
        </p:txBody>
      </p:sp>
      <p:sp>
        <p:nvSpPr>
          <p:cNvPr id="6158" name="Text Box 17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1238250" y="6165850"/>
            <a:ext cx="5019675" cy="314325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 sz="1200">
                <a:solidFill>
                  <a:srgbClr val="0F5494"/>
                </a:solidFill>
                <a:latin typeface="Verdana" charset="0"/>
                <a:ea typeface="MS PGothic" charset="0"/>
                <a:cs typeface="MS PGothic" charset="0"/>
              </a:defRPr>
            </a:lvl1pPr>
            <a:lvl2pPr marL="742950" indent="-285750" eaLnBrk="0" hangingPunct="0">
              <a:defRPr sz="1200">
                <a:solidFill>
                  <a:srgbClr val="0F5494"/>
                </a:solidFill>
                <a:latin typeface="Verdana" charset="0"/>
                <a:ea typeface="MS PGothic" charset="0"/>
                <a:cs typeface="MS PGothic" charset="0"/>
              </a:defRPr>
            </a:lvl2pPr>
            <a:lvl3pPr marL="1143000" indent="-228600" eaLnBrk="0" hangingPunct="0">
              <a:defRPr sz="1200">
                <a:solidFill>
                  <a:srgbClr val="0F5494"/>
                </a:solidFill>
                <a:latin typeface="Verdana" charset="0"/>
                <a:ea typeface="MS PGothic" charset="0"/>
                <a:cs typeface="MS PGothic" charset="0"/>
              </a:defRPr>
            </a:lvl3pPr>
            <a:lvl4pPr marL="1600200" indent="-228600" eaLnBrk="0" hangingPunct="0">
              <a:defRPr sz="1200">
                <a:solidFill>
                  <a:srgbClr val="0F5494"/>
                </a:solidFill>
                <a:latin typeface="Verdana" charset="0"/>
                <a:ea typeface="MS PGothic" charset="0"/>
                <a:cs typeface="MS PGothic" charset="0"/>
              </a:defRPr>
            </a:lvl4pPr>
            <a:lvl5pPr marL="2057400" indent="-228600" eaLnBrk="0" hangingPunct="0">
              <a:defRPr sz="1200">
                <a:solidFill>
                  <a:srgbClr val="0F5494"/>
                </a:solidFill>
                <a:latin typeface="Verdana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charset="0"/>
                <a:ea typeface="MS PGothic" charset="0"/>
                <a:cs typeface="MS PGothic" charset="0"/>
              </a:defRPr>
            </a:lvl9pPr>
          </a:lstStyle>
          <a:p>
            <a:pPr algn="ctr" eaLnBrk="1" hangingPunct="1">
              <a:defRPr/>
            </a:pPr>
            <a:r>
              <a:rPr lang="en-GB" sz="1400" smtClean="0"/>
              <a:t>Other functional economic areas</a:t>
            </a:r>
          </a:p>
        </p:txBody>
      </p:sp>
      <p:sp>
        <p:nvSpPr>
          <p:cNvPr id="6159" name="Text Box 20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6099175" y="3284538"/>
            <a:ext cx="3044825" cy="708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 sz="1200">
                <a:solidFill>
                  <a:srgbClr val="0F5494"/>
                </a:solidFill>
                <a:latin typeface="Verdana" charset="0"/>
                <a:ea typeface="MS PGothic" charset="0"/>
                <a:cs typeface="MS PGothic" charset="0"/>
              </a:defRPr>
            </a:lvl1pPr>
            <a:lvl2pPr marL="742950" indent="-285750" eaLnBrk="0" hangingPunct="0">
              <a:defRPr sz="1200">
                <a:solidFill>
                  <a:srgbClr val="0F5494"/>
                </a:solidFill>
                <a:latin typeface="Verdana" charset="0"/>
                <a:ea typeface="MS PGothic" charset="0"/>
                <a:cs typeface="MS PGothic" charset="0"/>
              </a:defRPr>
            </a:lvl2pPr>
            <a:lvl3pPr marL="1143000" indent="-228600" eaLnBrk="0" hangingPunct="0">
              <a:defRPr sz="1200">
                <a:solidFill>
                  <a:srgbClr val="0F5494"/>
                </a:solidFill>
                <a:latin typeface="Verdana" charset="0"/>
                <a:ea typeface="MS PGothic" charset="0"/>
                <a:cs typeface="MS PGothic" charset="0"/>
              </a:defRPr>
            </a:lvl3pPr>
            <a:lvl4pPr marL="1600200" indent="-228600" eaLnBrk="0" hangingPunct="0">
              <a:defRPr sz="1200">
                <a:solidFill>
                  <a:srgbClr val="0F5494"/>
                </a:solidFill>
                <a:latin typeface="Verdana" charset="0"/>
                <a:ea typeface="MS PGothic" charset="0"/>
                <a:cs typeface="MS PGothic" charset="0"/>
              </a:defRPr>
            </a:lvl4pPr>
            <a:lvl5pPr marL="2057400" indent="-228600" eaLnBrk="0" hangingPunct="0">
              <a:defRPr sz="1200">
                <a:solidFill>
                  <a:srgbClr val="0F5494"/>
                </a:solidFill>
                <a:latin typeface="Verdana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charset="0"/>
                <a:ea typeface="MS PGothic" charset="0"/>
                <a:cs typeface="MS PGothic" charset="0"/>
              </a:defRPr>
            </a:lvl9pPr>
          </a:lstStyle>
          <a:p>
            <a:pPr algn="ctr" eaLnBrk="1" hangingPunct="1">
              <a:spcBef>
                <a:spcPct val="20000"/>
              </a:spcBef>
              <a:spcAft>
                <a:spcPct val="20000"/>
              </a:spcAft>
              <a:buClr>
                <a:srgbClr val="FFFFFF"/>
              </a:buClr>
              <a:defRPr/>
            </a:pPr>
            <a:r>
              <a:rPr lang="en-GB" sz="2000" dirty="0" smtClean="0"/>
              <a:t>Territorial instruments</a:t>
            </a:r>
            <a:endParaRPr lang="en-GB" sz="2000" b="0" dirty="0" smtClean="0"/>
          </a:p>
        </p:txBody>
      </p:sp>
      <p:sp>
        <p:nvSpPr>
          <p:cNvPr id="12304" name="TextBox 10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6948488" y="4005263"/>
            <a:ext cx="431800" cy="2430462"/>
          </a:xfrm>
          <a:prstGeom prst="rect">
            <a:avLst/>
          </a:prstGeom>
          <a:noFill/>
          <a:ln w="76200">
            <a:solidFill>
              <a:srgbClr val="FFFF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CC"/>
                </a:solidFill>
              </a14:hiddenFill>
            </a:ext>
          </a:extLst>
        </p:spPr>
        <p:txBody>
          <a:bodyPr>
            <a:spAutoFit/>
          </a:bodyPr>
          <a:lstStyle>
            <a:lvl1pPr eaLnBrk="0" hangingPunct="0">
              <a:defRPr sz="1200">
                <a:solidFill>
                  <a:srgbClr val="0F5494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1200">
                <a:solidFill>
                  <a:srgbClr val="0F5494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1200">
                <a:solidFill>
                  <a:srgbClr val="0F5494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1200">
                <a:solidFill>
                  <a:srgbClr val="0F5494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1200">
                <a:solidFill>
                  <a:srgbClr val="0F5494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/>
            <a:endParaRPr lang="de-DE" sz="1800" b="0"/>
          </a:p>
          <a:p>
            <a:pPr algn="ctr" eaLnBrk="1" hangingPunct="1"/>
            <a:r>
              <a:rPr lang="de-DE" sz="3600" b="0"/>
              <a:t>I</a:t>
            </a:r>
          </a:p>
          <a:p>
            <a:pPr algn="ctr" eaLnBrk="1" hangingPunct="1"/>
            <a:r>
              <a:rPr lang="de-DE" sz="3600" b="0"/>
              <a:t>TI</a:t>
            </a:r>
          </a:p>
          <a:p>
            <a:pPr algn="ctr" eaLnBrk="1" hangingPunct="1"/>
            <a:endParaRPr lang="de-DE" sz="2400" b="0"/>
          </a:p>
        </p:txBody>
      </p:sp>
      <p:sp>
        <p:nvSpPr>
          <p:cNvPr id="6161" name="Text Box 16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1258888" y="5210175"/>
            <a:ext cx="5019675" cy="523875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 sz="1200">
                <a:solidFill>
                  <a:srgbClr val="0F5494"/>
                </a:solidFill>
                <a:latin typeface="Verdana" charset="0"/>
                <a:ea typeface="MS PGothic" charset="0"/>
                <a:cs typeface="MS PGothic" charset="0"/>
              </a:defRPr>
            </a:lvl1pPr>
            <a:lvl2pPr marL="742950" indent="-285750" eaLnBrk="0" hangingPunct="0">
              <a:defRPr sz="1200">
                <a:solidFill>
                  <a:srgbClr val="0F5494"/>
                </a:solidFill>
                <a:latin typeface="Verdana" charset="0"/>
                <a:ea typeface="MS PGothic" charset="0"/>
                <a:cs typeface="MS PGothic" charset="0"/>
              </a:defRPr>
            </a:lvl2pPr>
            <a:lvl3pPr marL="1143000" indent="-228600" eaLnBrk="0" hangingPunct="0">
              <a:defRPr sz="1200">
                <a:solidFill>
                  <a:srgbClr val="0F5494"/>
                </a:solidFill>
                <a:latin typeface="Verdana" charset="0"/>
                <a:ea typeface="MS PGothic" charset="0"/>
                <a:cs typeface="MS PGothic" charset="0"/>
              </a:defRPr>
            </a:lvl3pPr>
            <a:lvl4pPr marL="1600200" indent="-228600" eaLnBrk="0" hangingPunct="0">
              <a:defRPr sz="1200">
                <a:solidFill>
                  <a:srgbClr val="0F5494"/>
                </a:solidFill>
                <a:latin typeface="Verdana" charset="0"/>
                <a:ea typeface="MS PGothic" charset="0"/>
                <a:cs typeface="MS PGothic" charset="0"/>
              </a:defRPr>
            </a:lvl4pPr>
            <a:lvl5pPr marL="2057400" indent="-228600" eaLnBrk="0" hangingPunct="0">
              <a:defRPr sz="1200">
                <a:solidFill>
                  <a:srgbClr val="0F5494"/>
                </a:solidFill>
                <a:latin typeface="Verdana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charset="0"/>
                <a:ea typeface="MS PGothic" charset="0"/>
                <a:cs typeface="MS PGothic" charset="0"/>
              </a:defRPr>
            </a:lvl9pPr>
          </a:lstStyle>
          <a:p>
            <a:pPr algn="ctr" eaLnBrk="1" hangingPunct="1">
              <a:defRPr/>
            </a:pPr>
            <a:r>
              <a:rPr lang="en-GB" sz="1400" smtClean="0"/>
              <a:t>Territorial pacts and local initiatives for employment, education and social inclusion</a:t>
            </a:r>
          </a:p>
        </p:txBody>
      </p:sp>
      <p:sp>
        <p:nvSpPr>
          <p:cNvPr id="12306" name="TextBox 10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7596188" y="4005263"/>
            <a:ext cx="647700" cy="2384425"/>
          </a:xfrm>
          <a:prstGeom prst="rect">
            <a:avLst/>
          </a:prstGeom>
          <a:noFill/>
          <a:ln w="76200">
            <a:solidFill>
              <a:srgbClr val="FFFF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CC"/>
                </a:solidFill>
              </a14:hiddenFill>
            </a:ext>
          </a:extLst>
        </p:spPr>
        <p:txBody>
          <a:bodyPr>
            <a:spAutoFit/>
          </a:bodyPr>
          <a:lstStyle>
            <a:lvl1pPr eaLnBrk="0" hangingPunct="0">
              <a:defRPr sz="1200">
                <a:solidFill>
                  <a:srgbClr val="0F5494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1200">
                <a:solidFill>
                  <a:srgbClr val="0F5494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1200">
                <a:solidFill>
                  <a:srgbClr val="0F5494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1200">
                <a:solidFill>
                  <a:srgbClr val="0F5494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1200">
                <a:solidFill>
                  <a:srgbClr val="0F5494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/>
            <a:endParaRPr lang="de-DE" sz="400" b="0"/>
          </a:p>
          <a:p>
            <a:pPr algn="ctr" eaLnBrk="1" hangingPunct="1"/>
            <a:r>
              <a:rPr lang="de-DE" sz="3600" b="0"/>
              <a:t>CLLD</a:t>
            </a:r>
          </a:p>
        </p:txBody>
      </p:sp>
      <p:sp>
        <p:nvSpPr>
          <p:cNvPr id="22" name="Text Box 5"/>
          <p:cNvSpPr txBox="1"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1423244" y="1780753"/>
            <a:ext cx="1838325" cy="1422400"/>
          </a:xfrm>
          <a:prstGeom prst="rect">
            <a:avLst/>
          </a:prstGeom>
          <a:solidFill>
            <a:srgbClr val="0000FF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>
            <a:spAutoFit/>
          </a:bodyPr>
          <a:lstStyle>
            <a:lvl1pPr eaLnBrk="0" hangingPunct="0">
              <a:defRPr sz="1200">
                <a:solidFill>
                  <a:srgbClr val="0F5494"/>
                </a:solidFill>
                <a:latin typeface="Verdana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1200">
                <a:solidFill>
                  <a:srgbClr val="0F5494"/>
                </a:solidFill>
                <a:latin typeface="Verdana" charset="0"/>
                <a:ea typeface="ＭＳ Ｐゴシック" charset="0"/>
              </a:defRPr>
            </a:lvl2pPr>
            <a:lvl3pPr marL="1143000" indent="-228600" eaLnBrk="0" hangingPunct="0">
              <a:defRPr sz="1200">
                <a:solidFill>
                  <a:srgbClr val="0F5494"/>
                </a:solidFill>
                <a:latin typeface="Verdana" charset="0"/>
                <a:ea typeface="ＭＳ Ｐゴシック" charset="0"/>
              </a:defRPr>
            </a:lvl3pPr>
            <a:lvl4pPr marL="1600200" indent="-228600" eaLnBrk="0" hangingPunct="0">
              <a:defRPr sz="1200">
                <a:solidFill>
                  <a:srgbClr val="0F5494"/>
                </a:solidFill>
                <a:latin typeface="Verdana" charset="0"/>
                <a:ea typeface="ＭＳ Ｐゴシック" charset="0"/>
              </a:defRPr>
            </a:lvl4pPr>
            <a:lvl5pPr marL="2057400" indent="-228600" eaLnBrk="0" hangingPunct="0">
              <a:defRPr sz="1200">
                <a:solidFill>
                  <a:srgbClr val="0F5494"/>
                </a:solidFill>
                <a:latin typeface="Verdana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charset="0"/>
                <a:ea typeface="ＭＳ Ｐゴシック" charset="0"/>
              </a:defRPr>
            </a:lvl9pPr>
          </a:lstStyle>
          <a:p>
            <a:pPr eaLnBrk="1" hangingPunct="1">
              <a:spcAft>
                <a:spcPct val="40000"/>
              </a:spcAft>
            </a:pPr>
            <a:r>
              <a:rPr lang="en-GB" sz="1600" i="1" u="sng" dirty="0">
                <a:solidFill>
                  <a:srgbClr val="FFFFFF"/>
                </a:solidFill>
                <a:ea typeface="MS PGothic" charset="0"/>
                <a:cs typeface="MS PGothic" charset="0"/>
              </a:rPr>
              <a:t>Smart growth</a:t>
            </a:r>
          </a:p>
          <a:p>
            <a:pPr eaLnBrk="1" hangingPunct="1"/>
            <a:r>
              <a:rPr lang="en-GB" sz="1600" b="0" i="1" dirty="0">
                <a:solidFill>
                  <a:srgbClr val="FFFFFF"/>
                </a:solidFill>
                <a:ea typeface="MS PGothic" charset="0"/>
                <a:cs typeface="MS PGothic" charset="0"/>
              </a:rPr>
              <a:t>Research &amp;</a:t>
            </a:r>
          </a:p>
          <a:p>
            <a:pPr eaLnBrk="1" hangingPunct="1"/>
            <a:r>
              <a:rPr lang="en-GB" sz="1600" b="0" i="1" dirty="0">
                <a:solidFill>
                  <a:srgbClr val="FFFFFF"/>
                </a:solidFill>
                <a:ea typeface="MS PGothic" charset="0"/>
                <a:cs typeface="MS PGothic" charset="0"/>
              </a:rPr>
              <a:t>Innovation</a:t>
            </a:r>
          </a:p>
          <a:p>
            <a:pPr eaLnBrk="1" hangingPunct="1"/>
            <a:r>
              <a:rPr lang="en-GB" sz="1600" b="0" i="1" dirty="0">
                <a:solidFill>
                  <a:srgbClr val="FFFFFF"/>
                </a:solidFill>
                <a:ea typeface="MS PGothic" charset="0"/>
                <a:cs typeface="MS PGothic" charset="0"/>
              </a:rPr>
              <a:t>IT</a:t>
            </a:r>
          </a:p>
          <a:p>
            <a:pPr eaLnBrk="1" hangingPunct="1"/>
            <a:r>
              <a:rPr lang="en-GB" sz="1600" b="0" i="1" dirty="0">
                <a:solidFill>
                  <a:srgbClr val="FFFFFF"/>
                </a:solidFill>
                <a:ea typeface="MS PGothic" charset="0"/>
                <a:cs typeface="MS PGothic" charset="0"/>
              </a:rPr>
              <a:t>SME</a:t>
            </a:r>
          </a:p>
        </p:txBody>
      </p:sp>
      <p:sp>
        <p:nvSpPr>
          <p:cNvPr id="23" name="Text Box 6"/>
          <p:cNvSpPr txBox="1"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3275856" y="1772816"/>
            <a:ext cx="2489200" cy="1420812"/>
          </a:xfrm>
          <a:prstGeom prst="rect">
            <a:avLst/>
          </a:prstGeom>
          <a:solidFill>
            <a:srgbClr val="0080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>
            <a:spAutoFit/>
          </a:bodyPr>
          <a:lstStyle>
            <a:lvl1pPr eaLnBrk="0" hangingPunct="0">
              <a:defRPr sz="1200">
                <a:solidFill>
                  <a:srgbClr val="0F5494"/>
                </a:solidFill>
                <a:latin typeface="Verdana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1200">
                <a:solidFill>
                  <a:srgbClr val="0F5494"/>
                </a:solidFill>
                <a:latin typeface="Verdana" charset="0"/>
                <a:ea typeface="ＭＳ Ｐゴシック" charset="0"/>
              </a:defRPr>
            </a:lvl2pPr>
            <a:lvl3pPr marL="1143000" indent="-228600" eaLnBrk="0" hangingPunct="0">
              <a:defRPr sz="1200">
                <a:solidFill>
                  <a:srgbClr val="0F5494"/>
                </a:solidFill>
                <a:latin typeface="Verdana" charset="0"/>
                <a:ea typeface="ＭＳ Ｐゴシック" charset="0"/>
              </a:defRPr>
            </a:lvl3pPr>
            <a:lvl4pPr marL="1600200" indent="-228600" eaLnBrk="0" hangingPunct="0">
              <a:defRPr sz="1200">
                <a:solidFill>
                  <a:srgbClr val="0F5494"/>
                </a:solidFill>
                <a:latin typeface="Verdana" charset="0"/>
                <a:ea typeface="ＭＳ Ｐゴシック" charset="0"/>
              </a:defRPr>
            </a:lvl4pPr>
            <a:lvl5pPr marL="2057400" indent="-228600" eaLnBrk="0" hangingPunct="0">
              <a:defRPr sz="1200">
                <a:solidFill>
                  <a:srgbClr val="0F5494"/>
                </a:solidFill>
                <a:latin typeface="Verdana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charset="0"/>
                <a:ea typeface="ＭＳ Ｐゴシック" charset="0"/>
              </a:defRPr>
            </a:lvl9pPr>
          </a:lstStyle>
          <a:p>
            <a:pPr eaLnBrk="1" hangingPunct="1">
              <a:spcAft>
                <a:spcPct val="40000"/>
              </a:spcAft>
            </a:pPr>
            <a:r>
              <a:rPr lang="en-GB" sz="1600" i="1" u="sng">
                <a:solidFill>
                  <a:srgbClr val="FFFFFF"/>
                </a:solidFill>
                <a:ea typeface="MS PGothic" charset="0"/>
                <a:cs typeface="MS PGothic" charset="0"/>
              </a:rPr>
              <a:t>Sustainable growth</a:t>
            </a:r>
          </a:p>
          <a:p>
            <a:pPr eaLnBrk="1" hangingPunct="1"/>
            <a:r>
              <a:rPr lang="en-GB" sz="1600" b="0" i="1">
                <a:solidFill>
                  <a:srgbClr val="FFFFFF"/>
                </a:solidFill>
                <a:ea typeface="MS PGothic" charset="0"/>
                <a:cs typeface="MS PGothic" charset="0"/>
              </a:rPr>
              <a:t>Low-carbon</a:t>
            </a:r>
          </a:p>
          <a:p>
            <a:pPr eaLnBrk="1" hangingPunct="1"/>
            <a:r>
              <a:rPr lang="en-GB" sz="1600" b="0" i="1">
                <a:solidFill>
                  <a:srgbClr val="FFFFFF"/>
                </a:solidFill>
                <a:ea typeface="MS PGothic" charset="0"/>
                <a:cs typeface="MS PGothic" charset="0"/>
              </a:rPr>
              <a:t>Resource-efficient</a:t>
            </a:r>
          </a:p>
          <a:p>
            <a:pPr eaLnBrk="1" hangingPunct="1"/>
            <a:r>
              <a:rPr lang="en-GB" sz="1600" b="0" i="1">
                <a:solidFill>
                  <a:srgbClr val="FFFFFF"/>
                </a:solidFill>
                <a:ea typeface="MS PGothic" charset="0"/>
                <a:cs typeface="MS PGothic" charset="0"/>
              </a:rPr>
              <a:t>Risk-prevention</a:t>
            </a:r>
          </a:p>
          <a:p>
            <a:pPr eaLnBrk="1" hangingPunct="1"/>
            <a:r>
              <a:rPr lang="en-GB" sz="1600" b="0" i="1">
                <a:solidFill>
                  <a:srgbClr val="FFFFFF"/>
                </a:solidFill>
                <a:ea typeface="MS PGothic" charset="0"/>
                <a:cs typeface="MS PGothic" charset="0"/>
              </a:rPr>
              <a:t>Transport</a:t>
            </a:r>
          </a:p>
        </p:txBody>
      </p:sp>
      <p:sp>
        <p:nvSpPr>
          <p:cNvPr id="24" name="Text Box 7"/>
          <p:cNvSpPr txBox="1"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5795219" y="1772816"/>
            <a:ext cx="2160587" cy="1422400"/>
          </a:xfrm>
          <a:prstGeom prst="rect">
            <a:avLst/>
          </a:prstGeom>
          <a:solidFill>
            <a:srgbClr val="8000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>
            <a:spAutoFit/>
          </a:bodyPr>
          <a:lstStyle>
            <a:lvl1pPr eaLnBrk="0" hangingPunct="0">
              <a:defRPr sz="1200">
                <a:solidFill>
                  <a:srgbClr val="0F5494"/>
                </a:solidFill>
                <a:latin typeface="Verdana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1200">
                <a:solidFill>
                  <a:srgbClr val="0F5494"/>
                </a:solidFill>
                <a:latin typeface="Verdana" charset="0"/>
                <a:ea typeface="ＭＳ Ｐゴシック" charset="0"/>
              </a:defRPr>
            </a:lvl2pPr>
            <a:lvl3pPr marL="1143000" indent="-228600" eaLnBrk="0" hangingPunct="0">
              <a:defRPr sz="1200">
                <a:solidFill>
                  <a:srgbClr val="0F5494"/>
                </a:solidFill>
                <a:latin typeface="Verdana" charset="0"/>
                <a:ea typeface="ＭＳ Ｐゴシック" charset="0"/>
              </a:defRPr>
            </a:lvl3pPr>
            <a:lvl4pPr marL="1600200" indent="-228600" eaLnBrk="0" hangingPunct="0">
              <a:defRPr sz="1200">
                <a:solidFill>
                  <a:srgbClr val="0F5494"/>
                </a:solidFill>
                <a:latin typeface="Verdana" charset="0"/>
                <a:ea typeface="ＭＳ Ｐゴシック" charset="0"/>
              </a:defRPr>
            </a:lvl4pPr>
            <a:lvl5pPr marL="2057400" indent="-228600" eaLnBrk="0" hangingPunct="0">
              <a:defRPr sz="1200">
                <a:solidFill>
                  <a:srgbClr val="0F5494"/>
                </a:solidFill>
                <a:latin typeface="Verdana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charset="0"/>
                <a:ea typeface="ＭＳ Ｐゴシック" charset="0"/>
              </a:defRPr>
            </a:lvl9pPr>
          </a:lstStyle>
          <a:p>
            <a:pPr eaLnBrk="1" hangingPunct="1">
              <a:spcAft>
                <a:spcPct val="40000"/>
              </a:spcAft>
            </a:pPr>
            <a:r>
              <a:rPr lang="en-GB" sz="1600" i="1" u="sng">
                <a:solidFill>
                  <a:srgbClr val="FFFFFF"/>
                </a:solidFill>
                <a:ea typeface="MS PGothic" charset="0"/>
                <a:cs typeface="MS PGothic" charset="0"/>
              </a:rPr>
              <a:t>Inclusive growth</a:t>
            </a:r>
          </a:p>
          <a:p>
            <a:pPr eaLnBrk="1" hangingPunct="1"/>
            <a:r>
              <a:rPr lang="en-GB" sz="1600" b="0" i="1">
                <a:solidFill>
                  <a:srgbClr val="FFFFFF"/>
                </a:solidFill>
                <a:ea typeface="MS PGothic" charset="0"/>
                <a:cs typeface="MS PGothic" charset="0"/>
              </a:rPr>
              <a:t>Employment</a:t>
            </a:r>
          </a:p>
          <a:p>
            <a:pPr eaLnBrk="1" hangingPunct="1"/>
            <a:r>
              <a:rPr lang="en-GB" sz="1600" b="0" i="1">
                <a:solidFill>
                  <a:srgbClr val="FFFFFF"/>
                </a:solidFill>
                <a:ea typeface="MS PGothic" charset="0"/>
                <a:cs typeface="MS PGothic" charset="0"/>
              </a:rPr>
              <a:t>Social inclusion</a:t>
            </a:r>
          </a:p>
          <a:p>
            <a:pPr eaLnBrk="1" hangingPunct="1"/>
            <a:r>
              <a:rPr lang="en-GB" sz="1600" b="0" i="1">
                <a:solidFill>
                  <a:srgbClr val="FFFFFF"/>
                </a:solidFill>
                <a:ea typeface="MS PGothic" charset="0"/>
                <a:cs typeface="MS PGothic" charset="0"/>
              </a:rPr>
              <a:t>Education</a:t>
            </a:r>
          </a:p>
          <a:p>
            <a:pPr eaLnBrk="1" hangingPunct="1"/>
            <a:endParaRPr lang="en-GB" sz="1600" b="0" i="1">
              <a:solidFill>
                <a:srgbClr val="FFFFFF"/>
              </a:solidFill>
              <a:ea typeface="MS PGothic" charset="0"/>
              <a:cs typeface="MS PGothic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34305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3.3eGmKskSK86Icnk4lJ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NpmfjBoUOcmVO4lyQNS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_yQ8i4W0WdO7cWwDz8j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xMrdTCA2E2SSo9o4F7Es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_yQ8i4W0WdO7cWwDz8j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xkLf0BpjUqwhMHokqbRZ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slb.qfcbU2MkhPalLGtt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G5X9JyhY0CR63ApRkxK3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jqr_1IdJ0a5D.yfBLdPJ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p3k1yXxc0Wlh5L5uzNrb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Xzyo4cJ8ESEzhTj9ZVcy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RaKMA4ck2o4qOldkl_K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Z4CQmuQUWgeySUevpkf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8r5_uqvkieaJ59314wf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_a8s1BR2kW0aiL4Xf0zt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w6WAoQUESXWsJ6mKzNxA"/>
</p:tagLst>
</file>

<file path=ppt/theme/theme1.xml><?xml version="1.0" encoding="utf-8"?>
<a:theme xmlns:a="http://schemas.openxmlformats.org/drawingml/2006/main" name="Slide_Master">
  <a:themeElements>
    <a:clrScheme name="Slide_Master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Aspect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3175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200" b="0" i="0" u="none" strike="noStrike" cap="none" normalizeH="0" baseline="0" smtClean="0">
            <a:ln>
              <a:noFill/>
            </a:ln>
            <a:solidFill>
              <a:srgbClr val="0F5494"/>
            </a:solidFill>
            <a:effectLst/>
            <a:latin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3175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200" b="0" i="0" u="none" strike="noStrike" cap="none" normalizeH="0" baseline="0" smtClean="0">
            <a:ln>
              <a:noFill/>
            </a:ln>
            <a:solidFill>
              <a:srgbClr val="0F5494"/>
            </a:solidFill>
            <a:effectLst/>
            <a:latin typeface="Verdana" pitchFamily="34" charset="0"/>
          </a:defRPr>
        </a:defPPr>
      </a:lstStyle>
    </a:lnDef>
  </a:objectDefaults>
  <a:extraClrSchemeLst>
    <a:extraClrScheme>
      <a:clrScheme name="Slide_Master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_Master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_Master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_Master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_Master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_Master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0_Office Theme">
  <a:themeElements>
    <a:clrScheme name="Office Them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 Them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49263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itchFamily="18" charset="0"/>
          <a:buNone/>
          <a:tabLst/>
          <a:defRPr kumimoji="0" lang="en-GB" sz="12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Verdana" pitchFamily="34" charset="0"/>
            <a:ea typeface="MS PGothic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49263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itchFamily="18" charset="0"/>
          <a:buNone/>
          <a:tabLst/>
          <a:defRPr kumimoji="0" lang="en-GB" sz="12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Verdana" pitchFamily="34" charset="0"/>
            <a:ea typeface="MS PGothic" pitchFamily="34" charset="-128"/>
          </a:defRPr>
        </a:defPPr>
      </a:lstStyle>
    </a:lnDef>
  </a:objectDefaults>
  <a:extraClrSchemeLst>
    <a:extraClrScheme>
      <a:clrScheme name="Office Them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95CA36B6B784E439EAD57D5795F2F0C" ma:contentTypeVersion="1" ma:contentTypeDescription="Create a new document." ma:contentTypeScope="" ma:versionID="4a7ab24a14ff9083c22bac48a66d5907">
  <xsd:schema xmlns:xsd="http://www.w3.org/2001/XMLSchema" xmlns:p="http://schemas.microsoft.com/office/2006/metadata/properties" xmlns:ns1="http://schemas.microsoft.com/sharepoint/v3" targetNamespace="http://schemas.microsoft.com/office/2006/metadata/properties" ma:root="true" ma:fieldsID="ddb0c952b897a810c8a4e377cff6bff8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dms="http://schemas.microsoft.com/office/2006/documentManagement/types" targetNamespace="http://schemas.microsoft.com/sharepoint/v3" elementFormDefault="qualified">
    <xsd:import namespace="http://schemas.microsoft.com/office/2006/documentManagement/types"/>
    <xsd:element name="PublishingStartDate" ma:index="8" nillable="true" ma:displayName="Scheduling Start Date" ma:description="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" ma:hidden="true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2.xml><?xml version="1.0" encoding="utf-8"?>
<LongProperties xmlns="http://schemas.microsoft.com/office/2006/metadata/longProperties"/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18B00393-6801-4AA8-A6E3-446F52573FF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2.xml><?xml version="1.0" encoding="utf-8"?>
<ds:datastoreItem xmlns:ds="http://schemas.openxmlformats.org/officeDocument/2006/customXml" ds:itemID="{A1858886-F722-47DD-A609-B471A0D4E9F0}">
  <ds:schemaRefs>
    <ds:schemaRef ds:uri="http://schemas.microsoft.com/office/2006/metadata/longProperties"/>
  </ds:schemaRefs>
</ds:datastoreItem>
</file>

<file path=customXml/itemProps3.xml><?xml version="1.0" encoding="utf-8"?>
<ds:datastoreItem xmlns:ds="http://schemas.openxmlformats.org/officeDocument/2006/customXml" ds:itemID="{9A968440-D335-47A0-B729-14962C837772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CE5FAF8A-BD2C-4300-A1B6-E9ACBBC92DC6}">
  <ds:schemaRefs>
    <ds:schemaRef ds:uri="http://www.w3.org/XML/1998/namespace"/>
    <ds:schemaRef ds:uri="http://schemas.microsoft.com/office/2006/metadata/properties"/>
    <ds:schemaRef ds:uri="http://purl.org/dc/terms/"/>
    <ds:schemaRef ds:uri="http://purl.org/dc/elements/1.1/"/>
    <ds:schemaRef ds:uri="http://schemas.microsoft.com/office/2006/documentManagement/types"/>
    <ds:schemaRef ds:uri="http://schemas.microsoft.com/sharepoint/v3"/>
    <ds:schemaRef ds:uri="http://schemas.openxmlformats.org/package/2006/metadata/core-properties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479</TotalTime>
  <Words>1188</Words>
  <Application>Microsoft Office PowerPoint</Application>
  <PresentationFormat>On-screen Show (4:3)</PresentationFormat>
  <Paragraphs>195</Paragraphs>
  <Slides>19</Slides>
  <Notes>4</Notes>
  <HiddenSlides>0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2" baseType="lpstr">
      <vt:lpstr>Slide_Master</vt:lpstr>
      <vt:lpstr>10_Office Theme</vt:lpstr>
      <vt:lpstr>think-cell Slide</vt:lpstr>
      <vt:lpstr>European Cohesion Policy 2014-2020 closely linked with EU2020  </vt:lpstr>
      <vt:lpstr>PowerPoint Presentation</vt:lpstr>
      <vt:lpstr>Europe 2020 – Strategy for smart, sustainable and inclusive growth </vt:lpstr>
      <vt:lpstr>Cohesion Policy 2014-2020 - objectives</vt:lpstr>
      <vt:lpstr>Cohesion policy alignment to Europe 2020</vt:lpstr>
      <vt:lpstr>Thematic objectives 2014-2020 (1) </vt:lpstr>
      <vt:lpstr>Thematic objectives 2014-2020 (2)</vt:lpstr>
      <vt:lpstr>Cohesion Policy 2014-2020 - targeting</vt:lpstr>
      <vt:lpstr>PowerPoint Presentation</vt:lpstr>
      <vt:lpstr>2014-2020 - Reinforced territorial approach</vt:lpstr>
      <vt:lpstr> Sustainable urban development </vt:lpstr>
      <vt:lpstr>Article 10 of the European Regional Development Fund (ERDF)</vt:lpstr>
      <vt:lpstr>Outermost regions</vt:lpstr>
      <vt:lpstr>Islands – derogation under thematic concentration</vt:lpstr>
      <vt:lpstr>Tools for territorial development (1) </vt:lpstr>
      <vt:lpstr>Tools for territorial development  (2) </vt:lpstr>
      <vt:lpstr>Example of ITI</vt:lpstr>
      <vt:lpstr>Geographical  eligibility  for Structural Funds support 2014-2020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egional Policy</dc:title>
  <dcterms:created xsi:type="dcterms:W3CDTF">2011-10-28T10:25:18Z</dcterms:created>
  <dcterms:modified xsi:type="dcterms:W3CDTF">2013-11-11T18:11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isplay_urn:schemas-microsoft-com:office:office#Editor">
    <vt:lpwstr>System Account</vt:lpwstr>
  </property>
  <property fmtid="{D5CDD505-2E9C-101B-9397-08002B2CF9AE}" pid="3" name="xd_Signature">
    <vt:lpwstr/>
  </property>
  <property fmtid="{D5CDD505-2E9C-101B-9397-08002B2CF9AE}" pid="4" name="display_urn:schemas-microsoft-com:office:office#Author">
    <vt:lpwstr>System Account</vt:lpwstr>
  </property>
  <property fmtid="{D5CDD505-2E9C-101B-9397-08002B2CF9AE}" pid="5" name="TemplateUrl">
    <vt:lpwstr/>
  </property>
  <property fmtid="{D5CDD505-2E9C-101B-9397-08002B2CF9AE}" pid="6" name="xd_ProgID">
    <vt:lpwstr/>
  </property>
  <property fmtid="{D5CDD505-2E9C-101B-9397-08002B2CF9AE}" pid="7" name="ContentTypeId">
    <vt:lpwstr>0x0101005195517D60BA284DB89E2B47B98AC9DD</vt:lpwstr>
  </property>
</Properties>
</file>